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9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0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1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heme/theme12.xml" ContentType="application/vnd.openxmlformats-officedocument.theme+xml"/>
  <Override PartName="/ppt/tags/tag13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267" r:id="rId5"/>
    <p:sldMasterId id="2147484943" r:id="rId6"/>
    <p:sldMasterId id="2147485283" r:id="rId7"/>
    <p:sldMasterId id="2147485291" r:id="rId8"/>
    <p:sldMasterId id="2147485300" r:id="rId9"/>
    <p:sldMasterId id="2147485317" r:id="rId10"/>
    <p:sldMasterId id="2147485334" r:id="rId11"/>
    <p:sldMasterId id="2147485346" r:id="rId12"/>
    <p:sldMasterId id="2147485401" r:id="rId13"/>
    <p:sldMasterId id="2147485436" r:id="rId14"/>
  </p:sldMasterIdLst>
  <p:notesMasterIdLst>
    <p:notesMasterId r:id="rId35"/>
  </p:notesMasterIdLst>
  <p:sldIdLst>
    <p:sldId id="1036" r:id="rId15"/>
    <p:sldId id="1401" r:id="rId16"/>
    <p:sldId id="4475" r:id="rId17"/>
    <p:sldId id="4472" r:id="rId18"/>
    <p:sldId id="4471" r:id="rId19"/>
    <p:sldId id="2147473445" r:id="rId20"/>
    <p:sldId id="2147473458" r:id="rId21"/>
    <p:sldId id="2147473446" r:id="rId22"/>
    <p:sldId id="2147473460" r:id="rId23"/>
    <p:sldId id="2147473448" r:id="rId24"/>
    <p:sldId id="2147473449" r:id="rId25"/>
    <p:sldId id="2147473452" r:id="rId26"/>
    <p:sldId id="2147473459" r:id="rId27"/>
    <p:sldId id="2147473454" r:id="rId28"/>
    <p:sldId id="2147473455" r:id="rId29"/>
    <p:sldId id="2147473456" r:id="rId30"/>
    <p:sldId id="2147473463" r:id="rId31"/>
    <p:sldId id="1028" r:id="rId32"/>
    <p:sldId id="258" r:id="rId33"/>
    <p:sldId id="259" r:id="rId34"/>
  </p:sldIdLst>
  <p:sldSz cx="12192000" cy="6858000"/>
  <p:notesSz cx="7102475" cy="9388475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n intro to brands" id="{75922EF8-4139-4D65-A191-D717224427F5}">
          <p14:sldIdLst>
            <p14:sldId id="1036"/>
            <p14:sldId id="1401"/>
            <p14:sldId id="4475"/>
            <p14:sldId id="4472"/>
            <p14:sldId id="4471"/>
          </p14:sldIdLst>
        </p14:section>
        <p14:section name="Brand transition" id="{7AFBAA08-0AEA-4D49-8481-327F4988565F}">
          <p14:sldIdLst>
            <p14:sldId id="2147473445"/>
            <p14:sldId id="2147473458"/>
            <p14:sldId id="2147473446"/>
            <p14:sldId id="2147473460"/>
            <p14:sldId id="2147473448"/>
            <p14:sldId id="2147473449"/>
            <p14:sldId id="2147473452"/>
            <p14:sldId id="2147473459"/>
            <p14:sldId id="2147473454"/>
            <p14:sldId id="2147473455"/>
            <p14:sldId id="2147473456"/>
            <p14:sldId id="2147473463"/>
            <p14:sldId id="1028"/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A7ACC4-04A3-9577-DE20-5422DAF23B31}" name="Julie Massé" initials="JM" userId="S::Julie.Masse@fordia.com::249e384e-4f84-4a03-a0f0-731710819022" providerId="AD"/>
  <p188:author id="{68B489CA-D64E-29C2-3A77-8FD6FBEF02A4}" name="Huw Rossiter" initials="HR" userId="S::huw.rossiter@epiroc.com::553fabba-92a4-4900-967c-b9431eff77e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4D6"/>
    <a:srgbClr val="E2EFDA"/>
    <a:srgbClr val="FFF2CC"/>
    <a:srgbClr val="425563"/>
    <a:srgbClr val="212A31"/>
    <a:srgbClr val="000000"/>
    <a:srgbClr val="3A302F"/>
    <a:srgbClr val="4A4F54"/>
    <a:srgbClr val="001E32"/>
    <a:srgbClr val="0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477" autoAdjust="0"/>
  </p:normalViewPr>
  <p:slideViewPr>
    <p:cSldViewPr snapToGrid="0">
      <p:cViewPr varScale="1">
        <p:scale>
          <a:sx n="108" d="100"/>
          <a:sy n="108" d="100"/>
        </p:scale>
        <p:origin x="67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theme" Target="theme/theme1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3D1449-FF14-429B-841A-EEA188E66C81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A"/>
        </a:p>
      </dgm:t>
    </dgm:pt>
    <dgm:pt modelId="{C7042824-7292-48B8-BD85-60C8DD68F917}">
      <dgm:prSet phldrT="[Texte]"/>
      <dgm:spPr/>
      <dgm:t>
        <a:bodyPr/>
        <a:lstStyle/>
        <a:p>
          <a:r>
            <a:rPr lang="en-CA" noProof="0">
              <a:latin typeface="Aptos" panose="020B0004020202020204" pitchFamily="34" charset="0"/>
            </a:rPr>
            <a:t>Q1 2024</a:t>
          </a:r>
        </a:p>
      </dgm:t>
    </dgm:pt>
    <dgm:pt modelId="{640697F9-474C-48E1-A70E-E4875A74C825}" type="parTrans" cxnId="{54948916-4215-40FE-A84F-334759BF4383}">
      <dgm:prSet/>
      <dgm:spPr/>
      <dgm:t>
        <a:bodyPr/>
        <a:lstStyle/>
        <a:p>
          <a:endParaRPr lang="en-CA" noProof="0"/>
        </a:p>
      </dgm:t>
    </dgm:pt>
    <dgm:pt modelId="{A7AC4925-FA4A-426A-A116-654028E5FDDA}" type="sibTrans" cxnId="{54948916-4215-40FE-A84F-334759BF4383}">
      <dgm:prSet/>
      <dgm:spPr/>
      <dgm:t>
        <a:bodyPr/>
        <a:lstStyle/>
        <a:p>
          <a:endParaRPr lang="en-CA" noProof="0"/>
        </a:p>
      </dgm:t>
    </dgm:pt>
    <dgm:pt modelId="{E5BB9FD6-D482-4C27-ACEF-E55B998998D8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Employees now carrying Epiroc brand</a:t>
          </a:r>
        </a:p>
      </dgm:t>
    </dgm:pt>
    <dgm:pt modelId="{E8DBA01B-E7F0-4535-983E-F4D22BC0BC2D}" type="parTrans" cxnId="{69235CCD-C63C-4C9D-A1AC-6FAE602A12BE}">
      <dgm:prSet/>
      <dgm:spPr/>
      <dgm:t>
        <a:bodyPr/>
        <a:lstStyle/>
        <a:p>
          <a:endParaRPr lang="en-CA" noProof="0"/>
        </a:p>
      </dgm:t>
    </dgm:pt>
    <dgm:pt modelId="{58075373-036F-4A17-B578-968446384E46}" type="sibTrans" cxnId="{69235CCD-C63C-4C9D-A1AC-6FAE602A12BE}">
      <dgm:prSet/>
      <dgm:spPr/>
      <dgm:t>
        <a:bodyPr/>
        <a:lstStyle/>
        <a:p>
          <a:endParaRPr lang="en-CA" noProof="0"/>
        </a:p>
      </dgm:t>
    </dgm:pt>
    <dgm:pt modelId="{18844EE6-D3E3-4E17-B1F3-CDC1D86A0D3F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Trade show strategy</a:t>
          </a:r>
        </a:p>
      </dgm:t>
    </dgm:pt>
    <dgm:pt modelId="{148E5974-75D5-4DBA-BDC7-80177195A9E3}" type="parTrans" cxnId="{6FD26134-0144-4B8A-BDD3-5BD085BEA7F4}">
      <dgm:prSet/>
      <dgm:spPr/>
      <dgm:t>
        <a:bodyPr/>
        <a:lstStyle/>
        <a:p>
          <a:endParaRPr lang="en-CA" noProof="0"/>
        </a:p>
      </dgm:t>
    </dgm:pt>
    <dgm:pt modelId="{114AD809-42AF-4506-9DEF-8EA506B926A4}" type="sibTrans" cxnId="{6FD26134-0144-4B8A-BDD3-5BD085BEA7F4}">
      <dgm:prSet/>
      <dgm:spPr/>
      <dgm:t>
        <a:bodyPr/>
        <a:lstStyle/>
        <a:p>
          <a:endParaRPr lang="en-CA" noProof="0"/>
        </a:p>
      </dgm:t>
    </dgm:pt>
    <dgm:pt modelId="{A8E492D3-7CF4-456D-B869-C0D5971A0741}">
      <dgm:prSet phldrT="[Texte]"/>
      <dgm:spPr/>
      <dgm:t>
        <a:bodyPr/>
        <a:lstStyle/>
        <a:p>
          <a:r>
            <a:rPr lang="en-CA" noProof="0">
              <a:latin typeface="Aptos" panose="020B0004020202020204" pitchFamily="34" charset="0"/>
            </a:rPr>
            <a:t>Q2 2024</a:t>
          </a:r>
        </a:p>
      </dgm:t>
    </dgm:pt>
    <dgm:pt modelId="{13C7C4F3-0DE9-46AC-B2E4-CB7F26881EA5}" type="parTrans" cxnId="{26E6B322-8313-4F6F-B098-CD532297199F}">
      <dgm:prSet/>
      <dgm:spPr/>
      <dgm:t>
        <a:bodyPr/>
        <a:lstStyle/>
        <a:p>
          <a:endParaRPr lang="en-CA" noProof="0"/>
        </a:p>
      </dgm:t>
    </dgm:pt>
    <dgm:pt modelId="{D7BB3B73-5826-47B8-AC6C-6CC3862D152E}" type="sibTrans" cxnId="{26E6B322-8313-4F6F-B098-CD532297199F}">
      <dgm:prSet/>
      <dgm:spPr/>
      <dgm:t>
        <a:bodyPr/>
        <a:lstStyle/>
        <a:p>
          <a:endParaRPr lang="en-CA" noProof="0"/>
        </a:p>
      </dgm:t>
    </dgm:pt>
    <dgm:pt modelId="{4A22ABB7-3E70-48C5-819F-53034B4ADFB0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Onboard clients and partners (including an Ambassadors’ workshop)</a:t>
          </a:r>
        </a:p>
      </dgm:t>
    </dgm:pt>
    <dgm:pt modelId="{36D26A2F-462D-443B-B6F6-8D63A640A098}" type="parTrans" cxnId="{E43ED133-1152-409D-80A3-894B77EE25EA}">
      <dgm:prSet/>
      <dgm:spPr/>
      <dgm:t>
        <a:bodyPr/>
        <a:lstStyle/>
        <a:p>
          <a:endParaRPr lang="en-CA" noProof="0"/>
        </a:p>
      </dgm:t>
    </dgm:pt>
    <dgm:pt modelId="{5B3F8CF0-D277-4A8F-9E05-9FEDC0F5C7E1}" type="sibTrans" cxnId="{E43ED133-1152-409D-80A3-894B77EE25EA}">
      <dgm:prSet/>
      <dgm:spPr/>
      <dgm:t>
        <a:bodyPr/>
        <a:lstStyle/>
        <a:p>
          <a:endParaRPr lang="en-CA" noProof="0"/>
        </a:p>
      </dgm:t>
    </dgm:pt>
    <dgm:pt modelId="{1F5225DE-04A8-495D-A01F-68089033874F}">
      <dgm:prSet phldrT="[Texte]"/>
      <dgm:spPr/>
      <dgm:t>
        <a:bodyPr/>
        <a:lstStyle/>
        <a:p>
          <a:r>
            <a:rPr lang="en-CA" noProof="0">
              <a:latin typeface="Aptos" panose="020B0004020202020204" pitchFamily="34" charset="0"/>
            </a:rPr>
            <a:t>Q3 2024</a:t>
          </a:r>
        </a:p>
      </dgm:t>
    </dgm:pt>
    <dgm:pt modelId="{CA7FD4A7-FD9F-40D8-AD4F-A27135390540}" type="parTrans" cxnId="{1D86ACFB-F5F5-4DB6-B72F-92FC771447B8}">
      <dgm:prSet/>
      <dgm:spPr/>
      <dgm:t>
        <a:bodyPr/>
        <a:lstStyle/>
        <a:p>
          <a:endParaRPr lang="en-CA" noProof="0"/>
        </a:p>
      </dgm:t>
    </dgm:pt>
    <dgm:pt modelId="{DEF001B8-6962-4D9F-B4E1-8009DC03BAAB}" type="sibTrans" cxnId="{1D86ACFB-F5F5-4DB6-B72F-92FC771447B8}">
      <dgm:prSet/>
      <dgm:spPr/>
      <dgm:t>
        <a:bodyPr/>
        <a:lstStyle/>
        <a:p>
          <a:endParaRPr lang="en-CA" noProof="0"/>
        </a:p>
      </dgm:t>
    </dgm:pt>
    <dgm:pt modelId="{F74A5868-80C5-47A4-9BB4-D9A67556E669}">
      <dgm:prSet phldrT="[Texte]"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Continue digital transition by launching pages on Epiroc.com</a:t>
          </a:r>
        </a:p>
      </dgm:t>
    </dgm:pt>
    <dgm:pt modelId="{E0AF256F-BADE-4D70-9E0F-7B9000A26449}" type="parTrans" cxnId="{96835282-82ED-4271-89F1-B45C8963E96A}">
      <dgm:prSet/>
      <dgm:spPr/>
      <dgm:t>
        <a:bodyPr/>
        <a:lstStyle/>
        <a:p>
          <a:endParaRPr lang="en-CA" noProof="0"/>
        </a:p>
      </dgm:t>
    </dgm:pt>
    <dgm:pt modelId="{6E0EDAE7-A2FD-4493-95DE-CAAF7E858F5F}" type="sibTrans" cxnId="{96835282-82ED-4271-89F1-B45C8963E96A}">
      <dgm:prSet/>
      <dgm:spPr/>
      <dgm:t>
        <a:bodyPr/>
        <a:lstStyle/>
        <a:p>
          <a:endParaRPr lang="en-CA" noProof="0"/>
        </a:p>
      </dgm:t>
    </dgm:pt>
    <dgm:pt modelId="{1543071D-AFE6-4F32-A467-35E6995AE1AA}">
      <dgm:prSet phldrT="[Texte]"/>
      <dgm:spPr/>
      <dgm:t>
        <a:bodyPr/>
        <a:lstStyle/>
        <a:p>
          <a:r>
            <a:rPr lang="en-CA" noProof="0">
              <a:latin typeface="Aptos" panose="020B0004020202020204" pitchFamily="34" charset="0"/>
            </a:rPr>
            <a:t>Q4 2024+</a:t>
          </a:r>
        </a:p>
      </dgm:t>
    </dgm:pt>
    <dgm:pt modelId="{CA604374-AC12-4A5A-9FEB-06B450BC00AE}" type="parTrans" cxnId="{FBA74B92-7A31-4426-B814-169404E2F9A6}">
      <dgm:prSet/>
      <dgm:spPr/>
      <dgm:t>
        <a:bodyPr/>
        <a:lstStyle/>
        <a:p>
          <a:endParaRPr lang="en-CA" noProof="0"/>
        </a:p>
      </dgm:t>
    </dgm:pt>
    <dgm:pt modelId="{7B55B954-FA38-474E-A3B7-5EC9D54243B1}" type="sibTrans" cxnId="{FBA74B92-7A31-4426-B814-169404E2F9A6}">
      <dgm:prSet/>
      <dgm:spPr/>
      <dgm:t>
        <a:bodyPr/>
        <a:lstStyle/>
        <a:p>
          <a:endParaRPr lang="en-CA" noProof="0"/>
        </a:p>
      </dgm:t>
    </dgm:pt>
    <dgm:pt modelId="{D8D1FE1F-9402-4DE1-BC51-3D9D0DDFF3FA}">
      <dgm:prSet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Continued monitoring</a:t>
          </a:r>
        </a:p>
      </dgm:t>
    </dgm:pt>
    <dgm:pt modelId="{4B137C7A-B5C1-4B79-A0D0-A6115807D1D4}" type="parTrans" cxnId="{8DFFC201-A606-47F5-B2FB-FCA95ACA968E}">
      <dgm:prSet/>
      <dgm:spPr/>
      <dgm:t>
        <a:bodyPr/>
        <a:lstStyle/>
        <a:p>
          <a:endParaRPr lang="en-CA" noProof="0"/>
        </a:p>
      </dgm:t>
    </dgm:pt>
    <dgm:pt modelId="{33A5AAEC-C482-4925-B93E-84DB7E530774}" type="sibTrans" cxnId="{8DFFC201-A606-47F5-B2FB-FCA95ACA968E}">
      <dgm:prSet/>
      <dgm:spPr/>
      <dgm:t>
        <a:bodyPr/>
        <a:lstStyle/>
        <a:p>
          <a:endParaRPr lang="en-CA" noProof="0"/>
        </a:p>
      </dgm:t>
    </dgm:pt>
    <dgm:pt modelId="{CE754303-99F3-4CA2-B585-10F9E08687AF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New OBK guidelines for the Fordia brand and brand &amp; comm package</a:t>
          </a:r>
        </a:p>
      </dgm:t>
    </dgm:pt>
    <dgm:pt modelId="{CE0B8E7F-1572-4225-946B-F03FC596272B}" type="parTrans" cxnId="{86CC8B7E-74EE-4C67-90EB-31AADE2DCEE0}">
      <dgm:prSet/>
      <dgm:spPr/>
      <dgm:t>
        <a:bodyPr/>
        <a:lstStyle/>
        <a:p>
          <a:endParaRPr lang="en-CA" noProof="0"/>
        </a:p>
      </dgm:t>
    </dgm:pt>
    <dgm:pt modelId="{1DE6C1E7-AAC2-4EDF-B21A-1C34224D6F39}" type="sibTrans" cxnId="{86CC8B7E-74EE-4C67-90EB-31AADE2DCEE0}">
      <dgm:prSet/>
      <dgm:spPr/>
      <dgm:t>
        <a:bodyPr/>
        <a:lstStyle/>
        <a:p>
          <a:endParaRPr lang="en-CA" noProof="0"/>
        </a:p>
      </dgm:t>
    </dgm:pt>
    <dgm:pt modelId="{8FF80179-FDD0-4A39-BA1A-58F206B0D7EE}">
      <dgm:prSet custT="1"/>
      <dgm:spPr/>
      <dgm:t>
        <a:bodyPr/>
        <a:lstStyle/>
        <a:p>
          <a:r>
            <a:rPr lang="en-CA" sz="1400" noProof="0" dirty="0">
              <a:latin typeface="Aptos" panose="020B0004020202020204" pitchFamily="34" charset="0"/>
            </a:rPr>
            <a:t>Reconsider product packaging strategy, internal news update and social channels</a:t>
          </a:r>
        </a:p>
      </dgm:t>
    </dgm:pt>
    <dgm:pt modelId="{BA8BEFE9-CE15-4346-BD0E-3B9C2875D0E3}" type="parTrans" cxnId="{43AE8278-EE58-4692-9D53-B1822B00EA2E}">
      <dgm:prSet/>
      <dgm:spPr/>
      <dgm:t>
        <a:bodyPr/>
        <a:lstStyle/>
        <a:p>
          <a:endParaRPr lang="en-CA" noProof="0"/>
        </a:p>
      </dgm:t>
    </dgm:pt>
    <dgm:pt modelId="{F1370400-B992-4153-9491-D8E9ABEC162A}" type="sibTrans" cxnId="{43AE8278-EE58-4692-9D53-B1822B00EA2E}">
      <dgm:prSet/>
      <dgm:spPr/>
      <dgm:t>
        <a:bodyPr/>
        <a:lstStyle/>
        <a:p>
          <a:endParaRPr lang="en-CA" noProof="0"/>
        </a:p>
      </dgm:t>
    </dgm:pt>
    <dgm:pt modelId="{FB185120-EC54-4F88-81EF-CE8BE1FF9397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Update brand assets, including product packaging outside of diamond tools</a:t>
          </a:r>
        </a:p>
      </dgm:t>
    </dgm:pt>
    <dgm:pt modelId="{C30CB0BB-C3AD-4D77-90EF-287BF98E9555}" type="parTrans" cxnId="{524FEA0E-8E85-4B37-AB85-FE32A63441A7}">
      <dgm:prSet/>
      <dgm:spPr/>
      <dgm:t>
        <a:bodyPr/>
        <a:lstStyle/>
        <a:p>
          <a:endParaRPr lang="en-CA" noProof="0"/>
        </a:p>
      </dgm:t>
    </dgm:pt>
    <dgm:pt modelId="{0EFB4BEE-62C7-4E94-810F-DCAD9C113271}" type="sibTrans" cxnId="{524FEA0E-8E85-4B37-AB85-FE32A63441A7}">
      <dgm:prSet/>
      <dgm:spPr/>
      <dgm:t>
        <a:bodyPr/>
        <a:lstStyle/>
        <a:p>
          <a:endParaRPr lang="en-CA" noProof="0"/>
        </a:p>
      </dgm:t>
    </dgm:pt>
    <dgm:pt modelId="{AACDDDD8-6F62-444D-A769-F7D8610761F9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Start digital transition with structure and initial content (web and socials)</a:t>
          </a:r>
        </a:p>
      </dgm:t>
    </dgm:pt>
    <dgm:pt modelId="{89AD2992-FD54-460E-B867-2489E59B2475}" type="parTrans" cxnId="{CEC5FDC2-8C43-45EE-AFAC-CDA6F64BC58B}">
      <dgm:prSet/>
      <dgm:spPr/>
      <dgm:t>
        <a:bodyPr/>
        <a:lstStyle/>
        <a:p>
          <a:endParaRPr lang="en-CA" noProof="0"/>
        </a:p>
      </dgm:t>
    </dgm:pt>
    <dgm:pt modelId="{FE316FE7-9E77-4321-8DD7-9410CAB56652}" type="sibTrans" cxnId="{CEC5FDC2-8C43-45EE-AFAC-CDA6F64BC58B}">
      <dgm:prSet/>
      <dgm:spPr/>
      <dgm:t>
        <a:bodyPr/>
        <a:lstStyle/>
        <a:p>
          <a:endParaRPr lang="en-CA" noProof="0"/>
        </a:p>
      </dgm:t>
    </dgm:pt>
    <dgm:pt modelId="{BCBB53A5-0708-4698-A00A-64E67E4069A8}">
      <dgm:prSet phldrT="[Texte]"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Continue to update brand assets (including translation)</a:t>
          </a:r>
        </a:p>
      </dgm:t>
    </dgm:pt>
    <dgm:pt modelId="{B046541B-9D57-46FD-A654-64C0BEA8CE2F}" type="parTrans" cxnId="{3289DE9E-0F55-4D29-A251-1B5A20141EF3}">
      <dgm:prSet/>
      <dgm:spPr/>
      <dgm:t>
        <a:bodyPr/>
        <a:lstStyle/>
        <a:p>
          <a:endParaRPr lang="en-CA" noProof="0"/>
        </a:p>
      </dgm:t>
    </dgm:pt>
    <dgm:pt modelId="{927D5C72-DDBF-4041-A505-82027A354E05}" type="sibTrans" cxnId="{3289DE9E-0F55-4D29-A251-1B5A20141EF3}">
      <dgm:prSet/>
      <dgm:spPr/>
      <dgm:t>
        <a:bodyPr/>
        <a:lstStyle/>
        <a:p>
          <a:endParaRPr lang="en-CA" noProof="0"/>
        </a:p>
      </dgm:t>
    </dgm:pt>
    <dgm:pt modelId="{BFD0D826-7590-41E8-B89F-60C8C4DE7318}">
      <dgm:prSet phldrT="[Texte]"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Monitor brand perception and KPIs</a:t>
          </a:r>
        </a:p>
      </dgm:t>
    </dgm:pt>
    <dgm:pt modelId="{24CB5F9E-1303-4F55-BF7E-25E000C7F583}" type="parTrans" cxnId="{E83C7AF5-D015-4B2F-9E31-F8AD80F9BC9F}">
      <dgm:prSet/>
      <dgm:spPr/>
      <dgm:t>
        <a:bodyPr/>
        <a:lstStyle/>
        <a:p>
          <a:endParaRPr lang="en-CA" noProof="0"/>
        </a:p>
      </dgm:t>
    </dgm:pt>
    <dgm:pt modelId="{7B1A9B63-A0D7-450B-A55F-09A2FE96ED9C}" type="sibTrans" cxnId="{E83C7AF5-D015-4B2F-9E31-F8AD80F9BC9F}">
      <dgm:prSet/>
      <dgm:spPr/>
      <dgm:t>
        <a:bodyPr/>
        <a:lstStyle/>
        <a:p>
          <a:endParaRPr lang="en-CA" noProof="0"/>
        </a:p>
      </dgm:t>
    </dgm:pt>
    <dgm:pt modelId="{C6B84315-4834-474E-977D-1C3C2CA21356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Trucks</a:t>
          </a:r>
        </a:p>
      </dgm:t>
    </dgm:pt>
    <dgm:pt modelId="{EFFF8984-8FD9-46A7-BE7E-E6A253A7E07B}" type="parTrans" cxnId="{F3042014-0659-489D-A4BC-9489862DD187}">
      <dgm:prSet/>
      <dgm:spPr/>
      <dgm:t>
        <a:bodyPr/>
        <a:lstStyle/>
        <a:p>
          <a:endParaRPr lang="en-CA" noProof="0"/>
        </a:p>
      </dgm:t>
    </dgm:pt>
    <dgm:pt modelId="{49861E20-B449-4546-999C-A68D49D9873A}" type="sibTrans" cxnId="{F3042014-0659-489D-A4BC-9489862DD187}">
      <dgm:prSet/>
      <dgm:spPr/>
      <dgm:t>
        <a:bodyPr/>
        <a:lstStyle/>
        <a:p>
          <a:endParaRPr lang="en-CA" noProof="0"/>
        </a:p>
      </dgm:t>
    </dgm:pt>
    <dgm:pt modelId="{3EF98746-FF1A-48A5-92A0-2CB952152755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Review internal communication channels</a:t>
          </a:r>
        </a:p>
      </dgm:t>
    </dgm:pt>
    <dgm:pt modelId="{44ED8070-DA8F-4BE3-A784-2BEB4372A225}" type="sibTrans" cxnId="{8FE46884-538C-470B-BD3B-DEC5B9217A8A}">
      <dgm:prSet/>
      <dgm:spPr/>
      <dgm:t>
        <a:bodyPr/>
        <a:lstStyle/>
        <a:p>
          <a:endParaRPr lang="en-CA" noProof="0"/>
        </a:p>
      </dgm:t>
    </dgm:pt>
    <dgm:pt modelId="{9C8532D5-D1EE-49C1-B923-2194AAE3BC9F}" type="parTrans" cxnId="{8FE46884-538C-470B-BD3B-DEC5B9217A8A}">
      <dgm:prSet/>
      <dgm:spPr/>
      <dgm:t>
        <a:bodyPr/>
        <a:lstStyle/>
        <a:p>
          <a:endParaRPr lang="en-CA" noProof="0"/>
        </a:p>
      </dgm:t>
    </dgm:pt>
    <dgm:pt modelId="{FB448843-9C6D-4F67-A2EF-46E90FBCD43C}">
      <dgm:prSet phldrT="[Texte]"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Buildings, combined with local celebration events in Canada</a:t>
          </a:r>
        </a:p>
      </dgm:t>
    </dgm:pt>
    <dgm:pt modelId="{7C40E1CE-2F26-484C-8C77-2E8B59988033}" type="parTrans" cxnId="{05A1A528-7352-40C4-9A60-E340F470EB30}">
      <dgm:prSet/>
      <dgm:spPr/>
      <dgm:t>
        <a:bodyPr/>
        <a:lstStyle/>
        <a:p>
          <a:endParaRPr lang="en-CA" noProof="0"/>
        </a:p>
      </dgm:t>
    </dgm:pt>
    <dgm:pt modelId="{B6F9F724-9915-45D5-91BA-45B0CC6B8E8A}" type="sibTrans" cxnId="{05A1A528-7352-40C4-9A60-E340F470EB30}">
      <dgm:prSet/>
      <dgm:spPr/>
      <dgm:t>
        <a:bodyPr/>
        <a:lstStyle/>
        <a:p>
          <a:endParaRPr lang="en-CA" noProof="0"/>
        </a:p>
      </dgm:t>
    </dgm:pt>
    <dgm:pt modelId="{C7823B70-F894-45B2-AEF9-09E2C9B3E305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Update merch</a:t>
          </a:r>
        </a:p>
      </dgm:t>
    </dgm:pt>
    <dgm:pt modelId="{42AF13E7-1D12-438B-8C99-3CA767546A54}" type="parTrans" cxnId="{7BCD891C-65C6-4BA1-8511-4A8D70D2BBEE}">
      <dgm:prSet/>
      <dgm:spPr/>
      <dgm:t>
        <a:bodyPr/>
        <a:lstStyle/>
        <a:p>
          <a:endParaRPr lang="en-CA" noProof="0"/>
        </a:p>
      </dgm:t>
    </dgm:pt>
    <dgm:pt modelId="{F2B2377F-4D91-4D5A-AAB5-7800EB7B7A28}" type="sibTrans" cxnId="{7BCD891C-65C6-4BA1-8511-4A8D70D2BBEE}">
      <dgm:prSet/>
      <dgm:spPr/>
      <dgm:t>
        <a:bodyPr/>
        <a:lstStyle/>
        <a:p>
          <a:endParaRPr lang="en-CA" noProof="0"/>
        </a:p>
      </dgm:t>
    </dgm:pt>
    <dgm:pt modelId="{854B2071-2792-4852-94F9-8947B15A930A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Boxes and tape</a:t>
          </a:r>
        </a:p>
      </dgm:t>
    </dgm:pt>
    <dgm:pt modelId="{4F62AC48-2969-46FB-BCB4-9F325E3C2D87}" type="parTrans" cxnId="{371A5948-39C0-46D3-822E-ADB03B39B832}">
      <dgm:prSet/>
      <dgm:spPr/>
      <dgm:t>
        <a:bodyPr/>
        <a:lstStyle/>
        <a:p>
          <a:endParaRPr lang="en-CA" noProof="0"/>
        </a:p>
      </dgm:t>
    </dgm:pt>
    <dgm:pt modelId="{0513FBC7-086F-46B3-A3BE-9B207B20C095}" type="sibTrans" cxnId="{371A5948-39C0-46D3-822E-ADB03B39B832}">
      <dgm:prSet/>
      <dgm:spPr/>
      <dgm:t>
        <a:bodyPr/>
        <a:lstStyle/>
        <a:p>
          <a:endParaRPr lang="en-CA" noProof="0"/>
        </a:p>
      </dgm:t>
    </dgm:pt>
    <dgm:pt modelId="{F899C48B-B993-419E-9704-7D8C8468815C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Legal documentation, including contracts and SAP </a:t>
          </a:r>
        </a:p>
      </dgm:t>
    </dgm:pt>
    <dgm:pt modelId="{85A2E189-9EA2-4D32-9EF5-9C5632D36B38}" type="parTrans" cxnId="{C34667E1-9AB3-4AB0-96D1-7EFE581C7D2F}">
      <dgm:prSet/>
      <dgm:spPr/>
      <dgm:t>
        <a:bodyPr/>
        <a:lstStyle/>
        <a:p>
          <a:endParaRPr lang="en-CA" noProof="0"/>
        </a:p>
      </dgm:t>
    </dgm:pt>
    <dgm:pt modelId="{C2E9367F-4355-4681-81BA-49A7094A25C3}" type="sibTrans" cxnId="{C34667E1-9AB3-4AB0-96D1-7EFE581C7D2F}">
      <dgm:prSet/>
      <dgm:spPr/>
      <dgm:t>
        <a:bodyPr/>
        <a:lstStyle/>
        <a:p>
          <a:endParaRPr lang="en-CA" noProof="0"/>
        </a:p>
      </dgm:t>
    </dgm:pt>
    <dgm:pt modelId="{0702162C-5D82-492B-A8DE-036012BAC7E9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Templates</a:t>
          </a:r>
        </a:p>
      </dgm:t>
    </dgm:pt>
    <dgm:pt modelId="{AAE3AF75-0473-4355-9BFD-15C3F85EDC4A}" type="parTrans" cxnId="{327A9BC3-4A60-4202-9E2B-F8747E4DC293}">
      <dgm:prSet/>
      <dgm:spPr/>
      <dgm:t>
        <a:bodyPr/>
        <a:lstStyle/>
        <a:p>
          <a:endParaRPr lang="en-CA" noProof="0"/>
        </a:p>
      </dgm:t>
    </dgm:pt>
    <dgm:pt modelId="{8A0A51EB-F698-4564-BDAC-96E9066894FD}" type="sibTrans" cxnId="{327A9BC3-4A60-4202-9E2B-F8747E4DC293}">
      <dgm:prSet/>
      <dgm:spPr/>
      <dgm:t>
        <a:bodyPr/>
        <a:lstStyle/>
        <a:p>
          <a:endParaRPr lang="en-CA" noProof="0"/>
        </a:p>
      </dgm:t>
    </dgm:pt>
    <dgm:pt modelId="{39C01BC1-B91F-4E3B-84DD-39699AA3D1C3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Web OBK landing page</a:t>
          </a:r>
        </a:p>
      </dgm:t>
    </dgm:pt>
    <dgm:pt modelId="{B817C3CA-6AE8-45A6-8975-379A93DBEAE2}" type="parTrans" cxnId="{1C912D66-29A7-45AD-8E51-D6756A60B5B4}">
      <dgm:prSet/>
      <dgm:spPr/>
      <dgm:t>
        <a:bodyPr/>
        <a:lstStyle/>
        <a:p>
          <a:endParaRPr lang="fr-CA"/>
        </a:p>
      </dgm:t>
    </dgm:pt>
    <dgm:pt modelId="{3BC98AFD-CA9C-48D5-A8EE-AF4AEAA7F774}" type="sibTrans" cxnId="{1C912D66-29A7-45AD-8E51-D6756A60B5B4}">
      <dgm:prSet/>
      <dgm:spPr/>
      <dgm:t>
        <a:bodyPr/>
        <a:lstStyle/>
        <a:p>
          <a:endParaRPr lang="fr-CA"/>
        </a:p>
      </dgm:t>
    </dgm:pt>
    <dgm:pt modelId="{B0B95278-CF18-41C0-8E3D-975630BE4640}">
      <dgm:prSet custT="1"/>
      <dgm:spPr/>
      <dgm:t>
        <a:bodyPr/>
        <a:lstStyle/>
        <a:p>
          <a:r>
            <a:rPr lang="en-CA" sz="1400" noProof="0">
              <a:latin typeface="Aptos" panose="020B0004020202020204" pitchFamily="34" charset="0"/>
            </a:rPr>
            <a:t>Hard cut-off for Fordia on anything else other than DT</a:t>
          </a:r>
        </a:p>
      </dgm:t>
    </dgm:pt>
    <dgm:pt modelId="{0A9F2312-4DCF-42B4-AD87-E1370CB5BEA5}" type="parTrans" cxnId="{275A99A9-6671-460C-A428-3259057256B3}">
      <dgm:prSet/>
      <dgm:spPr/>
      <dgm:t>
        <a:bodyPr/>
        <a:lstStyle/>
        <a:p>
          <a:endParaRPr lang="fr-CA"/>
        </a:p>
      </dgm:t>
    </dgm:pt>
    <dgm:pt modelId="{7A8BDB96-E92F-41F3-BC84-11A7FE7B901C}" type="sibTrans" cxnId="{275A99A9-6671-460C-A428-3259057256B3}">
      <dgm:prSet/>
      <dgm:spPr/>
      <dgm:t>
        <a:bodyPr/>
        <a:lstStyle/>
        <a:p>
          <a:endParaRPr lang="fr-CA"/>
        </a:p>
      </dgm:t>
    </dgm:pt>
    <dgm:pt modelId="{52194255-2CDB-4EB0-B9CC-C554CDFAB917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Identify required liquidation (stickers, boxes, etc.) </a:t>
          </a:r>
        </a:p>
      </dgm:t>
    </dgm:pt>
    <dgm:pt modelId="{10C53BAE-5AE4-43B8-8C2C-56AE7824F5AF}" type="parTrans" cxnId="{D0C036C8-918A-4EFC-AC60-5D5C936FC8B8}">
      <dgm:prSet/>
      <dgm:spPr/>
      <dgm:t>
        <a:bodyPr/>
        <a:lstStyle/>
        <a:p>
          <a:endParaRPr lang="fr-CA"/>
        </a:p>
      </dgm:t>
    </dgm:pt>
    <dgm:pt modelId="{4AA7F723-866E-4C7B-A060-290E3D47F966}" type="sibTrans" cxnId="{D0C036C8-918A-4EFC-AC60-5D5C936FC8B8}">
      <dgm:prSet/>
      <dgm:spPr/>
      <dgm:t>
        <a:bodyPr/>
        <a:lstStyle/>
        <a:p>
          <a:endParaRPr lang="fr-CA"/>
        </a:p>
      </dgm:t>
    </dgm:pt>
    <dgm:pt modelId="{3D07286F-3CFC-45B0-A186-E823BC57E896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Employer branding update (including contracts)</a:t>
          </a:r>
        </a:p>
      </dgm:t>
    </dgm:pt>
    <dgm:pt modelId="{91FF5113-6FFA-418F-95A2-3DEB96B08D6C}" type="parTrans" cxnId="{0229BFEA-4E2B-4CEE-961F-EC14AAB87D3E}">
      <dgm:prSet/>
      <dgm:spPr/>
      <dgm:t>
        <a:bodyPr/>
        <a:lstStyle/>
        <a:p>
          <a:endParaRPr lang="fr-CA"/>
        </a:p>
      </dgm:t>
    </dgm:pt>
    <dgm:pt modelId="{72440F51-E0DA-48C6-88EF-4C798E33E1C5}" type="sibTrans" cxnId="{0229BFEA-4E2B-4CEE-961F-EC14AAB87D3E}">
      <dgm:prSet/>
      <dgm:spPr/>
      <dgm:t>
        <a:bodyPr/>
        <a:lstStyle/>
        <a:p>
          <a:endParaRPr lang="fr-CA"/>
        </a:p>
      </dgm:t>
    </dgm:pt>
    <dgm:pt modelId="{282497D6-F870-4F6F-B08E-55C8988C3335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Revisit product naming (rods, etc.)</a:t>
          </a:r>
        </a:p>
      </dgm:t>
    </dgm:pt>
    <dgm:pt modelId="{0435B8C1-D252-434A-ACB5-3FC61D5391D7}" type="parTrans" cxnId="{5E2C69E9-B702-43D3-B743-03880BC2F301}">
      <dgm:prSet/>
      <dgm:spPr/>
      <dgm:t>
        <a:bodyPr/>
        <a:lstStyle/>
        <a:p>
          <a:endParaRPr lang="fr-CA"/>
        </a:p>
      </dgm:t>
    </dgm:pt>
    <dgm:pt modelId="{C32C2CA5-CE8E-415B-92E9-7C8991BFB237}" type="sibTrans" cxnId="{5E2C69E9-B702-43D3-B743-03880BC2F301}">
      <dgm:prSet/>
      <dgm:spPr/>
      <dgm:t>
        <a:bodyPr/>
        <a:lstStyle/>
        <a:p>
          <a:endParaRPr lang="fr-CA"/>
        </a:p>
      </dgm:t>
    </dgm:pt>
    <dgm:pt modelId="{AF7085C8-5A0D-4469-BF48-B5A0EB231B9E}">
      <dgm:prSet phldrT="[Texte]" custT="1"/>
      <dgm:spPr/>
      <dgm:t>
        <a:bodyPr/>
        <a:lstStyle/>
        <a:p>
          <a:r>
            <a:rPr lang="en-CA" sz="1200" noProof="0">
              <a:latin typeface="Aptos" panose="020B0004020202020204" pitchFamily="34" charset="0"/>
            </a:rPr>
            <a:t>Employee uniforms</a:t>
          </a:r>
        </a:p>
      </dgm:t>
    </dgm:pt>
    <dgm:pt modelId="{F3916900-E7BC-495A-A1A2-8507F83E195D}" type="parTrans" cxnId="{0750B272-25E9-47C9-B5F8-A53E02C4F9B2}">
      <dgm:prSet/>
      <dgm:spPr/>
      <dgm:t>
        <a:bodyPr/>
        <a:lstStyle/>
        <a:p>
          <a:endParaRPr lang="fr-CA"/>
        </a:p>
      </dgm:t>
    </dgm:pt>
    <dgm:pt modelId="{5430917B-6231-4F79-9DF7-0FF2CB2D6D7A}" type="sibTrans" cxnId="{0750B272-25E9-47C9-B5F8-A53E02C4F9B2}">
      <dgm:prSet/>
      <dgm:spPr/>
      <dgm:t>
        <a:bodyPr/>
        <a:lstStyle/>
        <a:p>
          <a:endParaRPr lang="fr-CA"/>
        </a:p>
      </dgm:t>
    </dgm:pt>
    <dgm:pt modelId="{18D316CD-F4C3-4999-BE85-68DE87A3E4A7}" type="pres">
      <dgm:prSet presAssocID="{CF3D1449-FF14-429B-841A-EEA188E66C81}" presName="linearFlow" presStyleCnt="0">
        <dgm:presLayoutVars>
          <dgm:dir/>
          <dgm:animLvl val="lvl"/>
          <dgm:resizeHandles val="exact"/>
        </dgm:presLayoutVars>
      </dgm:prSet>
      <dgm:spPr/>
    </dgm:pt>
    <dgm:pt modelId="{A1C68572-5160-4559-87AD-76563426A58C}" type="pres">
      <dgm:prSet presAssocID="{C7042824-7292-48B8-BD85-60C8DD68F917}" presName="composite" presStyleCnt="0"/>
      <dgm:spPr/>
    </dgm:pt>
    <dgm:pt modelId="{264CABFF-A151-46D9-ACCA-2BFF989A2560}" type="pres">
      <dgm:prSet presAssocID="{C7042824-7292-48B8-BD85-60C8DD68F917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46E8150-E65D-40FF-B06D-80AF728351AB}" type="pres">
      <dgm:prSet presAssocID="{C7042824-7292-48B8-BD85-60C8DD68F917}" presName="parSh" presStyleLbl="node1" presStyleIdx="0" presStyleCnt="4"/>
      <dgm:spPr/>
    </dgm:pt>
    <dgm:pt modelId="{8373D498-177A-46FC-A7B4-1D66BDB93C52}" type="pres">
      <dgm:prSet presAssocID="{C7042824-7292-48B8-BD85-60C8DD68F917}" presName="desTx" presStyleLbl="fgAcc1" presStyleIdx="0" presStyleCnt="4">
        <dgm:presLayoutVars>
          <dgm:bulletEnabled val="1"/>
        </dgm:presLayoutVars>
      </dgm:prSet>
      <dgm:spPr/>
    </dgm:pt>
    <dgm:pt modelId="{D522FB19-9E25-4802-A917-1A12268E106C}" type="pres">
      <dgm:prSet presAssocID="{A7AC4925-FA4A-426A-A116-654028E5FDDA}" presName="sibTrans" presStyleLbl="sibTrans2D1" presStyleIdx="0" presStyleCnt="3"/>
      <dgm:spPr/>
    </dgm:pt>
    <dgm:pt modelId="{B42BB6A2-3948-4896-8AB5-40E4A8F4D574}" type="pres">
      <dgm:prSet presAssocID="{A7AC4925-FA4A-426A-A116-654028E5FDDA}" presName="connTx" presStyleLbl="sibTrans2D1" presStyleIdx="0" presStyleCnt="3"/>
      <dgm:spPr/>
    </dgm:pt>
    <dgm:pt modelId="{C6DAD995-705B-4BF9-9B69-3D56024B3336}" type="pres">
      <dgm:prSet presAssocID="{A8E492D3-7CF4-456D-B869-C0D5971A0741}" presName="composite" presStyleCnt="0"/>
      <dgm:spPr/>
    </dgm:pt>
    <dgm:pt modelId="{E2448BEE-AD07-45AF-BA91-0B7A457D7BBE}" type="pres">
      <dgm:prSet presAssocID="{A8E492D3-7CF4-456D-B869-C0D5971A0741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6C2A8B5F-7D35-4456-9EA4-05675DE66285}" type="pres">
      <dgm:prSet presAssocID="{A8E492D3-7CF4-456D-B869-C0D5971A0741}" presName="parSh" presStyleLbl="node1" presStyleIdx="1" presStyleCnt="4"/>
      <dgm:spPr/>
    </dgm:pt>
    <dgm:pt modelId="{A2A1AA12-CFE4-425E-ACD5-033F2B68FF06}" type="pres">
      <dgm:prSet presAssocID="{A8E492D3-7CF4-456D-B869-C0D5971A0741}" presName="desTx" presStyleLbl="fgAcc1" presStyleIdx="1" presStyleCnt="4">
        <dgm:presLayoutVars>
          <dgm:bulletEnabled val="1"/>
        </dgm:presLayoutVars>
      </dgm:prSet>
      <dgm:spPr/>
    </dgm:pt>
    <dgm:pt modelId="{9A228B3C-D402-48E2-BACC-A8903B5ADC63}" type="pres">
      <dgm:prSet presAssocID="{D7BB3B73-5826-47B8-AC6C-6CC3862D152E}" presName="sibTrans" presStyleLbl="sibTrans2D1" presStyleIdx="1" presStyleCnt="3"/>
      <dgm:spPr/>
    </dgm:pt>
    <dgm:pt modelId="{98331710-2B99-4034-B543-E1D714672ACD}" type="pres">
      <dgm:prSet presAssocID="{D7BB3B73-5826-47B8-AC6C-6CC3862D152E}" presName="connTx" presStyleLbl="sibTrans2D1" presStyleIdx="1" presStyleCnt="3"/>
      <dgm:spPr/>
    </dgm:pt>
    <dgm:pt modelId="{5AB99334-5548-4580-8EBA-E98509893C52}" type="pres">
      <dgm:prSet presAssocID="{1F5225DE-04A8-495D-A01F-68089033874F}" presName="composite" presStyleCnt="0"/>
      <dgm:spPr/>
    </dgm:pt>
    <dgm:pt modelId="{9A8D3396-FD7D-4954-8029-930CA4767C5F}" type="pres">
      <dgm:prSet presAssocID="{1F5225DE-04A8-495D-A01F-68089033874F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90DBC04-013D-47FD-BB65-ED9CB07EEABA}" type="pres">
      <dgm:prSet presAssocID="{1F5225DE-04A8-495D-A01F-68089033874F}" presName="parSh" presStyleLbl="node1" presStyleIdx="2" presStyleCnt="4"/>
      <dgm:spPr/>
    </dgm:pt>
    <dgm:pt modelId="{90031B9C-F934-4F9D-BE93-4F8648C665E1}" type="pres">
      <dgm:prSet presAssocID="{1F5225DE-04A8-495D-A01F-68089033874F}" presName="desTx" presStyleLbl="fgAcc1" presStyleIdx="2" presStyleCnt="4">
        <dgm:presLayoutVars>
          <dgm:bulletEnabled val="1"/>
        </dgm:presLayoutVars>
      </dgm:prSet>
      <dgm:spPr/>
    </dgm:pt>
    <dgm:pt modelId="{E49C06C9-6BAE-45B8-91C4-E6132FF6C498}" type="pres">
      <dgm:prSet presAssocID="{DEF001B8-6962-4D9F-B4E1-8009DC03BAAB}" presName="sibTrans" presStyleLbl="sibTrans2D1" presStyleIdx="2" presStyleCnt="3"/>
      <dgm:spPr/>
    </dgm:pt>
    <dgm:pt modelId="{0A57AB23-B896-44F7-801A-467F97AFC0AF}" type="pres">
      <dgm:prSet presAssocID="{DEF001B8-6962-4D9F-B4E1-8009DC03BAAB}" presName="connTx" presStyleLbl="sibTrans2D1" presStyleIdx="2" presStyleCnt="3"/>
      <dgm:spPr/>
    </dgm:pt>
    <dgm:pt modelId="{80CF00B3-48E6-4397-BC8B-75FECF184520}" type="pres">
      <dgm:prSet presAssocID="{1543071D-AFE6-4F32-A467-35E6995AE1AA}" presName="composite" presStyleCnt="0"/>
      <dgm:spPr/>
    </dgm:pt>
    <dgm:pt modelId="{30EC3556-F4EA-4382-8D76-8E3692C10C85}" type="pres">
      <dgm:prSet presAssocID="{1543071D-AFE6-4F32-A467-35E6995AE1AA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AA49AE8-1DD7-4B0E-9D25-DC617726A6D6}" type="pres">
      <dgm:prSet presAssocID="{1543071D-AFE6-4F32-A467-35E6995AE1AA}" presName="parSh" presStyleLbl="node1" presStyleIdx="3" presStyleCnt="4"/>
      <dgm:spPr/>
    </dgm:pt>
    <dgm:pt modelId="{97DFDD1D-E232-4DB6-BF5E-725C328C2B20}" type="pres">
      <dgm:prSet presAssocID="{1543071D-AFE6-4F32-A467-35E6995AE1AA}" presName="desTx" presStyleLbl="fgAcc1" presStyleIdx="3" presStyleCnt="4">
        <dgm:presLayoutVars>
          <dgm:bulletEnabled val="1"/>
        </dgm:presLayoutVars>
      </dgm:prSet>
      <dgm:spPr/>
    </dgm:pt>
  </dgm:ptLst>
  <dgm:cxnLst>
    <dgm:cxn modelId="{8DFFC201-A606-47F5-B2FB-FCA95ACA968E}" srcId="{1543071D-AFE6-4F32-A467-35E6995AE1AA}" destId="{D8D1FE1F-9402-4DE1-BC51-3D9D0DDFF3FA}" srcOrd="0" destOrd="0" parTransId="{4B137C7A-B5C1-4B79-A0D0-A6115807D1D4}" sibTransId="{33A5AAEC-C482-4925-B93E-84DB7E530774}"/>
    <dgm:cxn modelId="{12F0EF09-CF38-47C3-9764-478393D446B9}" type="presOf" srcId="{1F5225DE-04A8-495D-A01F-68089033874F}" destId="{9A8D3396-FD7D-4954-8029-930CA4767C5F}" srcOrd="0" destOrd="0" presId="urn:microsoft.com/office/officeart/2005/8/layout/process3"/>
    <dgm:cxn modelId="{524FEA0E-8E85-4B37-AB85-FE32A63441A7}" srcId="{A8E492D3-7CF4-456D-B869-C0D5971A0741}" destId="{FB185120-EC54-4F88-81EF-CE8BE1FF9397}" srcOrd="3" destOrd="0" parTransId="{C30CB0BB-C3AD-4D77-90EF-287BF98E9555}" sibTransId="{0EFB4BEE-62C7-4E94-810F-DCAD9C113271}"/>
    <dgm:cxn modelId="{E96C1410-CE91-47FF-A34B-0529B1B90955}" type="presOf" srcId="{1543071D-AFE6-4F32-A467-35E6995AE1AA}" destId="{2AA49AE8-1DD7-4B0E-9D25-DC617726A6D6}" srcOrd="1" destOrd="0" presId="urn:microsoft.com/office/officeart/2005/8/layout/process3"/>
    <dgm:cxn modelId="{F3042014-0659-489D-A4BC-9489862DD187}" srcId="{A8E492D3-7CF4-456D-B869-C0D5971A0741}" destId="{C6B84315-4834-474E-977D-1C3C2CA21356}" srcOrd="4" destOrd="0" parTransId="{EFFF8984-8FD9-46A7-BE7E-E6A253A7E07B}" sibTransId="{49861E20-B449-4546-999C-A68D49D9873A}"/>
    <dgm:cxn modelId="{D383F815-1378-4274-B186-25136270FEED}" type="presOf" srcId="{A7AC4925-FA4A-426A-A116-654028E5FDDA}" destId="{D522FB19-9E25-4802-A917-1A12268E106C}" srcOrd="0" destOrd="0" presId="urn:microsoft.com/office/officeart/2005/8/layout/process3"/>
    <dgm:cxn modelId="{54948916-4215-40FE-A84F-334759BF4383}" srcId="{CF3D1449-FF14-429B-841A-EEA188E66C81}" destId="{C7042824-7292-48B8-BD85-60C8DD68F917}" srcOrd="0" destOrd="0" parTransId="{640697F9-474C-48E1-A70E-E4875A74C825}" sibTransId="{A7AC4925-FA4A-426A-A116-654028E5FDDA}"/>
    <dgm:cxn modelId="{28BEB117-B966-4F76-8EE0-51F3D0E38CF8}" type="presOf" srcId="{C7042824-7292-48B8-BD85-60C8DD68F917}" destId="{264CABFF-A151-46D9-ACCA-2BFF989A2560}" srcOrd="0" destOrd="0" presId="urn:microsoft.com/office/officeart/2005/8/layout/process3"/>
    <dgm:cxn modelId="{4FE99F1A-982C-47FB-A29F-1B89CA623024}" type="presOf" srcId="{BCBB53A5-0708-4698-A00A-64E67E4069A8}" destId="{90031B9C-F934-4F9D-BE93-4F8648C665E1}" srcOrd="0" destOrd="2" presId="urn:microsoft.com/office/officeart/2005/8/layout/process3"/>
    <dgm:cxn modelId="{C18B051B-231A-4C7D-8108-A1FEE5DE0272}" type="presOf" srcId="{3D07286F-3CFC-45B0-A186-E823BC57E896}" destId="{8373D498-177A-46FC-A7B4-1D66BDB93C52}" srcOrd="0" destOrd="1" presId="urn:microsoft.com/office/officeart/2005/8/layout/process3"/>
    <dgm:cxn modelId="{7BCD891C-65C6-4BA1-8511-4A8D70D2BBEE}" srcId="{A8E492D3-7CF4-456D-B869-C0D5971A0741}" destId="{C7823B70-F894-45B2-AEF9-09E2C9B3E305}" srcOrd="5" destOrd="0" parTransId="{42AF13E7-1D12-438B-8C99-3CA767546A54}" sibTransId="{F2B2377F-4D91-4D5A-AAB5-7800EB7B7A28}"/>
    <dgm:cxn modelId="{95BDFA1D-A41E-4D19-819E-82B20CCC8D6D}" type="presOf" srcId="{BFD0D826-7590-41E8-B89F-60C8C4DE7318}" destId="{90031B9C-F934-4F9D-BE93-4F8648C665E1}" srcOrd="0" destOrd="3" presId="urn:microsoft.com/office/officeart/2005/8/layout/process3"/>
    <dgm:cxn modelId="{1AD16722-4734-40B8-9E7F-B66A1E243D04}" type="presOf" srcId="{1F5225DE-04A8-495D-A01F-68089033874F}" destId="{F90DBC04-013D-47FD-BB65-ED9CB07EEABA}" srcOrd="1" destOrd="0" presId="urn:microsoft.com/office/officeart/2005/8/layout/process3"/>
    <dgm:cxn modelId="{26E6B322-8313-4F6F-B098-CD532297199F}" srcId="{CF3D1449-FF14-429B-841A-EEA188E66C81}" destId="{A8E492D3-7CF4-456D-B869-C0D5971A0741}" srcOrd="1" destOrd="0" parTransId="{13C7C4F3-0DE9-46AC-B2E4-CB7F26881EA5}" sibTransId="{D7BB3B73-5826-47B8-AC6C-6CC3862D152E}"/>
    <dgm:cxn modelId="{C18B2425-290F-4E0D-BE15-97F6F3681811}" type="presOf" srcId="{F74A5868-80C5-47A4-9BB4-D9A67556E669}" destId="{90031B9C-F934-4F9D-BE93-4F8648C665E1}" srcOrd="0" destOrd="1" presId="urn:microsoft.com/office/officeart/2005/8/layout/process3"/>
    <dgm:cxn modelId="{05A1A528-7352-40C4-9A60-E340F470EB30}" srcId="{1F5225DE-04A8-495D-A01F-68089033874F}" destId="{FB448843-9C6D-4F67-A2EF-46E90FBCD43C}" srcOrd="0" destOrd="0" parTransId="{7C40E1CE-2F26-484C-8C77-2E8B59988033}" sibTransId="{B6F9F724-9915-45D5-91BA-45B0CC6B8E8A}"/>
    <dgm:cxn modelId="{E43ED133-1152-409D-80A3-894B77EE25EA}" srcId="{A8E492D3-7CF4-456D-B869-C0D5971A0741}" destId="{4A22ABB7-3E70-48C5-819F-53034B4ADFB0}" srcOrd="1" destOrd="0" parTransId="{36D26A2F-462D-443B-B6F6-8D63A640A098}" sibTransId="{5B3F8CF0-D277-4A8F-9E05-9FEDC0F5C7E1}"/>
    <dgm:cxn modelId="{6FD26134-0144-4B8A-BDD3-5BD085BEA7F4}" srcId="{C7042824-7292-48B8-BD85-60C8DD68F917}" destId="{18844EE6-D3E3-4E17-B1F3-CDC1D86A0D3F}" srcOrd="4" destOrd="0" parTransId="{148E5974-75D5-4DBA-BDC7-80177195A9E3}" sibTransId="{114AD809-42AF-4506-9DEF-8EA506B926A4}"/>
    <dgm:cxn modelId="{3B04D834-4AD4-472D-AC3B-76C93184A419}" type="presOf" srcId="{854B2071-2792-4852-94F9-8947B15A930A}" destId="{A2A1AA12-CFE4-425E-ACD5-033F2B68FF06}" srcOrd="0" destOrd="6" presId="urn:microsoft.com/office/officeart/2005/8/layout/process3"/>
    <dgm:cxn modelId="{87307336-8C7B-40CC-BB5D-2180319E90B2}" type="presOf" srcId="{8FF80179-FDD0-4A39-BA1A-58F206B0D7EE}" destId="{97DFDD1D-E232-4DB6-BF5E-725C328C2B20}" srcOrd="0" destOrd="1" presId="urn:microsoft.com/office/officeart/2005/8/layout/process3"/>
    <dgm:cxn modelId="{E9647538-D715-4DBF-A456-126B8CA73FD8}" type="presOf" srcId="{E5BB9FD6-D482-4C27-ACEF-E55B998998D8}" destId="{8373D498-177A-46FC-A7B4-1D66BDB93C52}" srcOrd="0" destOrd="0" presId="urn:microsoft.com/office/officeart/2005/8/layout/process3"/>
    <dgm:cxn modelId="{80AC445C-304F-4A83-8673-4BEE11F7B186}" type="presOf" srcId="{A8E492D3-7CF4-456D-B869-C0D5971A0741}" destId="{6C2A8B5F-7D35-4456-9EA4-05675DE66285}" srcOrd="1" destOrd="0" presId="urn:microsoft.com/office/officeart/2005/8/layout/process3"/>
    <dgm:cxn modelId="{60C2735D-57FC-4548-8B44-BB25FF4BCB33}" type="presOf" srcId="{AACDDDD8-6F62-444D-A769-F7D8610761F9}" destId="{A2A1AA12-CFE4-425E-ACD5-033F2B68FF06}" srcOrd="0" destOrd="2" presId="urn:microsoft.com/office/officeart/2005/8/layout/process3"/>
    <dgm:cxn modelId="{6173E641-C81E-42C5-BB85-0050830CE4AC}" type="presOf" srcId="{C7042824-7292-48B8-BD85-60C8DD68F917}" destId="{446E8150-E65D-40FF-B06D-80AF728351AB}" srcOrd="1" destOrd="0" presId="urn:microsoft.com/office/officeart/2005/8/layout/process3"/>
    <dgm:cxn modelId="{1C912D66-29A7-45AD-8E51-D6756A60B5B4}" srcId="{C7042824-7292-48B8-BD85-60C8DD68F917}" destId="{39C01BC1-B91F-4E3B-84DD-39699AA3D1C3}" srcOrd="6" destOrd="0" parTransId="{B817C3CA-6AE8-45A6-8975-379A93DBEAE2}" sibTransId="{3BC98AFD-CA9C-48D5-A8EE-AF4AEAA7F774}"/>
    <dgm:cxn modelId="{371A5948-39C0-46D3-822E-ADB03B39B832}" srcId="{A8E492D3-7CF4-456D-B869-C0D5971A0741}" destId="{854B2071-2792-4852-94F9-8947B15A930A}" srcOrd="6" destOrd="0" parTransId="{4F62AC48-2969-46FB-BCB4-9F325E3C2D87}" sibTransId="{0513FBC7-086F-46B3-A3BE-9B207B20C095}"/>
    <dgm:cxn modelId="{4134016A-6A63-425B-8666-01ADE03AB5C6}" type="presOf" srcId="{18844EE6-D3E3-4E17-B1F3-CDC1D86A0D3F}" destId="{8373D498-177A-46FC-A7B4-1D66BDB93C52}" srcOrd="0" destOrd="4" presId="urn:microsoft.com/office/officeart/2005/8/layout/process3"/>
    <dgm:cxn modelId="{EE10BF4A-8520-4CC2-9A20-1D8FC5FA9D01}" type="presOf" srcId="{4A22ABB7-3E70-48C5-819F-53034B4ADFB0}" destId="{A2A1AA12-CFE4-425E-ACD5-033F2B68FF06}" srcOrd="0" destOrd="1" presId="urn:microsoft.com/office/officeart/2005/8/layout/process3"/>
    <dgm:cxn modelId="{9339FC70-DE22-4A6E-B916-9F973C491214}" type="presOf" srcId="{FB185120-EC54-4F88-81EF-CE8BE1FF9397}" destId="{A2A1AA12-CFE4-425E-ACD5-033F2B68FF06}" srcOrd="0" destOrd="3" presId="urn:microsoft.com/office/officeart/2005/8/layout/process3"/>
    <dgm:cxn modelId="{0750B272-25E9-47C9-B5F8-A53E02C4F9B2}" srcId="{A8E492D3-7CF4-456D-B869-C0D5971A0741}" destId="{AF7085C8-5A0D-4469-BF48-B5A0EB231B9E}" srcOrd="0" destOrd="0" parTransId="{F3916900-E7BC-495A-A1A2-8507F83E195D}" sibTransId="{5430917B-6231-4F79-9DF7-0FF2CB2D6D7A}"/>
    <dgm:cxn modelId="{35D4DF52-C7CF-4538-B0DE-9614A03642B2}" type="presOf" srcId="{C7823B70-F894-45B2-AEF9-09E2C9B3E305}" destId="{A2A1AA12-CFE4-425E-ACD5-033F2B68FF06}" srcOrd="0" destOrd="5" presId="urn:microsoft.com/office/officeart/2005/8/layout/process3"/>
    <dgm:cxn modelId="{FC3A5E57-208A-47F5-9B97-8B73792EB92A}" type="presOf" srcId="{FB448843-9C6D-4F67-A2EF-46E90FBCD43C}" destId="{90031B9C-F934-4F9D-BE93-4F8648C665E1}" srcOrd="0" destOrd="0" presId="urn:microsoft.com/office/officeart/2005/8/layout/process3"/>
    <dgm:cxn modelId="{FB6F4F58-87D5-41B3-A66F-49334A2BE339}" type="presOf" srcId="{F899C48B-B993-419E-9704-7D8C8468815C}" destId="{A2A1AA12-CFE4-425E-ACD5-033F2B68FF06}" srcOrd="0" destOrd="7" presId="urn:microsoft.com/office/officeart/2005/8/layout/process3"/>
    <dgm:cxn modelId="{68257A78-E3A1-4A24-BCF5-549180DA798F}" type="presOf" srcId="{39C01BC1-B91F-4E3B-84DD-39699AA3D1C3}" destId="{8373D498-177A-46FC-A7B4-1D66BDB93C52}" srcOrd="0" destOrd="6" presId="urn:microsoft.com/office/officeart/2005/8/layout/process3"/>
    <dgm:cxn modelId="{43AE8278-EE58-4692-9D53-B1822B00EA2E}" srcId="{1543071D-AFE6-4F32-A467-35E6995AE1AA}" destId="{8FF80179-FDD0-4A39-BA1A-58F206B0D7EE}" srcOrd="1" destOrd="0" parTransId="{BA8BEFE9-CE15-4346-BD0E-3B9C2875D0E3}" sibTransId="{F1370400-B992-4153-9491-D8E9ABEC162A}"/>
    <dgm:cxn modelId="{BBE65379-316F-44CB-A48B-F43DD88E2C21}" type="presOf" srcId="{A7AC4925-FA4A-426A-A116-654028E5FDDA}" destId="{B42BB6A2-3948-4896-8AB5-40E4A8F4D574}" srcOrd="1" destOrd="0" presId="urn:microsoft.com/office/officeart/2005/8/layout/process3"/>
    <dgm:cxn modelId="{86CC8B7E-74EE-4C67-90EB-31AADE2DCEE0}" srcId="{C7042824-7292-48B8-BD85-60C8DD68F917}" destId="{CE754303-99F3-4CA2-B585-10F9E08687AF}" srcOrd="2" destOrd="0" parTransId="{CE0B8E7F-1572-4225-946B-F03FC596272B}" sibTransId="{1DE6C1E7-AAC2-4EDF-B21A-1C34224D6F39}"/>
    <dgm:cxn modelId="{96835282-82ED-4271-89F1-B45C8963E96A}" srcId="{1F5225DE-04A8-495D-A01F-68089033874F}" destId="{F74A5868-80C5-47A4-9BB4-D9A67556E669}" srcOrd="1" destOrd="0" parTransId="{E0AF256F-BADE-4D70-9E0F-7B9000A26449}" sibTransId="{6E0EDAE7-A2FD-4493-95DE-CAAF7E858F5F}"/>
    <dgm:cxn modelId="{DF45D782-CEEB-4648-9EC7-36A9A1EE7951}" type="presOf" srcId="{DEF001B8-6962-4D9F-B4E1-8009DC03BAAB}" destId="{0A57AB23-B896-44F7-801A-467F97AFC0AF}" srcOrd="1" destOrd="0" presId="urn:microsoft.com/office/officeart/2005/8/layout/process3"/>
    <dgm:cxn modelId="{5F5E7083-756D-45BA-B05E-75EF13F2CD6B}" type="presOf" srcId="{AF7085C8-5A0D-4469-BF48-B5A0EB231B9E}" destId="{A2A1AA12-CFE4-425E-ACD5-033F2B68FF06}" srcOrd="0" destOrd="0" presId="urn:microsoft.com/office/officeart/2005/8/layout/process3"/>
    <dgm:cxn modelId="{8FE46884-538C-470B-BD3B-DEC5B9217A8A}" srcId="{C7042824-7292-48B8-BD85-60C8DD68F917}" destId="{3EF98746-FF1A-48A5-92A0-2CB952152755}" srcOrd="3" destOrd="0" parTransId="{9C8532D5-D1EE-49C1-B923-2194AAE3BC9F}" sibTransId="{44ED8070-DA8F-4BE3-A784-2BEB4372A225}"/>
    <dgm:cxn modelId="{82972287-FC0F-4ABB-9D54-3C838054018A}" type="presOf" srcId="{CE754303-99F3-4CA2-B585-10F9E08687AF}" destId="{8373D498-177A-46FC-A7B4-1D66BDB93C52}" srcOrd="0" destOrd="2" presId="urn:microsoft.com/office/officeart/2005/8/layout/process3"/>
    <dgm:cxn modelId="{FBA74B92-7A31-4426-B814-169404E2F9A6}" srcId="{CF3D1449-FF14-429B-841A-EEA188E66C81}" destId="{1543071D-AFE6-4F32-A467-35E6995AE1AA}" srcOrd="3" destOrd="0" parTransId="{CA604374-AC12-4A5A-9FEB-06B450BC00AE}" sibTransId="{7B55B954-FA38-474E-A3B7-5EC9D54243B1}"/>
    <dgm:cxn modelId="{3289DE9E-0F55-4D29-A251-1B5A20141EF3}" srcId="{1F5225DE-04A8-495D-A01F-68089033874F}" destId="{BCBB53A5-0708-4698-A00A-64E67E4069A8}" srcOrd="2" destOrd="0" parTransId="{B046541B-9D57-46FD-A654-64C0BEA8CE2F}" sibTransId="{927D5C72-DDBF-4041-A505-82027A354E05}"/>
    <dgm:cxn modelId="{ECD85A9F-FCB9-41BC-B9DD-8D76DB2EC07E}" type="presOf" srcId="{D7BB3B73-5826-47B8-AC6C-6CC3862D152E}" destId="{9A228B3C-D402-48E2-BACC-A8903B5ADC63}" srcOrd="0" destOrd="0" presId="urn:microsoft.com/office/officeart/2005/8/layout/process3"/>
    <dgm:cxn modelId="{275A99A9-6671-460C-A428-3259057256B3}" srcId="{1543071D-AFE6-4F32-A467-35E6995AE1AA}" destId="{B0B95278-CF18-41C0-8E3D-975630BE4640}" srcOrd="2" destOrd="0" parTransId="{0A9F2312-4DCF-42B4-AD87-E1370CB5BEA5}" sibTransId="{7A8BDB96-E92F-41F3-BC84-11A7FE7B901C}"/>
    <dgm:cxn modelId="{30D5FFAC-A977-4EE1-B486-DEE6F4485B48}" type="presOf" srcId="{3EF98746-FF1A-48A5-92A0-2CB952152755}" destId="{8373D498-177A-46FC-A7B4-1D66BDB93C52}" srcOrd="0" destOrd="3" presId="urn:microsoft.com/office/officeart/2005/8/layout/process3"/>
    <dgm:cxn modelId="{7C175BAE-0F83-4856-95C0-50D3F301ADB0}" type="presOf" srcId="{282497D6-F870-4F6F-B08E-55C8988C3335}" destId="{8373D498-177A-46FC-A7B4-1D66BDB93C52}" srcOrd="0" destOrd="8" presId="urn:microsoft.com/office/officeart/2005/8/layout/process3"/>
    <dgm:cxn modelId="{302D15B5-F45E-45C8-9A1B-4D7E7F14C3E1}" type="presOf" srcId="{A8E492D3-7CF4-456D-B869-C0D5971A0741}" destId="{E2448BEE-AD07-45AF-BA91-0B7A457D7BBE}" srcOrd="0" destOrd="0" presId="urn:microsoft.com/office/officeart/2005/8/layout/process3"/>
    <dgm:cxn modelId="{36EE86B5-8B8C-4C55-931C-6B355A494E55}" type="presOf" srcId="{1543071D-AFE6-4F32-A467-35E6995AE1AA}" destId="{30EC3556-F4EA-4382-8D76-8E3692C10C85}" srcOrd="0" destOrd="0" presId="urn:microsoft.com/office/officeart/2005/8/layout/process3"/>
    <dgm:cxn modelId="{C938BFBA-190B-4AE3-BDB7-337D8CA8972E}" type="presOf" srcId="{CF3D1449-FF14-429B-841A-EEA188E66C81}" destId="{18D316CD-F4C3-4999-BE85-68DE87A3E4A7}" srcOrd="0" destOrd="0" presId="urn:microsoft.com/office/officeart/2005/8/layout/process3"/>
    <dgm:cxn modelId="{CEC5FDC2-8C43-45EE-AFAC-CDA6F64BC58B}" srcId="{A8E492D3-7CF4-456D-B869-C0D5971A0741}" destId="{AACDDDD8-6F62-444D-A769-F7D8610761F9}" srcOrd="2" destOrd="0" parTransId="{89AD2992-FD54-460E-B867-2489E59B2475}" sibTransId="{FE316FE7-9E77-4321-8DD7-9410CAB56652}"/>
    <dgm:cxn modelId="{327A9BC3-4A60-4202-9E2B-F8747E4DC293}" srcId="{C7042824-7292-48B8-BD85-60C8DD68F917}" destId="{0702162C-5D82-492B-A8DE-036012BAC7E9}" srcOrd="5" destOrd="0" parTransId="{AAE3AF75-0473-4355-9BFD-15C3F85EDC4A}" sibTransId="{8A0A51EB-F698-4564-BDAC-96E9066894FD}"/>
    <dgm:cxn modelId="{9A52A8C5-BC79-4D67-98D9-CAD7F865C93E}" type="presOf" srcId="{D7BB3B73-5826-47B8-AC6C-6CC3862D152E}" destId="{98331710-2B99-4034-B543-E1D714672ACD}" srcOrd="1" destOrd="0" presId="urn:microsoft.com/office/officeart/2005/8/layout/process3"/>
    <dgm:cxn modelId="{D0C036C8-918A-4EFC-AC60-5D5C936FC8B8}" srcId="{C7042824-7292-48B8-BD85-60C8DD68F917}" destId="{52194255-2CDB-4EB0-B9CC-C554CDFAB917}" srcOrd="7" destOrd="0" parTransId="{10C53BAE-5AE4-43B8-8C2C-56AE7824F5AF}" sibTransId="{4AA7F723-866E-4C7B-A060-290E3D47F966}"/>
    <dgm:cxn modelId="{69235CCD-C63C-4C9D-A1AC-6FAE602A12BE}" srcId="{C7042824-7292-48B8-BD85-60C8DD68F917}" destId="{E5BB9FD6-D482-4C27-ACEF-E55B998998D8}" srcOrd="0" destOrd="0" parTransId="{E8DBA01B-E7F0-4535-983E-F4D22BC0BC2D}" sibTransId="{58075373-036F-4A17-B578-968446384E46}"/>
    <dgm:cxn modelId="{66852BDF-3F14-494A-A1EE-31092DEDC36D}" type="presOf" srcId="{52194255-2CDB-4EB0-B9CC-C554CDFAB917}" destId="{8373D498-177A-46FC-A7B4-1D66BDB93C52}" srcOrd="0" destOrd="7" presId="urn:microsoft.com/office/officeart/2005/8/layout/process3"/>
    <dgm:cxn modelId="{C34667E1-9AB3-4AB0-96D1-7EFE581C7D2F}" srcId="{A8E492D3-7CF4-456D-B869-C0D5971A0741}" destId="{F899C48B-B993-419E-9704-7D8C8468815C}" srcOrd="7" destOrd="0" parTransId="{85A2E189-9EA2-4D32-9EF5-9C5632D36B38}" sibTransId="{C2E9367F-4355-4681-81BA-49A7094A25C3}"/>
    <dgm:cxn modelId="{5E2C69E9-B702-43D3-B743-03880BC2F301}" srcId="{C7042824-7292-48B8-BD85-60C8DD68F917}" destId="{282497D6-F870-4F6F-B08E-55C8988C3335}" srcOrd="8" destOrd="0" parTransId="{0435B8C1-D252-434A-ACB5-3FC61D5391D7}" sibTransId="{C32C2CA5-CE8E-415B-92E9-7C8991BFB237}"/>
    <dgm:cxn modelId="{0229BFEA-4E2B-4CEE-961F-EC14AAB87D3E}" srcId="{C7042824-7292-48B8-BD85-60C8DD68F917}" destId="{3D07286F-3CFC-45B0-A186-E823BC57E896}" srcOrd="1" destOrd="0" parTransId="{91FF5113-6FFA-418F-95A2-3DEB96B08D6C}" sibTransId="{72440F51-E0DA-48C6-88EF-4C798E33E1C5}"/>
    <dgm:cxn modelId="{F78AE8EF-BE25-469F-9461-2FAD5A7ECB2A}" type="presOf" srcId="{C6B84315-4834-474E-977D-1C3C2CA21356}" destId="{A2A1AA12-CFE4-425E-ACD5-033F2B68FF06}" srcOrd="0" destOrd="4" presId="urn:microsoft.com/office/officeart/2005/8/layout/process3"/>
    <dgm:cxn modelId="{98D992F2-3B65-46E4-B234-9886FE71BD2A}" type="presOf" srcId="{B0B95278-CF18-41C0-8E3D-975630BE4640}" destId="{97DFDD1D-E232-4DB6-BF5E-725C328C2B20}" srcOrd="0" destOrd="2" presId="urn:microsoft.com/office/officeart/2005/8/layout/process3"/>
    <dgm:cxn modelId="{E83C7AF5-D015-4B2F-9E31-F8AD80F9BC9F}" srcId="{1F5225DE-04A8-495D-A01F-68089033874F}" destId="{BFD0D826-7590-41E8-B89F-60C8C4DE7318}" srcOrd="3" destOrd="0" parTransId="{24CB5F9E-1303-4F55-BF7E-25E000C7F583}" sibTransId="{7B1A9B63-A0D7-450B-A55F-09A2FE96ED9C}"/>
    <dgm:cxn modelId="{9F1620F7-993A-4395-B457-9CEB8ABE50F9}" type="presOf" srcId="{DEF001B8-6962-4D9F-B4E1-8009DC03BAAB}" destId="{E49C06C9-6BAE-45B8-91C4-E6132FF6C498}" srcOrd="0" destOrd="0" presId="urn:microsoft.com/office/officeart/2005/8/layout/process3"/>
    <dgm:cxn modelId="{5BD94AF9-7DB2-4017-8298-79DF14DBD306}" type="presOf" srcId="{D8D1FE1F-9402-4DE1-BC51-3D9D0DDFF3FA}" destId="{97DFDD1D-E232-4DB6-BF5E-725C328C2B20}" srcOrd="0" destOrd="0" presId="urn:microsoft.com/office/officeart/2005/8/layout/process3"/>
    <dgm:cxn modelId="{1D86ACFB-F5F5-4DB6-B72F-92FC771447B8}" srcId="{CF3D1449-FF14-429B-841A-EEA188E66C81}" destId="{1F5225DE-04A8-495D-A01F-68089033874F}" srcOrd="2" destOrd="0" parTransId="{CA7FD4A7-FD9F-40D8-AD4F-A27135390540}" sibTransId="{DEF001B8-6962-4D9F-B4E1-8009DC03BAAB}"/>
    <dgm:cxn modelId="{38A8CEFB-89F0-4AFA-993D-CF68B673E564}" type="presOf" srcId="{0702162C-5D82-492B-A8DE-036012BAC7E9}" destId="{8373D498-177A-46FC-A7B4-1D66BDB93C52}" srcOrd="0" destOrd="5" presId="urn:microsoft.com/office/officeart/2005/8/layout/process3"/>
    <dgm:cxn modelId="{537D1E2A-4BB8-4C16-9C13-90F11BEC2732}" type="presParOf" srcId="{18D316CD-F4C3-4999-BE85-68DE87A3E4A7}" destId="{A1C68572-5160-4559-87AD-76563426A58C}" srcOrd="0" destOrd="0" presId="urn:microsoft.com/office/officeart/2005/8/layout/process3"/>
    <dgm:cxn modelId="{4239F0F6-E5A1-4AC5-B3C0-B328AADA008C}" type="presParOf" srcId="{A1C68572-5160-4559-87AD-76563426A58C}" destId="{264CABFF-A151-46D9-ACCA-2BFF989A2560}" srcOrd="0" destOrd="0" presId="urn:microsoft.com/office/officeart/2005/8/layout/process3"/>
    <dgm:cxn modelId="{8B817659-A4C2-4DDA-A48B-A3454DCEAFA3}" type="presParOf" srcId="{A1C68572-5160-4559-87AD-76563426A58C}" destId="{446E8150-E65D-40FF-B06D-80AF728351AB}" srcOrd="1" destOrd="0" presId="urn:microsoft.com/office/officeart/2005/8/layout/process3"/>
    <dgm:cxn modelId="{4AEDBF76-3939-46A9-9D9B-DD4B70394707}" type="presParOf" srcId="{A1C68572-5160-4559-87AD-76563426A58C}" destId="{8373D498-177A-46FC-A7B4-1D66BDB93C52}" srcOrd="2" destOrd="0" presId="urn:microsoft.com/office/officeart/2005/8/layout/process3"/>
    <dgm:cxn modelId="{93625E26-D64A-440B-9616-6CEF69F34AFC}" type="presParOf" srcId="{18D316CD-F4C3-4999-BE85-68DE87A3E4A7}" destId="{D522FB19-9E25-4802-A917-1A12268E106C}" srcOrd="1" destOrd="0" presId="urn:microsoft.com/office/officeart/2005/8/layout/process3"/>
    <dgm:cxn modelId="{3B09B0C4-69FA-48DE-9F50-B50288B04400}" type="presParOf" srcId="{D522FB19-9E25-4802-A917-1A12268E106C}" destId="{B42BB6A2-3948-4896-8AB5-40E4A8F4D574}" srcOrd="0" destOrd="0" presId="urn:microsoft.com/office/officeart/2005/8/layout/process3"/>
    <dgm:cxn modelId="{32F7EFD2-6035-4009-96B7-A335C227086E}" type="presParOf" srcId="{18D316CD-F4C3-4999-BE85-68DE87A3E4A7}" destId="{C6DAD995-705B-4BF9-9B69-3D56024B3336}" srcOrd="2" destOrd="0" presId="urn:microsoft.com/office/officeart/2005/8/layout/process3"/>
    <dgm:cxn modelId="{2BCF979F-2324-4E89-85E6-7C66876C40BB}" type="presParOf" srcId="{C6DAD995-705B-4BF9-9B69-3D56024B3336}" destId="{E2448BEE-AD07-45AF-BA91-0B7A457D7BBE}" srcOrd="0" destOrd="0" presId="urn:microsoft.com/office/officeart/2005/8/layout/process3"/>
    <dgm:cxn modelId="{1B657FA8-FCD3-4799-A6C1-F21461754B21}" type="presParOf" srcId="{C6DAD995-705B-4BF9-9B69-3D56024B3336}" destId="{6C2A8B5F-7D35-4456-9EA4-05675DE66285}" srcOrd="1" destOrd="0" presId="urn:microsoft.com/office/officeart/2005/8/layout/process3"/>
    <dgm:cxn modelId="{E0DE51F6-ED8A-4774-BCD6-610071B90B11}" type="presParOf" srcId="{C6DAD995-705B-4BF9-9B69-3D56024B3336}" destId="{A2A1AA12-CFE4-425E-ACD5-033F2B68FF06}" srcOrd="2" destOrd="0" presId="urn:microsoft.com/office/officeart/2005/8/layout/process3"/>
    <dgm:cxn modelId="{80660296-31D4-4C5D-9F06-7407AA414A59}" type="presParOf" srcId="{18D316CD-F4C3-4999-BE85-68DE87A3E4A7}" destId="{9A228B3C-D402-48E2-BACC-A8903B5ADC63}" srcOrd="3" destOrd="0" presId="urn:microsoft.com/office/officeart/2005/8/layout/process3"/>
    <dgm:cxn modelId="{A76C71AB-730B-4DDC-B1C0-39C7C73417FC}" type="presParOf" srcId="{9A228B3C-D402-48E2-BACC-A8903B5ADC63}" destId="{98331710-2B99-4034-B543-E1D714672ACD}" srcOrd="0" destOrd="0" presId="urn:microsoft.com/office/officeart/2005/8/layout/process3"/>
    <dgm:cxn modelId="{9FBC0548-4F12-4993-8082-E5A544A45448}" type="presParOf" srcId="{18D316CD-F4C3-4999-BE85-68DE87A3E4A7}" destId="{5AB99334-5548-4580-8EBA-E98509893C52}" srcOrd="4" destOrd="0" presId="urn:microsoft.com/office/officeart/2005/8/layout/process3"/>
    <dgm:cxn modelId="{D7E6C8FB-FBBA-4F60-85A7-7FDDC1B95157}" type="presParOf" srcId="{5AB99334-5548-4580-8EBA-E98509893C52}" destId="{9A8D3396-FD7D-4954-8029-930CA4767C5F}" srcOrd="0" destOrd="0" presId="urn:microsoft.com/office/officeart/2005/8/layout/process3"/>
    <dgm:cxn modelId="{AD41F0AF-7A57-4204-B494-DBA8A7BC1515}" type="presParOf" srcId="{5AB99334-5548-4580-8EBA-E98509893C52}" destId="{F90DBC04-013D-47FD-BB65-ED9CB07EEABA}" srcOrd="1" destOrd="0" presId="urn:microsoft.com/office/officeart/2005/8/layout/process3"/>
    <dgm:cxn modelId="{0848BA33-D207-44A2-9BBE-1837736D2FB8}" type="presParOf" srcId="{5AB99334-5548-4580-8EBA-E98509893C52}" destId="{90031B9C-F934-4F9D-BE93-4F8648C665E1}" srcOrd="2" destOrd="0" presId="urn:microsoft.com/office/officeart/2005/8/layout/process3"/>
    <dgm:cxn modelId="{3CD2322A-7017-49B4-AE36-5887A666B37F}" type="presParOf" srcId="{18D316CD-F4C3-4999-BE85-68DE87A3E4A7}" destId="{E49C06C9-6BAE-45B8-91C4-E6132FF6C498}" srcOrd="5" destOrd="0" presId="urn:microsoft.com/office/officeart/2005/8/layout/process3"/>
    <dgm:cxn modelId="{A15714C6-6D19-46EB-BDEC-F1787FC3A0BC}" type="presParOf" srcId="{E49C06C9-6BAE-45B8-91C4-E6132FF6C498}" destId="{0A57AB23-B896-44F7-801A-467F97AFC0AF}" srcOrd="0" destOrd="0" presId="urn:microsoft.com/office/officeart/2005/8/layout/process3"/>
    <dgm:cxn modelId="{69F98735-0B55-4248-B5D4-A31C6DDA36B9}" type="presParOf" srcId="{18D316CD-F4C3-4999-BE85-68DE87A3E4A7}" destId="{80CF00B3-48E6-4397-BC8B-75FECF184520}" srcOrd="6" destOrd="0" presId="urn:microsoft.com/office/officeart/2005/8/layout/process3"/>
    <dgm:cxn modelId="{E2E9C293-AA1B-4BCF-93E5-DA369419F520}" type="presParOf" srcId="{80CF00B3-48E6-4397-BC8B-75FECF184520}" destId="{30EC3556-F4EA-4382-8D76-8E3692C10C85}" srcOrd="0" destOrd="0" presId="urn:microsoft.com/office/officeart/2005/8/layout/process3"/>
    <dgm:cxn modelId="{1694C804-CEEC-4AE3-B932-4E5BF3E0B168}" type="presParOf" srcId="{80CF00B3-48E6-4397-BC8B-75FECF184520}" destId="{2AA49AE8-1DD7-4B0E-9D25-DC617726A6D6}" srcOrd="1" destOrd="0" presId="urn:microsoft.com/office/officeart/2005/8/layout/process3"/>
    <dgm:cxn modelId="{BBA50704-FC85-46F5-94FA-E22CE5268D07}" type="presParOf" srcId="{80CF00B3-48E6-4397-BC8B-75FECF184520}" destId="{97DFDD1D-E232-4DB6-BF5E-725C328C2B20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6E8150-E65D-40FF-B06D-80AF728351AB}">
      <dsp:nvSpPr>
        <dsp:cNvPr id="0" name=""/>
        <dsp:cNvSpPr/>
      </dsp:nvSpPr>
      <dsp:spPr>
        <a:xfrm>
          <a:off x="1496" y="10712"/>
          <a:ext cx="1880845" cy="7775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noProof="0">
              <a:latin typeface="Aptos" panose="020B0004020202020204" pitchFamily="34" charset="0"/>
            </a:rPr>
            <a:t>Q1 2024</a:t>
          </a:r>
        </a:p>
      </dsp:txBody>
      <dsp:txXfrm>
        <a:off x="1496" y="10712"/>
        <a:ext cx="1880845" cy="518400"/>
      </dsp:txXfrm>
    </dsp:sp>
    <dsp:sp modelId="{8373D498-177A-46FC-A7B4-1D66BDB93C52}">
      <dsp:nvSpPr>
        <dsp:cNvPr id="0" name=""/>
        <dsp:cNvSpPr/>
      </dsp:nvSpPr>
      <dsp:spPr>
        <a:xfrm>
          <a:off x="386730" y="529112"/>
          <a:ext cx="1880845" cy="3888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Employees now carrying Epiroc bran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Employer branding update (including contract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New OBK guidelines for the Fordia brand and brand &amp; comm packag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Review internal communication channel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Trade show strategy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Templat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Web OBK landing pag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Identify required liquidation (stickers, boxes, etc.)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Revisit product naming (rods, etc.)</a:t>
          </a:r>
        </a:p>
      </dsp:txBody>
      <dsp:txXfrm>
        <a:off x="441818" y="584200"/>
        <a:ext cx="1770669" cy="3777824"/>
      </dsp:txXfrm>
    </dsp:sp>
    <dsp:sp modelId="{D522FB19-9E25-4802-A917-1A12268E106C}">
      <dsp:nvSpPr>
        <dsp:cNvPr id="0" name=""/>
        <dsp:cNvSpPr/>
      </dsp:nvSpPr>
      <dsp:spPr>
        <a:xfrm>
          <a:off x="2167471" y="35774"/>
          <a:ext cx="604474" cy="4682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400" kern="1200" noProof="0"/>
        </a:p>
      </dsp:txBody>
      <dsp:txXfrm>
        <a:off x="2167471" y="129429"/>
        <a:ext cx="463991" cy="280966"/>
      </dsp:txXfrm>
    </dsp:sp>
    <dsp:sp modelId="{6C2A8B5F-7D35-4456-9EA4-05675DE66285}">
      <dsp:nvSpPr>
        <dsp:cNvPr id="0" name=""/>
        <dsp:cNvSpPr/>
      </dsp:nvSpPr>
      <dsp:spPr>
        <a:xfrm>
          <a:off x="3022859" y="10712"/>
          <a:ext cx="1880845" cy="7775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noProof="0">
              <a:latin typeface="Aptos" panose="020B0004020202020204" pitchFamily="34" charset="0"/>
            </a:rPr>
            <a:t>Q2 2024</a:t>
          </a:r>
        </a:p>
      </dsp:txBody>
      <dsp:txXfrm>
        <a:off x="3022859" y="10712"/>
        <a:ext cx="1880845" cy="518400"/>
      </dsp:txXfrm>
    </dsp:sp>
    <dsp:sp modelId="{A2A1AA12-CFE4-425E-ACD5-033F2B68FF06}">
      <dsp:nvSpPr>
        <dsp:cNvPr id="0" name=""/>
        <dsp:cNvSpPr/>
      </dsp:nvSpPr>
      <dsp:spPr>
        <a:xfrm>
          <a:off x="3408093" y="529112"/>
          <a:ext cx="1880845" cy="3888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Employee uniform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Onboard clients and partners (including an Ambassadors’ workshop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Start digital transition with structure and initial content (web and social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Update brand assets, including product packaging outside of diamond tool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Truck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Update merch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Boxes and tap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200" kern="1200" noProof="0">
              <a:latin typeface="Aptos" panose="020B0004020202020204" pitchFamily="34" charset="0"/>
            </a:rPr>
            <a:t>Legal documentation, including contracts and SAP </a:t>
          </a:r>
        </a:p>
      </dsp:txBody>
      <dsp:txXfrm>
        <a:off x="3463181" y="584200"/>
        <a:ext cx="1770669" cy="3777824"/>
      </dsp:txXfrm>
    </dsp:sp>
    <dsp:sp modelId="{9A228B3C-D402-48E2-BACC-A8903B5ADC63}">
      <dsp:nvSpPr>
        <dsp:cNvPr id="0" name=""/>
        <dsp:cNvSpPr/>
      </dsp:nvSpPr>
      <dsp:spPr>
        <a:xfrm>
          <a:off x="5188834" y="35774"/>
          <a:ext cx="604474" cy="4682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400" kern="1200" noProof="0"/>
        </a:p>
      </dsp:txBody>
      <dsp:txXfrm>
        <a:off x="5188834" y="129429"/>
        <a:ext cx="463991" cy="280966"/>
      </dsp:txXfrm>
    </dsp:sp>
    <dsp:sp modelId="{F90DBC04-013D-47FD-BB65-ED9CB07EEABA}">
      <dsp:nvSpPr>
        <dsp:cNvPr id="0" name=""/>
        <dsp:cNvSpPr/>
      </dsp:nvSpPr>
      <dsp:spPr>
        <a:xfrm>
          <a:off x="6044223" y="10712"/>
          <a:ext cx="1880845" cy="7775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noProof="0">
              <a:latin typeface="Aptos" panose="020B0004020202020204" pitchFamily="34" charset="0"/>
            </a:rPr>
            <a:t>Q3 2024</a:t>
          </a:r>
        </a:p>
      </dsp:txBody>
      <dsp:txXfrm>
        <a:off x="6044223" y="10712"/>
        <a:ext cx="1880845" cy="518400"/>
      </dsp:txXfrm>
    </dsp:sp>
    <dsp:sp modelId="{90031B9C-F934-4F9D-BE93-4F8648C665E1}">
      <dsp:nvSpPr>
        <dsp:cNvPr id="0" name=""/>
        <dsp:cNvSpPr/>
      </dsp:nvSpPr>
      <dsp:spPr>
        <a:xfrm>
          <a:off x="6429456" y="529112"/>
          <a:ext cx="1880845" cy="3888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Buildings, combined with local celebration events in Canad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Continue digital transition by launching pages on Epiroc.com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Continue to update brand assets (including translation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Monitor brand perception and KPIs</a:t>
          </a:r>
        </a:p>
      </dsp:txBody>
      <dsp:txXfrm>
        <a:off x="6484544" y="584200"/>
        <a:ext cx="1770669" cy="3777824"/>
      </dsp:txXfrm>
    </dsp:sp>
    <dsp:sp modelId="{E49C06C9-6BAE-45B8-91C4-E6132FF6C498}">
      <dsp:nvSpPr>
        <dsp:cNvPr id="0" name=""/>
        <dsp:cNvSpPr/>
      </dsp:nvSpPr>
      <dsp:spPr>
        <a:xfrm>
          <a:off x="8210198" y="35774"/>
          <a:ext cx="604474" cy="4682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1400" kern="1200" noProof="0"/>
        </a:p>
      </dsp:txBody>
      <dsp:txXfrm>
        <a:off x="8210198" y="129429"/>
        <a:ext cx="463991" cy="280966"/>
      </dsp:txXfrm>
    </dsp:sp>
    <dsp:sp modelId="{2AA49AE8-1DD7-4B0E-9D25-DC617726A6D6}">
      <dsp:nvSpPr>
        <dsp:cNvPr id="0" name=""/>
        <dsp:cNvSpPr/>
      </dsp:nvSpPr>
      <dsp:spPr>
        <a:xfrm>
          <a:off x="9065586" y="10712"/>
          <a:ext cx="1880845" cy="7775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noProof="0">
              <a:latin typeface="Aptos" panose="020B0004020202020204" pitchFamily="34" charset="0"/>
            </a:rPr>
            <a:t>Q4 2024+</a:t>
          </a:r>
        </a:p>
      </dsp:txBody>
      <dsp:txXfrm>
        <a:off x="9065586" y="10712"/>
        <a:ext cx="1880845" cy="518400"/>
      </dsp:txXfrm>
    </dsp:sp>
    <dsp:sp modelId="{97DFDD1D-E232-4DB6-BF5E-725C328C2B20}">
      <dsp:nvSpPr>
        <dsp:cNvPr id="0" name=""/>
        <dsp:cNvSpPr/>
      </dsp:nvSpPr>
      <dsp:spPr>
        <a:xfrm>
          <a:off x="9450819" y="529112"/>
          <a:ext cx="1880845" cy="3888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Continued monitor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 dirty="0">
              <a:latin typeface="Aptos" panose="020B0004020202020204" pitchFamily="34" charset="0"/>
            </a:rPr>
            <a:t>Reconsider product packaging strategy, internal news update and social channe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CA" sz="1400" kern="1200" noProof="0">
              <a:latin typeface="Aptos" panose="020B0004020202020204" pitchFamily="34" charset="0"/>
            </a:rPr>
            <a:t>Hard cut-off for Fordia on anything else other than DT</a:t>
          </a:r>
        </a:p>
      </dsp:txBody>
      <dsp:txXfrm>
        <a:off x="9505907" y="584200"/>
        <a:ext cx="1770669" cy="37778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30" tIns="47116" rIns="94230" bIns="471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3" y="0"/>
            <a:ext cx="3077739" cy="471054"/>
          </a:xfrm>
          <a:prstGeom prst="rect">
            <a:avLst/>
          </a:prstGeom>
        </p:spPr>
        <p:txBody>
          <a:bodyPr vert="horz" lIns="94230" tIns="47116" rIns="94230" bIns="47116" rtlCol="0"/>
          <a:lstStyle>
            <a:lvl1pPr algn="r">
              <a:defRPr sz="1200"/>
            </a:lvl1pPr>
          </a:lstStyle>
          <a:p>
            <a:fld id="{F9FA7338-E546-4D14-A864-7D552CD28C6A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4037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30" tIns="47116" rIns="94230" bIns="4711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30" tIns="47116" rIns="94230" bIns="4711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3"/>
            <a:ext cx="3077739" cy="471053"/>
          </a:xfrm>
          <a:prstGeom prst="rect">
            <a:avLst/>
          </a:prstGeom>
        </p:spPr>
        <p:txBody>
          <a:bodyPr vert="horz" lIns="94230" tIns="47116" rIns="94230" bIns="471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3" y="8917423"/>
            <a:ext cx="3077739" cy="471053"/>
          </a:xfrm>
          <a:prstGeom prst="rect">
            <a:avLst/>
          </a:prstGeom>
        </p:spPr>
        <p:txBody>
          <a:bodyPr vert="horz" lIns="94230" tIns="47116" rIns="94230" bIns="47116" rtlCol="0" anchor="b"/>
          <a:lstStyle>
            <a:lvl1pPr algn="r">
              <a:defRPr sz="1200"/>
            </a:lvl1pPr>
          </a:lstStyle>
          <a:p>
            <a:fld id="{BB4F1B91-A1E4-41CB-9377-D6AEADD83F4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399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4F1E0-36F4-4EC9-B403-227A336897F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598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154113"/>
            <a:ext cx="55403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4F1E0-36F4-4EC9-B403-227A336897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4118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154113"/>
            <a:ext cx="55403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/>
              <a:t>To build the power of Epiroc, we</a:t>
            </a:r>
          </a:p>
          <a:p>
            <a:pPr marL="228600" indent="-228600">
              <a:buAutoNum type="arabicPeriod"/>
            </a:pPr>
            <a:r>
              <a:rPr lang="en-US" noProof="0"/>
              <a:t>Maintain as few unassociated brands as possible – avoid dilution of management attention and resources. </a:t>
            </a:r>
            <a:r>
              <a:rPr lang="en-US" i="1" noProof="0"/>
              <a:t>This means that there is a need for brand</a:t>
            </a:r>
            <a:r>
              <a:rPr lang="en-US" i="1" baseline="0" noProof="0"/>
              <a:t> transition within this area and merge brands with each other to keep the portfolio as slim as possible.</a:t>
            </a:r>
            <a:endParaRPr lang="en-US" i="1" noProof="0"/>
          </a:p>
          <a:p>
            <a:pPr marL="228600" indent="-228600">
              <a:buAutoNum type="arabicPeriod"/>
            </a:pPr>
            <a:r>
              <a:rPr lang="en-US" noProof="0"/>
              <a:t>Keep brands in transit for as short time as possible – again to avoid dilution of management attention and resources. </a:t>
            </a:r>
            <a:r>
              <a:rPr lang="en-US" b="0" i="1" noProof="0"/>
              <a:t>A transition</a:t>
            </a:r>
            <a:r>
              <a:rPr lang="en-US" b="0" i="1" baseline="0" noProof="0"/>
              <a:t> plan should be in place at the time of the acquisition.</a:t>
            </a:r>
            <a:endParaRPr lang="en-US" b="0" i="1" noProof="0"/>
          </a:p>
          <a:p>
            <a:pPr marL="0" indent="0">
              <a:buNone/>
            </a:pPr>
            <a:endParaRPr lang="en-US" noProof="0"/>
          </a:p>
          <a:p>
            <a:pPr marL="0" indent="0">
              <a:buNone/>
            </a:pPr>
            <a:r>
              <a:rPr lang="en-US" noProof="0"/>
              <a:t>Everything we do, is to </a:t>
            </a:r>
            <a:r>
              <a:rPr lang="en-US" b="1" noProof="0"/>
              <a:t>make Epiroc strong, attractive and the shining star in our industry</a:t>
            </a:r>
          </a:p>
          <a:p>
            <a:pPr marL="0" indent="0">
              <a:buNone/>
            </a:pPr>
            <a:endParaRPr lang="en-US" b="1" noProof="0"/>
          </a:p>
          <a:p>
            <a:pPr marL="0" indent="0">
              <a:buNone/>
            </a:pPr>
            <a:r>
              <a:rPr lang="en-US" b="0" noProof="0"/>
              <a:t>Thank you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4F1E0-36F4-4EC9-B403-227A336897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009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154113"/>
            <a:ext cx="55403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/>
              <a:t>Here’s an example on how our brand strategy works in practice:</a:t>
            </a:r>
          </a:p>
          <a:p>
            <a:pPr marL="228600" indent="-228600">
              <a:buAutoNum type="arabicPeriod"/>
            </a:pPr>
            <a:r>
              <a:rPr lang="en-US" noProof="0"/>
              <a:t>Are there capabilities in Brand X that are needed to develop Epiroc into the future? Is there a strategic fit with the Epiroc brand?</a:t>
            </a:r>
          </a:p>
          <a:p>
            <a:pPr marL="228600" indent="-228600">
              <a:buAutoNum type="arabicPeriod"/>
            </a:pPr>
            <a:r>
              <a:rPr lang="en-US" noProof="0"/>
              <a:t>If </a:t>
            </a:r>
            <a:r>
              <a:rPr lang="en-US" b="1" noProof="0"/>
              <a:t>no</a:t>
            </a:r>
            <a:r>
              <a:rPr lang="en-US" noProof="0"/>
              <a:t>, keep the brand separate and unassociated with the Epiroc brand</a:t>
            </a:r>
          </a:p>
          <a:p>
            <a:pPr marL="228600" indent="-228600">
              <a:buAutoNum type="arabicPeriod"/>
            </a:pPr>
            <a:r>
              <a:rPr lang="en-US" noProof="0"/>
              <a:t>If </a:t>
            </a:r>
            <a:r>
              <a:rPr lang="en-US" b="1" noProof="0"/>
              <a:t>yes</a:t>
            </a:r>
            <a:r>
              <a:rPr lang="en-US" noProof="0"/>
              <a:t>, assess if the brand is ready to become Epiroc right away or </a:t>
            </a:r>
          </a:p>
          <a:p>
            <a:pPr marL="228600" indent="-228600">
              <a:buAutoNum type="arabicPeriod"/>
            </a:pPr>
            <a:r>
              <a:rPr lang="en-US" noProof="0"/>
              <a:t>If a </a:t>
            </a:r>
            <a:r>
              <a:rPr lang="en-US" b="1" noProof="0"/>
              <a:t>transition period</a:t>
            </a:r>
            <a:r>
              <a:rPr lang="en-US" noProof="0"/>
              <a:t> is required to prepare for an integration – while ”Powered by Epiroc”. This is where we need to establish a process and how we measure maturity for each step on the way, to ensure that we channel the power into Epiroc while mitigating the risk of loosing speed, market/customers, personnel, or capabilities.</a:t>
            </a:r>
          </a:p>
          <a:p>
            <a:pPr marL="228600" indent="-228600">
              <a:buAutoNum type="arabicPeriod"/>
            </a:pP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4F1E0-36F4-4EC9-B403-227A336897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360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4F1B91-A1E4-41CB-9377-D6AEADD83F4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5048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4F1B91-A1E4-41CB-9377-D6AEADD83F4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634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7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9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8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97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9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0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0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7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1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0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4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8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5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2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</a:t>
            </a:r>
            <a:r>
              <a:rPr lang="en-US" noProof="0"/>
              <a:t>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</p:spTree>
    <p:extLst>
      <p:ext uri="{BB962C8B-B14F-4D97-AF65-F5344CB8AC3E}">
        <p14:creationId xmlns:p14="http://schemas.microsoft.com/office/powerpoint/2010/main" val="3636286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-39990" y="-10762"/>
            <a:ext cx="12239726" cy="6868762"/>
          </a:xfrm>
          <a:custGeom>
            <a:avLst/>
            <a:gdLst>
              <a:gd name="connsiteX0" fmla="*/ 0 w 12490450"/>
              <a:gd name="connsiteY0" fmla="*/ 10762 h 6868762"/>
              <a:gd name="connsiteX1" fmla="*/ 7977675 w 12490450"/>
              <a:gd name="connsiteY1" fmla="*/ 10762 h 6868762"/>
              <a:gd name="connsiteX2" fmla="*/ 7977675 w 12490450"/>
              <a:gd name="connsiteY2" fmla="*/ 2987143 h 6868762"/>
              <a:gd name="connsiteX3" fmla="*/ 7864713 w 12490450"/>
              <a:gd name="connsiteY3" fmla="*/ 3182801 h 6868762"/>
              <a:gd name="connsiteX4" fmla="*/ 7856303 w 12490450"/>
              <a:gd name="connsiteY4" fmla="*/ 3203162 h 6868762"/>
              <a:gd name="connsiteX5" fmla="*/ 7853500 w 12490450"/>
              <a:gd name="connsiteY5" fmla="*/ 3224649 h 6868762"/>
              <a:gd name="connsiteX6" fmla="*/ 7856303 w 12490450"/>
              <a:gd name="connsiteY6" fmla="*/ 3246136 h 6868762"/>
              <a:gd name="connsiteX7" fmla="*/ 7864713 w 12490450"/>
              <a:gd name="connsiteY7" fmla="*/ 3266496 h 6868762"/>
              <a:gd name="connsiteX8" fmla="*/ 7977675 w 12490450"/>
              <a:gd name="connsiteY8" fmla="*/ 3462152 h 6868762"/>
              <a:gd name="connsiteX9" fmla="*/ 7977675 w 12490450"/>
              <a:gd name="connsiteY9" fmla="*/ 6865781 h 6868762"/>
              <a:gd name="connsiteX10" fmla="*/ 12235176 w 12490450"/>
              <a:gd name="connsiteY10" fmla="*/ 6865781 h 6868762"/>
              <a:gd name="connsiteX11" fmla="*/ 12235176 w 12490450"/>
              <a:gd name="connsiteY11" fmla="*/ 10762 h 6868762"/>
              <a:gd name="connsiteX12" fmla="*/ 12237532 w 12490450"/>
              <a:gd name="connsiteY12" fmla="*/ 0 h 6868762"/>
              <a:gd name="connsiteX13" fmla="*/ 12490450 w 12490450"/>
              <a:gd name="connsiteY13" fmla="*/ 6868762 h 6868762"/>
              <a:gd name="connsiteX14" fmla="*/ 0 w 12490450"/>
              <a:gd name="connsiteY14" fmla="*/ 6868762 h 6868762"/>
              <a:gd name="connsiteX15" fmla="*/ 0 w 12490450"/>
              <a:gd name="connsiteY15" fmla="*/ 10762 h 6868762"/>
              <a:gd name="connsiteX0" fmla="*/ 0 w 12242914"/>
              <a:gd name="connsiteY0" fmla="*/ 10762 h 6868762"/>
              <a:gd name="connsiteX1" fmla="*/ 7977675 w 12242914"/>
              <a:gd name="connsiteY1" fmla="*/ 10762 h 6868762"/>
              <a:gd name="connsiteX2" fmla="*/ 7977675 w 12242914"/>
              <a:gd name="connsiteY2" fmla="*/ 2987143 h 6868762"/>
              <a:gd name="connsiteX3" fmla="*/ 7864713 w 12242914"/>
              <a:gd name="connsiteY3" fmla="*/ 3182801 h 6868762"/>
              <a:gd name="connsiteX4" fmla="*/ 7856303 w 12242914"/>
              <a:gd name="connsiteY4" fmla="*/ 3203162 h 6868762"/>
              <a:gd name="connsiteX5" fmla="*/ 7853500 w 12242914"/>
              <a:gd name="connsiteY5" fmla="*/ 3224649 h 6868762"/>
              <a:gd name="connsiteX6" fmla="*/ 7856303 w 12242914"/>
              <a:gd name="connsiteY6" fmla="*/ 3246136 h 6868762"/>
              <a:gd name="connsiteX7" fmla="*/ 7864713 w 12242914"/>
              <a:gd name="connsiteY7" fmla="*/ 3266496 h 6868762"/>
              <a:gd name="connsiteX8" fmla="*/ 7977675 w 12242914"/>
              <a:gd name="connsiteY8" fmla="*/ 3462152 h 6868762"/>
              <a:gd name="connsiteX9" fmla="*/ 7977675 w 12242914"/>
              <a:gd name="connsiteY9" fmla="*/ 6865781 h 6868762"/>
              <a:gd name="connsiteX10" fmla="*/ 12235176 w 12242914"/>
              <a:gd name="connsiteY10" fmla="*/ 6865781 h 6868762"/>
              <a:gd name="connsiteX11" fmla="*/ 12235176 w 12242914"/>
              <a:gd name="connsiteY11" fmla="*/ 10762 h 6868762"/>
              <a:gd name="connsiteX12" fmla="*/ 12237532 w 12242914"/>
              <a:gd name="connsiteY12" fmla="*/ 0 h 6868762"/>
              <a:gd name="connsiteX13" fmla="*/ 12242914 w 12242914"/>
              <a:gd name="connsiteY13" fmla="*/ 6868762 h 6868762"/>
              <a:gd name="connsiteX14" fmla="*/ 0 w 12242914"/>
              <a:gd name="connsiteY14" fmla="*/ 6868762 h 6868762"/>
              <a:gd name="connsiteX15" fmla="*/ 0 w 12242914"/>
              <a:gd name="connsiteY15" fmla="*/ 10762 h 686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42914" h="6868762">
                <a:moveTo>
                  <a:pt x="0" y="10762"/>
                </a:moveTo>
                <a:lnTo>
                  <a:pt x="7977675" y="10762"/>
                </a:lnTo>
                <a:lnTo>
                  <a:pt x="7977675" y="2987143"/>
                </a:lnTo>
                <a:lnTo>
                  <a:pt x="7864713" y="3182801"/>
                </a:lnTo>
                <a:lnTo>
                  <a:pt x="7856303" y="3203162"/>
                </a:lnTo>
                <a:lnTo>
                  <a:pt x="7853500" y="3224649"/>
                </a:lnTo>
                <a:lnTo>
                  <a:pt x="7856303" y="3246136"/>
                </a:lnTo>
                <a:lnTo>
                  <a:pt x="7864713" y="3266496"/>
                </a:lnTo>
                <a:lnTo>
                  <a:pt x="7977675" y="3462152"/>
                </a:lnTo>
                <a:lnTo>
                  <a:pt x="7977675" y="6865781"/>
                </a:lnTo>
                <a:lnTo>
                  <a:pt x="12235176" y="6865781"/>
                </a:lnTo>
                <a:lnTo>
                  <a:pt x="12235176" y="10762"/>
                </a:lnTo>
                <a:lnTo>
                  <a:pt x="12237532" y="0"/>
                </a:lnTo>
                <a:lnTo>
                  <a:pt x="12242914" y="6868762"/>
                </a:lnTo>
                <a:lnTo>
                  <a:pt x="0" y="6868762"/>
                </a:lnTo>
                <a:lnTo>
                  <a:pt x="0" y="10762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object 2"/>
          <p:cNvSpPr>
            <a:spLocks/>
          </p:cNvSpPr>
          <p:nvPr userDrawn="1"/>
        </p:nvSpPr>
        <p:spPr bwMode="auto">
          <a:xfrm flipH="1">
            <a:off x="7811465" y="2"/>
            <a:ext cx="4380535" cy="6855019"/>
          </a:xfrm>
          <a:custGeom>
            <a:avLst/>
            <a:gdLst/>
            <a:ahLst/>
            <a:cxnLst/>
            <a:rect l="l" t="t" r="r" b="b"/>
            <a:pathLst>
              <a:path w="4381676" h="6855019">
                <a:moveTo>
                  <a:pt x="0" y="0"/>
                </a:moveTo>
                <a:lnTo>
                  <a:pt x="4257501" y="0"/>
                </a:lnTo>
                <a:lnTo>
                  <a:pt x="4257501" y="2976381"/>
                </a:lnTo>
                <a:lnTo>
                  <a:pt x="4370463" y="3172039"/>
                </a:lnTo>
                <a:lnTo>
                  <a:pt x="4378873" y="3192400"/>
                </a:lnTo>
                <a:lnTo>
                  <a:pt x="4381676" y="3213887"/>
                </a:lnTo>
                <a:lnTo>
                  <a:pt x="4378873" y="3235374"/>
                </a:lnTo>
                <a:lnTo>
                  <a:pt x="4370463" y="3255734"/>
                </a:lnTo>
                <a:lnTo>
                  <a:pt x="4257501" y="3451390"/>
                </a:lnTo>
                <a:lnTo>
                  <a:pt x="4257501" y="6855019"/>
                </a:lnTo>
                <a:lnTo>
                  <a:pt x="0" y="685501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399370" y="2843784"/>
            <a:ext cx="3481094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9370" y="3456432"/>
            <a:ext cx="3481094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6585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6" y="1517906"/>
            <a:ext cx="5451244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1182" y="1517906"/>
            <a:ext cx="5460086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6365281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10"/>
          <p:cNvSpPr>
            <a:spLocks/>
          </p:cNvSpPr>
          <p:nvPr userDrawn="1"/>
        </p:nvSpPr>
        <p:spPr bwMode="auto">
          <a:xfrm>
            <a:off x="6090288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6070A5F-53D5-4A46-A110-CB7C0E6E4B8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87699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7"/>
            <a:ext cx="5451244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65284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F423A33-7EC0-234C-B652-48CF09268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94187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999" y="1514476"/>
            <a:ext cx="5451244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3387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101399A-7068-E14C-A87E-199C30F8C6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152339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2"/>
            <a:ext cx="5844538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150126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6BFC2FB-8D6F-1645-833E-F256081A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409695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9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6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06797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801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4A7FF9A-C757-F743-BC9F-9DE17F1A1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84084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8215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04117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rgbClr val="425563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rgbClr val="425563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rgbClr val="425563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C765B2C-E99A-194B-B108-1C0CF9360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439722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540" y="1514476"/>
            <a:ext cx="11136644" cy="449103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FB5E6B8-E2B2-C44B-B04E-A923AA0BF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15210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33539" y="970473"/>
            <a:ext cx="11136644" cy="5035040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56E4AE9-4051-2644-805E-D65D16741E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48645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4115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29891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F665CB1-F799-F24E-9630-C66DB9560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0646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-12902" y="-10000"/>
            <a:ext cx="12244892" cy="6868000"/>
          </a:xfrm>
          <a:custGeom>
            <a:avLst/>
            <a:gdLst>
              <a:gd name="connsiteX0" fmla="*/ 110002 w 12318083"/>
              <a:gd name="connsiteY0" fmla="*/ 0 h 6868000"/>
              <a:gd name="connsiteX1" fmla="*/ 12318083 w 12318083"/>
              <a:gd name="connsiteY1" fmla="*/ 10000 h 6868000"/>
              <a:gd name="connsiteX2" fmla="*/ 12318083 w 12318083"/>
              <a:gd name="connsiteY2" fmla="*/ 6868000 h 6868000"/>
              <a:gd name="connsiteX3" fmla="*/ 4380409 w 12318083"/>
              <a:gd name="connsiteY3" fmla="*/ 6868000 h 6868000"/>
              <a:gd name="connsiteX4" fmla="*/ 4380409 w 12318083"/>
              <a:gd name="connsiteY4" fmla="*/ 3464371 h 6868000"/>
              <a:gd name="connsiteX5" fmla="*/ 4493371 w 12318083"/>
              <a:gd name="connsiteY5" fmla="*/ 3268715 h 6868000"/>
              <a:gd name="connsiteX6" fmla="*/ 4501781 w 12318083"/>
              <a:gd name="connsiteY6" fmla="*/ 3248355 h 6868000"/>
              <a:gd name="connsiteX7" fmla="*/ 4504584 w 12318083"/>
              <a:gd name="connsiteY7" fmla="*/ 3226868 h 6868000"/>
              <a:gd name="connsiteX8" fmla="*/ 4501781 w 12318083"/>
              <a:gd name="connsiteY8" fmla="*/ 3205381 h 6868000"/>
              <a:gd name="connsiteX9" fmla="*/ 4493371 w 12318083"/>
              <a:gd name="connsiteY9" fmla="*/ 3185020 h 6868000"/>
              <a:gd name="connsiteX10" fmla="*/ 4380409 w 12318083"/>
              <a:gd name="connsiteY10" fmla="*/ 2989362 h 6868000"/>
              <a:gd name="connsiteX11" fmla="*/ 4380409 w 12318083"/>
              <a:gd name="connsiteY11" fmla="*/ 12981 h 6868000"/>
              <a:gd name="connsiteX12" fmla="*/ 122908 w 12318083"/>
              <a:gd name="connsiteY12" fmla="*/ 12981 h 6868000"/>
              <a:gd name="connsiteX13" fmla="*/ 122908 w 12318083"/>
              <a:gd name="connsiteY13" fmla="*/ 6868000 h 6868000"/>
              <a:gd name="connsiteX14" fmla="*/ 0 w 12318083"/>
              <a:gd name="connsiteY14" fmla="*/ 6868000 h 6868000"/>
              <a:gd name="connsiteX15" fmla="*/ 110002 w 12318083"/>
              <a:gd name="connsiteY15" fmla="*/ 0 h 6868000"/>
              <a:gd name="connsiteX0" fmla="*/ 0 w 12208081"/>
              <a:gd name="connsiteY0" fmla="*/ 0 h 6868000"/>
              <a:gd name="connsiteX1" fmla="*/ 12208081 w 12208081"/>
              <a:gd name="connsiteY1" fmla="*/ 10000 h 6868000"/>
              <a:gd name="connsiteX2" fmla="*/ 12208081 w 12208081"/>
              <a:gd name="connsiteY2" fmla="*/ 6868000 h 6868000"/>
              <a:gd name="connsiteX3" fmla="*/ 4270407 w 12208081"/>
              <a:gd name="connsiteY3" fmla="*/ 6868000 h 6868000"/>
              <a:gd name="connsiteX4" fmla="*/ 4270407 w 12208081"/>
              <a:gd name="connsiteY4" fmla="*/ 3464371 h 6868000"/>
              <a:gd name="connsiteX5" fmla="*/ 4383369 w 12208081"/>
              <a:gd name="connsiteY5" fmla="*/ 3268715 h 6868000"/>
              <a:gd name="connsiteX6" fmla="*/ 4391779 w 12208081"/>
              <a:gd name="connsiteY6" fmla="*/ 3248355 h 6868000"/>
              <a:gd name="connsiteX7" fmla="*/ 4394582 w 12208081"/>
              <a:gd name="connsiteY7" fmla="*/ 3226868 h 6868000"/>
              <a:gd name="connsiteX8" fmla="*/ 4391779 w 12208081"/>
              <a:gd name="connsiteY8" fmla="*/ 3205381 h 6868000"/>
              <a:gd name="connsiteX9" fmla="*/ 4383369 w 12208081"/>
              <a:gd name="connsiteY9" fmla="*/ 3185020 h 6868000"/>
              <a:gd name="connsiteX10" fmla="*/ 4270407 w 12208081"/>
              <a:gd name="connsiteY10" fmla="*/ 2989362 h 6868000"/>
              <a:gd name="connsiteX11" fmla="*/ 4270407 w 12208081"/>
              <a:gd name="connsiteY11" fmla="*/ 12981 h 6868000"/>
              <a:gd name="connsiteX12" fmla="*/ 12906 w 12208081"/>
              <a:gd name="connsiteY12" fmla="*/ 12981 h 6868000"/>
              <a:gd name="connsiteX13" fmla="*/ 12906 w 12208081"/>
              <a:gd name="connsiteY13" fmla="*/ 6868000 h 6868000"/>
              <a:gd name="connsiteX14" fmla="*/ 10000 w 12208081"/>
              <a:gd name="connsiteY14" fmla="*/ 6857999 h 6868000"/>
              <a:gd name="connsiteX15" fmla="*/ 0 w 12208081"/>
              <a:gd name="connsiteY15" fmla="*/ 0 h 6868000"/>
              <a:gd name="connsiteX0" fmla="*/ 0 w 12238081"/>
              <a:gd name="connsiteY0" fmla="*/ 0 h 6868000"/>
              <a:gd name="connsiteX1" fmla="*/ 12238081 w 12238081"/>
              <a:gd name="connsiteY1" fmla="*/ 10000 h 6868000"/>
              <a:gd name="connsiteX2" fmla="*/ 12208081 w 12238081"/>
              <a:gd name="connsiteY2" fmla="*/ 6868000 h 6868000"/>
              <a:gd name="connsiteX3" fmla="*/ 4270407 w 12238081"/>
              <a:gd name="connsiteY3" fmla="*/ 6868000 h 6868000"/>
              <a:gd name="connsiteX4" fmla="*/ 4270407 w 12238081"/>
              <a:gd name="connsiteY4" fmla="*/ 3464371 h 6868000"/>
              <a:gd name="connsiteX5" fmla="*/ 4383369 w 12238081"/>
              <a:gd name="connsiteY5" fmla="*/ 3268715 h 6868000"/>
              <a:gd name="connsiteX6" fmla="*/ 4391779 w 12238081"/>
              <a:gd name="connsiteY6" fmla="*/ 3248355 h 6868000"/>
              <a:gd name="connsiteX7" fmla="*/ 4394582 w 12238081"/>
              <a:gd name="connsiteY7" fmla="*/ 3226868 h 6868000"/>
              <a:gd name="connsiteX8" fmla="*/ 4391779 w 12238081"/>
              <a:gd name="connsiteY8" fmla="*/ 3205381 h 6868000"/>
              <a:gd name="connsiteX9" fmla="*/ 4383369 w 12238081"/>
              <a:gd name="connsiteY9" fmla="*/ 3185020 h 6868000"/>
              <a:gd name="connsiteX10" fmla="*/ 4270407 w 12238081"/>
              <a:gd name="connsiteY10" fmla="*/ 2989362 h 6868000"/>
              <a:gd name="connsiteX11" fmla="*/ 4270407 w 12238081"/>
              <a:gd name="connsiteY11" fmla="*/ 12981 h 6868000"/>
              <a:gd name="connsiteX12" fmla="*/ 12906 w 12238081"/>
              <a:gd name="connsiteY12" fmla="*/ 12981 h 6868000"/>
              <a:gd name="connsiteX13" fmla="*/ 12906 w 12238081"/>
              <a:gd name="connsiteY13" fmla="*/ 6868000 h 6868000"/>
              <a:gd name="connsiteX14" fmla="*/ 10000 w 12238081"/>
              <a:gd name="connsiteY14" fmla="*/ 6857999 h 6868000"/>
              <a:gd name="connsiteX15" fmla="*/ 0 w 1223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12906 w 12248081"/>
              <a:gd name="connsiteY12" fmla="*/ 12981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48081" h="6868000">
                <a:moveTo>
                  <a:pt x="0" y="0"/>
                </a:moveTo>
                <a:lnTo>
                  <a:pt x="12238081" y="10000"/>
                </a:lnTo>
                <a:cubicBezTo>
                  <a:pt x="12241414" y="2296000"/>
                  <a:pt x="12244748" y="4582000"/>
                  <a:pt x="12248081" y="6868000"/>
                </a:cubicBezTo>
                <a:lnTo>
                  <a:pt x="4270407" y="6868000"/>
                </a:lnTo>
                <a:lnTo>
                  <a:pt x="4270407" y="3464371"/>
                </a:lnTo>
                <a:lnTo>
                  <a:pt x="4383369" y="3268715"/>
                </a:lnTo>
                <a:lnTo>
                  <a:pt x="4391779" y="3248355"/>
                </a:lnTo>
                <a:lnTo>
                  <a:pt x="4394582" y="3226868"/>
                </a:lnTo>
                <a:lnTo>
                  <a:pt x="4391779" y="3205381"/>
                </a:lnTo>
                <a:lnTo>
                  <a:pt x="4383369" y="3185020"/>
                </a:lnTo>
                <a:lnTo>
                  <a:pt x="4270407" y="2989362"/>
                </a:lnTo>
                <a:lnTo>
                  <a:pt x="4270407" y="12981"/>
                </a:lnTo>
                <a:lnTo>
                  <a:pt x="12906" y="12981"/>
                </a:lnTo>
                <a:lnTo>
                  <a:pt x="12906" y="6868000"/>
                </a:lnTo>
                <a:lnTo>
                  <a:pt x="10000" y="6857999"/>
                </a:lnTo>
                <a:cubicBezTo>
                  <a:pt x="10000" y="4571999"/>
                  <a:pt x="0" y="2286000"/>
                  <a:pt x="0" y="0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object 2"/>
          <p:cNvSpPr>
            <a:spLocks/>
          </p:cNvSpPr>
          <p:nvPr userDrawn="1"/>
        </p:nvSpPr>
        <p:spPr bwMode="auto">
          <a:xfrm>
            <a:off x="0" y="2"/>
            <a:ext cx="4380535" cy="6855019"/>
          </a:xfrm>
          <a:custGeom>
            <a:avLst/>
            <a:gdLst/>
            <a:ahLst/>
            <a:cxnLst/>
            <a:rect l="l" t="t" r="r" b="b"/>
            <a:pathLst>
              <a:path w="4381676" h="6855019">
                <a:moveTo>
                  <a:pt x="0" y="0"/>
                </a:moveTo>
                <a:lnTo>
                  <a:pt x="4257501" y="0"/>
                </a:lnTo>
                <a:lnTo>
                  <a:pt x="4257501" y="2976381"/>
                </a:lnTo>
                <a:lnTo>
                  <a:pt x="4370463" y="3172039"/>
                </a:lnTo>
                <a:lnTo>
                  <a:pt x="4378873" y="3192400"/>
                </a:lnTo>
                <a:lnTo>
                  <a:pt x="4381676" y="3213887"/>
                </a:lnTo>
                <a:lnTo>
                  <a:pt x="4378873" y="3235374"/>
                </a:lnTo>
                <a:lnTo>
                  <a:pt x="4370463" y="3255734"/>
                </a:lnTo>
                <a:lnTo>
                  <a:pt x="4257501" y="3451390"/>
                </a:lnTo>
                <a:lnTo>
                  <a:pt x="4257501" y="6855019"/>
                </a:lnTo>
                <a:lnTo>
                  <a:pt x="0" y="685501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76" y="5701781"/>
            <a:ext cx="1892156" cy="526513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940" y="2843784"/>
            <a:ext cx="3581070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</a:t>
            </a:r>
            <a:r>
              <a:rPr lang="en-US" noProof="0"/>
              <a:t>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940" y="3456432"/>
            <a:ext cx="3581070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59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</p:spTree>
    <p:extLst>
      <p:ext uri="{BB962C8B-B14F-4D97-AF65-F5344CB8AC3E}">
        <p14:creationId xmlns:p14="http://schemas.microsoft.com/office/powerpoint/2010/main" val="28748109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743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576FFF9-72A7-CA4B-98DF-A5F24CACE7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83906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53CBFBD-7519-6844-B3AC-8D991A83E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5A6B97-2A9C-7D4E-81B4-DD7EF8FED5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3374" y="2020826"/>
            <a:ext cx="7642370" cy="3984689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1445F3-18A2-A14D-8A89-45D4544A9DBF}"/>
              </a:ext>
            </a:extLst>
          </p:cNvPr>
          <p:cNvCxnSpPr/>
          <p:nvPr userDrawn="1"/>
        </p:nvCxnSpPr>
        <p:spPr>
          <a:xfrm flipH="1">
            <a:off x="8414859" y="2020825"/>
            <a:ext cx="7434" cy="400232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24652D8C-D522-E443-A8E9-BA8DF4191B4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771636" y="2020943"/>
            <a:ext cx="2972574" cy="4002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29048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9" y="1517905"/>
            <a:ext cx="11332623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53CBFBD-7519-6844-B3AC-8D991A83E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05032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AD506D2-2447-AA48-BA07-08C6B5E07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475933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40" y="1503362"/>
            <a:ext cx="51869" cy="4489704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61181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DD9DF511-00BA-F74E-9B0F-8B7CADA5B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667041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91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2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941EFE71-2885-C24E-AE15-11CB55A418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0775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6" y="1517906"/>
            <a:ext cx="5451244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1182" y="1517906"/>
            <a:ext cx="5460086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6365281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object 10"/>
          <p:cNvSpPr>
            <a:spLocks/>
          </p:cNvSpPr>
          <p:nvPr userDrawn="1"/>
        </p:nvSpPr>
        <p:spPr bwMode="auto">
          <a:xfrm>
            <a:off x="6090288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6070A5F-53D5-4A46-A110-CB7C0E6E4B8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034906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7"/>
            <a:ext cx="5451244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65284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F423A33-7EC0-234C-B652-48CF09268D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18407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999" y="1514476"/>
            <a:ext cx="5451244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3387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101399A-7068-E14C-A87E-199C30F8C6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600950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2"/>
            <a:ext cx="5844538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150126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6BFC2FB-8D6F-1645-833E-F256081A0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48532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-12902" y="-10000"/>
            <a:ext cx="12244892" cy="6868000"/>
          </a:xfrm>
          <a:custGeom>
            <a:avLst/>
            <a:gdLst>
              <a:gd name="connsiteX0" fmla="*/ 110002 w 12318083"/>
              <a:gd name="connsiteY0" fmla="*/ 0 h 6868000"/>
              <a:gd name="connsiteX1" fmla="*/ 12318083 w 12318083"/>
              <a:gd name="connsiteY1" fmla="*/ 10000 h 6868000"/>
              <a:gd name="connsiteX2" fmla="*/ 12318083 w 12318083"/>
              <a:gd name="connsiteY2" fmla="*/ 6868000 h 6868000"/>
              <a:gd name="connsiteX3" fmla="*/ 4380409 w 12318083"/>
              <a:gd name="connsiteY3" fmla="*/ 6868000 h 6868000"/>
              <a:gd name="connsiteX4" fmla="*/ 4380409 w 12318083"/>
              <a:gd name="connsiteY4" fmla="*/ 3464371 h 6868000"/>
              <a:gd name="connsiteX5" fmla="*/ 4493371 w 12318083"/>
              <a:gd name="connsiteY5" fmla="*/ 3268715 h 6868000"/>
              <a:gd name="connsiteX6" fmla="*/ 4501781 w 12318083"/>
              <a:gd name="connsiteY6" fmla="*/ 3248355 h 6868000"/>
              <a:gd name="connsiteX7" fmla="*/ 4504584 w 12318083"/>
              <a:gd name="connsiteY7" fmla="*/ 3226868 h 6868000"/>
              <a:gd name="connsiteX8" fmla="*/ 4501781 w 12318083"/>
              <a:gd name="connsiteY8" fmla="*/ 3205381 h 6868000"/>
              <a:gd name="connsiteX9" fmla="*/ 4493371 w 12318083"/>
              <a:gd name="connsiteY9" fmla="*/ 3185020 h 6868000"/>
              <a:gd name="connsiteX10" fmla="*/ 4380409 w 12318083"/>
              <a:gd name="connsiteY10" fmla="*/ 2989362 h 6868000"/>
              <a:gd name="connsiteX11" fmla="*/ 4380409 w 12318083"/>
              <a:gd name="connsiteY11" fmla="*/ 12981 h 6868000"/>
              <a:gd name="connsiteX12" fmla="*/ 122908 w 12318083"/>
              <a:gd name="connsiteY12" fmla="*/ 12981 h 6868000"/>
              <a:gd name="connsiteX13" fmla="*/ 122908 w 12318083"/>
              <a:gd name="connsiteY13" fmla="*/ 6868000 h 6868000"/>
              <a:gd name="connsiteX14" fmla="*/ 0 w 12318083"/>
              <a:gd name="connsiteY14" fmla="*/ 6868000 h 6868000"/>
              <a:gd name="connsiteX15" fmla="*/ 110002 w 12318083"/>
              <a:gd name="connsiteY15" fmla="*/ 0 h 6868000"/>
              <a:gd name="connsiteX0" fmla="*/ 0 w 12208081"/>
              <a:gd name="connsiteY0" fmla="*/ 0 h 6868000"/>
              <a:gd name="connsiteX1" fmla="*/ 12208081 w 12208081"/>
              <a:gd name="connsiteY1" fmla="*/ 10000 h 6868000"/>
              <a:gd name="connsiteX2" fmla="*/ 12208081 w 12208081"/>
              <a:gd name="connsiteY2" fmla="*/ 6868000 h 6868000"/>
              <a:gd name="connsiteX3" fmla="*/ 4270407 w 12208081"/>
              <a:gd name="connsiteY3" fmla="*/ 6868000 h 6868000"/>
              <a:gd name="connsiteX4" fmla="*/ 4270407 w 12208081"/>
              <a:gd name="connsiteY4" fmla="*/ 3464371 h 6868000"/>
              <a:gd name="connsiteX5" fmla="*/ 4383369 w 12208081"/>
              <a:gd name="connsiteY5" fmla="*/ 3268715 h 6868000"/>
              <a:gd name="connsiteX6" fmla="*/ 4391779 w 12208081"/>
              <a:gd name="connsiteY6" fmla="*/ 3248355 h 6868000"/>
              <a:gd name="connsiteX7" fmla="*/ 4394582 w 12208081"/>
              <a:gd name="connsiteY7" fmla="*/ 3226868 h 6868000"/>
              <a:gd name="connsiteX8" fmla="*/ 4391779 w 12208081"/>
              <a:gd name="connsiteY8" fmla="*/ 3205381 h 6868000"/>
              <a:gd name="connsiteX9" fmla="*/ 4383369 w 12208081"/>
              <a:gd name="connsiteY9" fmla="*/ 3185020 h 6868000"/>
              <a:gd name="connsiteX10" fmla="*/ 4270407 w 12208081"/>
              <a:gd name="connsiteY10" fmla="*/ 2989362 h 6868000"/>
              <a:gd name="connsiteX11" fmla="*/ 4270407 w 12208081"/>
              <a:gd name="connsiteY11" fmla="*/ 12981 h 6868000"/>
              <a:gd name="connsiteX12" fmla="*/ 12906 w 12208081"/>
              <a:gd name="connsiteY12" fmla="*/ 12981 h 6868000"/>
              <a:gd name="connsiteX13" fmla="*/ 12906 w 12208081"/>
              <a:gd name="connsiteY13" fmla="*/ 6868000 h 6868000"/>
              <a:gd name="connsiteX14" fmla="*/ 10000 w 12208081"/>
              <a:gd name="connsiteY14" fmla="*/ 6857999 h 6868000"/>
              <a:gd name="connsiteX15" fmla="*/ 0 w 12208081"/>
              <a:gd name="connsiteY15" fmla="*/ 0 h 6868000"/>
              <a:gd name="connsiteX0" fmla="*/ 0 w 12238081"/>
              <a:gd name="connsiteY0" fmla="*/ 0 h 6868000"/>
              <a:gd name="connsiteX1" fmla="*/ 12238081 w 12238081"/>
              <a:gd name="connsiteY1" fmla="*/ 10000 h 6868000"/>
              <a:gd name="connsiteX2" fmla="*/ 12208081 w 12238081"/>
              <a:gd name="connsiteY2" fmla="*/ 6868000 h 6868000"/>
              <a:gd name="connsiteX3" fmla="*/ 4270407 w 12238081"/>
              <a:gd name="connsiteY3" fmla="*/ 6868000 h 6868000"/>
              <a:gd name="connsiteX4" fmla="*/ 4270407 w 12238081"/>
              <a:gd name="connsiteY4" fmla="*/ 3464371 h 6868000"/>
              <a:gd name="connsiteX5" fmla="*/ 4383369 w 12238081"/>
              <a:gd name="connsiteY5" fmla="*/ 3268715 h 6868000"/>
              <a:gd name="connsiteX6" fmla="*/ 4391779 w 12238081"/>
              <a:gd name="connsiteY6" fmla="*/ 3248355 h 6868000"/>
              <a:gd name="connsiteX7" fmla="*/ 4394582 w 12238081"/>
              <a:gd name="connsiteY7" fmla="*/ 3226868 h 6868000"/>
              <a:gd name="connsiteX8" fmla="*/ 4391779 w 12238081"/>
              <a:gd name="connsiteY8" fmla="*/ 3205381 h 6868000"/>
              <a:gd name="connsiteX9" fmla="*/ 4383369 w 12238081"/>
              <a:gd name="connsiteY9" fmla="*/ 3185020 h 6868000"/>
              <a:gd name="connsiteX10" fmla="*/ 4270407 w 12238081"/>
              <a:gd name="connsiteY10" fmla="*/ 2989362 h 6868000"/>
              <a:gd name="connsiteX11" fmla="*/ 4270407 w 12238081"/>
              <a:gd name="connsiteY11" fmla="*/ 12981 h 6868000"/>
              <a:gd name="connsiteX12" fmla="*/ 12906 w 12238081"/>
              <a:gd name="connsiteY12" fmla="*/ 12981 h 6868000"/>
              <a:gd name="connsiteX13" fmla="*/ 12906 w 12238081"/>
              <a:gd name="connsiteY13" fmla="*/ 6868000 h 6868000"/>
              <a:gd name="connsiteX14" fmla="*/ 10000 w 12238081"/>
              <a:gd name="connsiteY14" fmla="*/ 6857999 h 6868000"/>
              <a:gd name="connsiteX15" fmla="*/ 0 w 1223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12906 w 12248081"/>
              <a:gd name="connsiteY12" fmla="*/ 12981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48081" h="6868000">
                <a:moveTo>
                  <a:pt x="0" y="0"/>
                </a:moveTo>
                <a:lnTo>
                  <a:pt x="12238081" y="10000"/>
                </a:lnTo>
                <a:cubicBezTo>
                  <a:pt x="12241414" y="2296000"/>
                  <a:pt x="12244748" y="4582000"/>
                  <a:pt x="12248081" y="6868000"/>
                </a:cubicBezTo>
                <a:lnTo>
                  <a:pt x="4270407" y="6868000"/>
                </a:lnTo>
                <a:lnTo>
                  <a:pt x="4270407" y="3464371"/>
                </a:lnTo>
                <a:lnTo>
                  <a:pt x="4383369" y="3268715"/>
                </a:lnTo>
                <a:lnTo>
                  <a:pt x="4391779" y="3248355"/>
                </a:lnTo>
                <a:lnTo>
                  <a:pt x="4394582" y="3226868"/>
                </a:lnTo>
                <a:lnTo>
                  <a:pt x="4391779" y="3205381"/>
                </a:lnTo>
                <a:lnTo>
                  <a:pt x="4383369" y="3185020"/>
                </a:lnTo>
                <a:lnTo>
                  <a:pt x="4270407" y="2989362"/>
                </a:lnTo>
                <a:lnTo>
                  <a:pt x="4270407" y="12981"/>
                </a:lnTo>
                <a:lnTo>
                  <a:pt x="12906" y="12981"/>
                </a:lnTo>
                <a:lnTo>
                  <a:pt x="12906" y="6868000"/>
                </a:lnTo>
                <a:lnTo>
                  <a:pt x="10000" y="6857999"/>
                </a:lnTo>
                <a:cubicBezTo>
                  <a:pt x="10000" y="4571999"/>
                  <a:pt x="0" y="2286000"/>
                  <a:pt x="0" y="0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object 2"/>
          <p:cNvSpPr>
            <a:spLocks/>
          </p:cNvSpPr>
          <p:nvPr userDrawn="1"/>
        </p:nvSpPr>
        <p:spPr bwMode="auto">
          <a:xfrm>
            <a:off x="0" y="2"/>
            <a:ext cx="4380535" cy="6855019"/>
          </a:xfrm>
          <a:custGeom>
            <a:avLst/>
            <a:gdLst/>
            <a:ahLst/>
            <a:cxnLst/>
            <a:rect l="l" t="t" r="r" b="b"/>
            <a:pathLst>
              <a:path w="4381676" h="6855019">
                <a:moveTo>
                  <a:pt x="0" y="0"/>
                </a:moveTo>
                <a:lnTo>
                  <a:pt x="4257501" y="0"/>
                </a:lnTo>
                <a:lnTo>
                  <a:pt x="4257501" y="2976381"/>
                </a:lnTo>
                <a:lnTo>
                  <a:pt x="4370463" y="3172039"/>
                </a:lnTo>
                <a:lnTo>
                  <a:pt x="4378873" y="3192400"/>
                </a:lnTo>
                <a:lnTo>
                  <a:pt x="4381676" y="3213887"/>
                </a:lnTo>
                <a:lnTo>
                  <a:pt x="4378873" y="3235374"/>
                </a:lnTo>
                <a:lnTo>
                  <a:pt x="4370463" y="3255734"/>
                </a:lnTo>
                <a:lnTo>
                  <a:pt x="4257501" y="3451390"/>
                </a:lnTo>
                <a:lnTo>
                  <a:pt x="4257501" y="6855019"/>
                </a:lnTo>
                <a:lnTo>
                  <a:pt x="0" y="685501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940" y="2843784"/>
            <a:ext cx="3581070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940" y="3456432"/>
            <a:ext cx="3581070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76" y="570178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6296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9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6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337827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801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4A7FF9A-C757-F743-BC9F-9DE17F1A1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160692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8215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04117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rgbClr val="425563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rgbClr val="425563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rgbClr val="425563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C765B2C-E99A-194B-B108-1C0CF9360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90726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540" y="1514476"/>
            <a:ext cx="11136644" cy="449103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FB5E6B8-E2B2-C44B-B04E-A923AA0BF8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41070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33539" y="970473"/>
            <a:ext cx="11136644" cy="5035040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56E4AE9-4051-2644-805E-D65D16741E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748182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4115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29891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F665CB1-F799-F24E-9630-C66DB9560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042754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743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576FFF9-72A7-CA4B-98DF-A5F24CACE7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5946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3175 w 12195175"/>
              <a:gd name="connsiteY2" fmla="*/ 6863214 h 6864350"/>
              <a:gd name="connsiteX3" fmla="*/ 0 w 12195175"/>
              <a:gd name="connsiteY3" fmla="*/ 6864350 h 6864350"/>
              <a:gd name="connsiteX4" fmla="*/ 0 w 12195175"/>
              <a:gd name="connsiteY4" fmla="*/ 0 h 6864350"/>
              <a:gd name="connsiteX5" fmla="*/ 12195175 w 12195175"/>
              <a:gd name="connsiteY5" fmla="*/ 0 h 6864350"/>
              <a:gd name="connsiteX6" fmla="*/ 12195175 w 12195175"/>
              <a:gd name="connsiteY6" fmla="*/ 5053013 h 6864350"/>
              <a:gd name="connsiteX7" fmla="*/ 1175111 w 12195175"/>
              <a:gd name="connsiteY7" fmla="*/ 5053013 h 6864350"/>
              <a:gd name="connsiteX8" fmla="*/ 961835 w 12195175"/>
              <a:gd name="connsiteY8" fmla="*/ 5176147 h 6864350"/>
              <a:gd name="connsiteX9" fmla="*/ 941474 w 12195175"/>
              <a:gd name="connsiteY9" fmla="*/ 5184556 h 6864350"/>
              <a:gd name="connsiteX10" fmla="*/ 919987 w 12195175"/>
              <a:gd name="connsiteY10" fmla="*/ 5187360 h 6864350"/>
              <a:gd name="connsiteX11" fmla="*/ 898500 w 12195175"/>
              <a:gd name="connsiteY11" fmla="*/ 5184556 h 6864350"/>
              <a:gd name="connsiteX12" fmla="*/ 878140 w 12195175"/>
              <a:gd name="connsiteY12" fmla="*/ 5176147 h 6864350"/>
              <a:gd name="connsiteX13" fmla="*/ 664866 w 12195175"/>
              <a:gd name="connsiteY13" fmla="*/ 5053013 h 6864350"/>
              <a:gd name="connsiteX14" fmla="*/ 0 w 12195175"/>
              <a:gd name="connsiteY14" fmla="*/ 5053013 h 6864350"/>
              <a:gd name="connsiteX15" fmla="*/ 0 w 12195175"/>
              <a:gd name="connsiteY15" fmla="*/ 0 h 6864350"/>
              <a:gd name="connsiteX0" fmla="*/ 0 w 12195175"/>
              <a:gd name="connsiteY0" fmla="*/ 6864350 h 6864350"/>
              <a:gd name="connsiteX1" fmla="*/ 3175 w 12195175"/>
              <a:gd name="connsiteY1" fmla="*/ 6863214 h 6864350"/>
              <a:gd name="connsiteX2" fmla="*/ 0 w 12195175"/>
              <a:gd name="connsiteY2" fmla="*/ 6864350 h 6864350"/>
              <a:gd name="connsiteX3" fmla="*/ 0 w 12195175"/>
              <a:gd name="connsiteY3" fmla="*/ 0 h 6864350"/>
              <a:gd name="connsiteX4" fmla="*/ 12195175 w 12195175"/>
              <a:gd name="connsiteY4" fmla="*/ 0 h 6864350"/>
              <a:gd name="connsiteX5" fmla="*/ 12195175 w 12195175"/>
              <a:gd name="connsiteY5" fmla="*/ 5053013 h 6864350"/>
              <a:gd name="connsiteX6" fmla="*/ 1175111 w 12195175"/>
              <a:gd name="connsiteY6" fmla="*/ 5053013 h 6864350"/>
              <a:gd name="connsiteX7" fmla="*/ 961835 w 12195175"/>
              <a:gd name="connsiteY7" fmla="*/ 5176147 h 6864350"/>
              <a:gd name="connsiteX8" fmla="*/ 941474 w 12195175"/>
              <a:gd name="connsiteY8" fmla="*/ 5184556 h 6864350"/>
              <a:gd name="connsiteX9" fmla="*/ 919987 w 12195175"/>
              <a:gd name="connsiteY9" fmla="*/ 5187360 h 6864350"/>
              <a:gd name="connsiteX10" fmla="*/ 898500 w 12195175"/>
              <a:gd name="connsiteY10" fmla="*/ 5184556 h 6864350"/>
              <a:gd name="connsiteX11" fmla="*/ 878140 w 12195175"/>
              <a:gd name="connsiteY11" fmla="*/ 5176147 h 6864350"/>
              <a:gd name="connsiteX12" fmla="*/ 664866 w 12195175"/>
              <a:gd name="connsiteY12" fmla="*/ 5053013 h 6864350"/>
              <a:gd name="connsiteX13" fmla="*/ 0 w 12195175"/>
              <a:gd name="connsiteY13" fmla="*/ 5053013 h 6864350"/>
              <a:gd name="connsiteX14" fmla="*/ 0 w 12195175"/>
              <a:gd name="connsiteY14" fmla="*/ 0 h 6864350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5187360"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1" y="5053016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238852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</a:t>
            </a:r>
            <a:r>
              <a:rPr lang="en-US" noProof="0"/>
              <a:t>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238852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43954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0"/>
            <a:ext cx="7956961" cy="6868758"/>
          </a:xfrm>
          <a:custGeom>
            <a:avLst/>
            <a:gdLst>
              <a:gd name="connsiteX0" fmla="*/ 0 w 12490450"/>
              <a:gd name="connsiteY0" fmla="*/ 10762 h 6868762"/>
              <a:gd name="connsiteX1" fmla="*/ 7977675 w 12490450"/>
              <a:gd name="connsiteY1" fmla="*/ 10762 h 6868762"/>
              <a:gd name="connsiteX2" fmla="*/ 7977675 w 12490450"/>
              <a:gd name="connsiteY2" fmla="*/ 2987143 h 6868762"/>
              <a:gd name="connsiteX3" fmla="*/ 7864713 w 12490450"/>
              <a:gd name="connsiteY3" fmla="*/ 3182801 h 6868762"/>
              <a:gd name="connsiteX4" fmla="*/ 7856303 w 12490450"/>
              <a:gd name="connsiteY4" fmla="*/ 3203162 h 6868762"/>
              <a:gd name="connsiteX5" fmla="*/ 7853500 w 12490450"/>
              <a:gd name="connsiteY5" fmla="*/ 3224649 h 6868762"/>
              <a:gd name="connsiteX6" fmla="*/ 7856303 w 12490450"/>
              <a:gd name="connsiteY6" fmla="*/ 3246136 h 6868762"/>
              <a:gd name="connsiteX7" fmla="*/ 7864713 w 12490450"/>
              <a:gd name="connsiteY7" fmla="*/ 3266496 h 6868762"/>
              <a:gd name="connsiteX8" fmla="*/ 7977675 w 12490450"/>
              <a:gd name="connsiteY8" fmla="*/ 3462152 h 6868762"/>
              <a:gd name="connsiteX9" fmla="*/ 7977675 w 12490450"/>
              <a:gd name="connsiteY9" fmla="*/ 6865781 h 6868762"/>
              <a:gd name="connsiteX10" fmla="*/ 12235176 w 12490450"/>
              <a:gd name="connsiteY10" fmla="*/ 6865781 h 6868762"/>
              <a:gd name="connsiteX11" fmla="*/ 12235176 w 12490450"/>
              <a:gd name="connsiteY11" fmla="*/ 10762 h 6868762"/>
              <a:gd name="connsiteX12" fmla="*/ 12237532 w 12490450"/>
              <a:gd name="connsiteY12" fmla="*/ 0 h 6868762"/>
              <a:gd name="connsiteX13" fmla="*/ 12490450 w 12490450"/>
              <a:gd name="connsiteY13" fmla="*/ 6868762 h 6868762"/>
              <a:gd name="connsiteX14" fmla="*/ 0 w 12490450"/>
              <a:gd name="connsiteY14" fmla="*/ 6868762 h 6868762"/>
              <a:gd name="connsiteX15" fmla="*/ 0 w 12490450"/>
              <a:gd name="connsiteY15" fmla="*/ 10762 h 6868762"/>
              <a:gd name="connsiteX0" fmla="*/ 0 w 12242914"/>
              <a:gd name="connsiteY0" fmla="*/ 10762 h 6868762"/>
              <a:gd name="connsiteX1" fmla="*/ 7977675 w 12242914"/>
              <a:gd name="connsiteY1" fmla="*/ 10762 h 6868762"/>
              <a:gd name="connsiteX2" fmla="*/ 7977675 w 12242914"/>
              <a:gd name="connsiteY2" fmla="*/ 2987143 h 6868762"/>
              <a:gd name="connsiteX3" fmla="*/ 7864713 w 12242914"/>
              <a:gd name="connsiteY3" fmla="*/ 3182801 h 6868762"/>
              <a:gd name="connsiteX4" fmla="*/ 7856303 w 12242914"/>
              <a:gd name="connsiteY4" fmla="*/ 3203162 h 6868762"/>
              <a:gd name="connsiteX5" fmla="*/ 7853500 w 12242914"/>
              <a:gd name="connsiteY5" fmla="*/ 3224649 h 6868762"/>
              <a:gd name="connsiteX6" fmla="*/ 7856303 w 12242914"/>
              <a:gd name="connsiteY6" fmla="*/ 3246136 h 6868762"/>
              <a:gd name="connsiteX7" fmla="*/ 7864713 w 12242914"/>
              <a:gd name="connsiteY7" fmla="*/ 3266496 h 6868762"/>
              <a:gd name="connsiteX8" fmla="*/ 7977675 w 12242914"/>
              <a:gd name="connsiteY8" fmla="*/ 3462152 h 6868762"/>
              <a:gd name="connsiteX9" fmla="*/ 7977675 w 12242914"/>
              <a:gd name="connsiteY9" fmla="*/ 6865781 h 6868762"/>
              <a:gd name="connsiteX10" fmla="*/ 12235176 w 12242914"/>
              <a:gd name="connsiteY10" fmla="*/ 6865781 h 6868762"/>
              <a:gd name="connsiteX11" fmla="*/ 12235176 w 12242914"/>
              <a:gd name="connsiteY11" fmla="*/ 10762 h 6868762"/>
              <a:gd name="connsiteX12" fmla="*/ 12237532 w 12242914"/>
              <a:gd name="connsiteY12" fmla="*/ 0 h 6868762"/>
              <a:gd name="connsiteX13" fmla="*/ 12242914 w 12242914"/>
              <a:gd name="connsiteY13" fmla="*/ 6868762 h 6868762"/>
              <a:gd name="connsiteX14" fmla="*/ 0 w 12242914"/>
              <a:gd name="connsiteY14" fmla="*/ 6868762 h 6868762"/>
              <a:gd name="connsiteX15" fmla="*/ 0 w 12242914"/>
              <a:gd name="connsiteY15" fmla="*/ 10762 h 6868762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35176 w 12242914"/>
              <a:gd name="connsiteY11" fmla="*/ 0 h 6858000"/>
              <a:gd name="connsiteX12" fmla="*/ 12242914 w 12242914"/>
              <a:gd name="connsiteY12" fmla="*/ 6858000 h 6858000"/>
              <a:gd name="connsiteX13" fmla="*/ 0 w 12242914"/>
              <a:gd name="connsiteY13" fmla="*/ 6858000 h 6858000"/>
              <a:gd name="connsiteX14" fmla="*/ 0 w 12242914"/>
              <a:gd name="connsiteY14" fmla="*/ 0 h 6858000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42914 w 12242914"/>
              <a:gd name="connsiteY11" fmla="*/ 6858000 h 6858000"/>
              <a:gd name="connsiteX12" fmla="*/ 0 w 12242914"/>
              <a:gd name="connsiteY12" fmla="*/ 6858000 h 6858000"/>
              <a:gd name="connsiteX13" fmla="*/ 0 w 12242914"/>
              <a:gd name="connsiteY13" fmla="*/ 0 h 6858000"/>
              <a:gd name="connsiteX0" fmla="*/ 0 w 12235176"/>
              <a:gd name="connsiteY0" fmla="*/ 0 h 6858000"/>
              <a:gd name="connsiteX1" fmla="*/ 7977675 w 12235176"/>
              <a:gd name="connsiteY1" fmla="*/ 0 h 6858000"/>
              <a:gd name="connsiteX2" fmla="*/ 7977675 w 12235176"/>
              <a:gd name="connsiteY2" fmla="*/ 2976381 h 6858000"/>
              <a:gd name="connsiteX3" fmla="*/ 7864713 w 12235176"/>
              <a:gd name="connsiteY3" fmla="*/ 3172039 h 6858000"/>
              <a:gd name="connsiteX4" fmla="*/ 7856303 w 12235176"/>
              <a:gd name="connsiteY4" fmla="*/ 3192400 h 6858000"/>
              <a:gd name="connsiteX5" fmla="*/ 7853500 w 12235176"/>
              <a:gd name="connsiteY5" fmla="*/ 3213887 h 6858000"/>
              <a:gd name="connsiteX6" fmla="*/ 7856303 w 12235176"/>
              <a:gd name="connsiteY6" fmla="*/ 3235374 h 6858000"/>
              <a:gd name="connsiteX7" fmla="*/ 7864713 w 12235176"/>
              <a:gd name="connsiteY7" fmla="*/ 3255734 h 6858000"/>
              <a:gd name="connsiteX8" fmla="*/ 7977675 w 12235176"/>
              <a:gd name="connsiteY8" fmla="*/ 3451390 h 6858000"/>
              <a:gd name="connsiteX9" fmla="*/ 7977675 w 12235176"/>
              <a:gd name="connsiteY9" fmla="*/ 6855019 h 6858000"/>
              <a:gd name="connsiteX10" fmla="*/ 12235176 w 12235176"/>
              <a:gd name="connsiteY10" fmla="*/ 6855019 h 6858000"/>
              <a:gd name="connsiteX11" fmla="*/ 0 w 12235176"/>
              <a:gd name="connsiteY11" fmla="*/ 6858000 h 6858000"/>
              <a:gd name="connsiteX12" fmla="*/ 0 w 12235176"/>
              <a:gd name="connsiteY12" fmla="*/ 0 h 6858000"/>
              <a:gd name="connsiteX0" fmla="*/ 0 w 7977675"/>
              <a:gd name="connsiteY0" fmla="*/ 0 h 6858000"/>
              <a:gd name="connsiteX1" fmla="*/ 7977675 w 7977675"/>
              <a:gd name="connsiteY1" fmla="*/ 0 h 6858000"/>
              <a:gd name="connsiteX2" fmla="*/ 7977675 w 7977675"/>
              <a:gd name="connsiteY2" fmla="*/ 2976381 h 6858000"/>
              <a:gd name="connsiteX3" fmla="*/ 7864713 w 7977675"/>
              <a:gd name="connsiteY3" fmla="*/ 3172039 h 6858000"/>
              <a:gd name="connsiteX4" fmla="*/ 7856303 w 7977675"/>
              <a:gd name="connsiteY4" fmla="*/ 3192400 h 6858000"/>
              <a:gd name="connsiteX5" fmla="*/ 7853500 w 7977675"/>
              <a:gd name="connsiteY5" fmla="*/ 3213887 h 6858000"/>
              <a:gd name="connsiteX6" fmla="*/ 7856303 w 7977675"/>
              <a:gd name="connsiteY6" fmla="*/ 3235374 h 6858000"/>
              <a:gd name="connsiteX7" fmla="*/ 7864713 w 7977675"/>
              <a:gd name="connsiteY7" fmla="*/ 3255734 h 6858000"/>
              <a:gd name="connsiteX8" fmla="*/ 7977675 w 7977675"/>
              <a:gd name="connsiteY8" fmla="*/ 3451390 h 6858000"/>
              <a:gd name="connsiteX9" fmla="*/ 7977675 w 7977675"/>
              <a:gd name="connsiteY9" fmla="*/ 6855019 h 6858000"/>
              <a:gd name="connsiteX10" fmla="*/ 0 w 7977675"/>
              <a:gd name="connsiteY10" fmla="*/ 6858000 h 6858000"/>
              <a:gd name="connsiteX11" fmla="*/ 0 w 7977675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77675" h="6858000">
                <a:moveTo>
                  <a:pt x="0" y="0"/>
                </a:moveTo>
                <a:lnTo>
                  <a:pt x="7977675" y="0"/>
                </a:lnTo>
                <a:lnTo>
                  <a:pt x="7977675" y="2976381"/>
                </a:lnTo>
                <a:lnTo>
                  <a:pt x="7864713" y="3172039"/>
                </a:lnTo>
                <a:lnTo>
                  <a:pt x="7856303" y="3192400"/>
                </a:lnTo>
                <a:lnTo>
                  <a:pt x="7853500" y="3213887"/>
                </a:lnTo>
                <a:lnTo>
                  <a:pt x="7856303" y="3235374"/>
                </a:lnTo>
                <a:lnTo>
                  <a:pt x="7864713" y="3255734"/>
                </a:lnTo>
                <a:lnTo>
                  <a:pt x="7977675" y="3451390"/>
                </a:lnTo>
                <a:lnTo>
                  <a:pt x="7977675" y="6855019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 flipH="1">
            <a:off x="7790567" y="-7000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399370" y="2843784"/>
            <a:ext cx="3481094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9370" y="3456432"/>
            <a:ext cx="3481094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923552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270333" y="-9062"/>
            <a:ext cx="7931990" cy="6879763"/>
          </a:xfrm>
          <a:custGeom>
            <a:avLst/>
            <a:gdLst>
              <a:gd name="connsiteX0" fmla="*/ 110002 w 12318083"/>
              <a:gd name="connsiteY0" fmla="*/ 0 h 6868000"/>
              <a:gd name="connsiteX1" fmla="*/ 12318083 w 12318083"/>
              <a:gd name="connsiteY1" fmla="*/ 10000 h 6868000"/>
              <a:gd name="connsiteX2" fmla="*/ 12318083 w 12318083"/>
              <a:gd name="connsiteY2" fmla="*/ 6868000 h 6868000"/>
              <a:gd name="connsiteX3" fmla="*/ 4380409 w 12318083"/>
              <a:gd name="connsiteY3" fmla="*/ 6868000 h 6868000"/>
              <a:gd name="connsiteX4" fmla="*/ 4380409 w 12318083"/>
              <a:gd name="connsiteY4" fmla="*/ 3464371 h 6868000"/>
              <a:gd name="connsiteX5" fmla="*/ 4493371 w 12318083"/>
              <a:gd name="connsiteY5" fmla="*/ 3268715 h 6868000"/>
              <a:gd name="connsiteX6" fmla="*/ 4501781 w 12318083"/>
              <a:gd name="connsiteY6" fmla="*/ 3248355 h 6868000"/>
              <a:gd name="connsiteX7" fmla="*/ 4504584 w 12318083"/>
              <a:gd name="connsiteY7" fmla="*/ 3226868 h 6868000"/>
              <a:gd name="connsiteX8" fmla="*/ 4501781 w 12318083"/>
              <a:gd name="connsiteY8" fmla="*/ 3205381 h 6868000"/>
              <a:gd name="connsiteX9" fmla="*/ 4493371 w 12318083"/>
              <a:gd name="connsiteY9" fmla="*/ 3185020 h 6868000"/>
              <a:gd name="connsiteX10" fmla="*/ 4380409 w 12318083"/>
              <a:gd name="connsiteY10" fmla="*/ 2989362 h 6868000"/>
              <a:gd name="connsiteX11" fmla="*/ 4380409 w 12318083"/>
              <a:gd name="connsiteY11" fmla="*/ 12981 h 6868000"/>
              <a:gd name="connsiteX12" fmla="*/ 122908 w 12318083"/>
              <a:gd name="connsiteY12" fmla="*/ 12981 h 6868000"/>
              <a:gd name="connsiteX13" fmla="*/ 122908 w 12318083"/>
              <a:gd name="connsiteY13" fmla="*/ 6868000 h 6868000"/>
              <a:gd name="connsiteX14" fmla="*/ 0 w 12318083"/>
              <a:gd name="connsiteY14" fmla="*/ 6868000 h 6868000"/>
              <a:gd name="connsiteX15" fmla="*/ 110002 w 12318083"/>
              <a:gd name="connsiteY15" fmla="*/ 0 h 6868000"/>
              <a:gd name="connsiteX0" fmla="*/ 0 w 12208081"/>
              <a:gd name="connsiteY0" fmla="*/ 0 h 6868000"/>
              <a:gd name="connsiteX1" fmla="*/ 12208081 w 12208081"/>
              <a:gd name="connsiteY1" fmla="*/ 10000 h 6868000"/>
              <a:gd name="connsiteX2" fmla="*/ 12208081 w 12208081"/>
              <a:gd name="connsiteY2" fmla="*/ 6868000 h 6868000"/>
              <a:gd name="connsiteX3" fmla="*/ 4270407 w 12208081"/>
              <a:gd name="connsiteY3" fmla="*/ 6868000 h 6868000"/>
              <a:gd name="connsiteX4" fmla="*/ 4270407 w 12208081"/>
              <a:gd name="connsiteY4" fmla="*/ 3464371 h 6868000"/>
              <a:gd name="connsiteX5" fmla="*/ 4383369 w 12208081"/>
              <a:gd name="connsiteY5" fmla="*/ 3268715 h 6868000"/>
              <a:gd name="connsiteX6" fmla="*/ 4391779 w 12208081"/>
              <a:gd name="connsiteY6" fmla="*/ 3248355 h 6868000"/>
              <a:gd name="connsiteX7" fmla="*/ 4394582 w 12208081"/>
              <a:gd name="connsiteY7" fmla="*/ 3226868 h 6868000"/>
              <a:gd name="connsiteX8" fmla="*/ 4391779 w 12208081"/>
              <a:gd name="connsiteY8" fmla="*/ 3205381 h 6868000"/>
              <a:gd name="connsiteX9" fmla="*/ 4383369 w 12208081"/>
              <a:gd name="connsiteY9" fmla="*/ 3185020 h 6868000"/>
              <a:gd name="connsiteX10" fmla="*/ 4270407 w 12208081"/>
              <a:gd name="connsiteY10" fmla="*/ 2989362 h 6868000"/>
              <a:gd name="connsiteX11" fmla="*/ 4270407 w 12208081"/>
              <a:gd name="connsiteY11" fmla="*/ 12981 h 6868000"/>
              <a:gd name="connsiteX12" fmla="*/ 12906 w 12208081"/>
              <a:gd name="connsiteY12" fmla="*/ 12981 h 6868000"/>
              <a:gd name="connsiteX13" fmla="*/ 12906 w 12208081"/>
              <a:gd name="connsiteY13" fmla="*/ 6868000 h 6868000"/>
              <a:gd name="connsiteX14" fmla="*/ 10000 w 12208081"/>
              <a:gd name="connsiteY14" fmla="*/ 6857999 h 6868000"/>
              <a:gd name="connsiteX15" fmla="*/ 0 w 12208081"/>
              <a:gd name="connsiteY15" fmla="*/ 0 h 6868000"/>
              <a:gd name="connsiteX0" fmla="*/ 0 w 12238081"/>
              <a:gd name="connsiteY0" fmla="*/ 0 h 6868000"/>
              <a:gd name="connsiteX1" fmla="*/ 12238081 w 12238081"/>
              <a:gd name="connsiteY1" fmla="*/ 10000 h 6868000"/>
              <a:gd name="connsiteX2" fmla="*/ 12208081 w 12238081"/>
              <a:gd name="connsiteY2" fmla="*/ 6868000 h 6868000"/>
              <a:gd name="connsiteX3" fmla="*/ 4270407 w 12238081"/>
              <a:gd name="connsiteY3" fmla="*/ 6868000 h 6868000"/>
              <a:gd name="connsiteX4" fmla="*/ 4270407 w 12238081"/>
              <a:gd name="connsiteY4" fmla="*/ 3464371 h 6868000"/>
              <a:gd name="connsiteX5" fmla="*/ 4383369 w 12238081"/>
              <a:gd name="connsiteY5" fmla="*/ 3268715 h 6868000"/>
              <a:gd name="connsiteX6" fmla="*/ 4391779 w 12238081"/>
              <a:gd name="connsiteY6" fmla="*/ 3248355 h 6868000"/>
              <a:gd name="connsiteX7" fmla="*/ 4394582 w 12238081"/>
              <a:gd name="connsiteY7" fmla="*/ 3226868 h 6868000"/>
              <a:gd name="connsiteX8" fmla="*/ 4391779 w 12238081"/>
              <a:gd name="connsiteY8" fmla="*/ 3205381 h 6868000"/>
              <a:gd name="connsiteX9" fmla="*/ 4383369 w 12238081"/>
              <a:gd name="connsiteY9" fmla="*/ 3185020 h 6868000"/>
              <a:gd name="connsiteX10" fmla="*/ 4270407 w 12238081"/>
              <a:gd name="connsiteY10" fmla="*/ 2989362 h 6868000"/>
              <a:gd name="connsiteX11" fmla="*/ 4270407 w 12238081"/>
              <a:gd name="connsiteY11" fmla="*/ 12981 h 6868000"/>
              <a:gd name="connsiteX12" fmla="*/ 12906 w 12238081"/>
              <a:gd name="connsiteY12" fmla="*/ 12981 h 6868000"/>
              <a:gd name="connsiteX13" fmla="*/ 12906 w 12238081"/>
              <a:gd name="connsiteY13" fmla="*/ 6868000 h 6868000"/>
              <a:gd name="connsiteX14" fmla="*/ 10000 w 12238081"/>
              <a:gd name="connsiteY14" fmla="*/ 6857999 h 6868000"/>
              <a:gd name="connsiteX15" fmla="*/ 0 w 1223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12906 w 12248081"/>
              <a:gd name="connsiteY12" fmla="*/ 12981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67538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0 w 12248081"/>
              <a:gd name="connsiteY14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0 w 12248081"/>
              <a:gd name="connsiteY13" fmla="*/ 0 h 6868000"/>
              <a:gd name="connsiteX0" fmla="*/ 0 w 12244739"/>
              <a:gd name="connsiteY0" fmla="*/ 0 h 6864558"/>
              <a:gd name="connsiteX1" fmla="*/ 12234739 w 12244739"/>
              <a:gd name="connsiteY1" fmla="*/ 6558 h 6864558"/>
              <a:gd name="connsiteX2" fmla="*/ 12244739 w 12244739"/>
              <a:gd name="connsiteY2" fmla="*/ 6864558 h 6864558"/>
              <a:gd name="connsiteX3" fmla="*/ 4267065 w 12244739"/>
              <a:gd name="connsiteY3" fmla="*/ 6864558 h 6864558"/>
              <a:gd name="connsiteX4" fmla="*/ 4267065 w 12244739"/>
              <a:gd name="connsiteY4" fmla="*/ 3460929 h 6864558"/>
              <a:gd name="connsiteX5" fmla="*/ 4380027 w 12244739"/>
              <a:gd name="connsiteY5" fmla="*/ 3265273 h 6864558"/>
              <a:gd name="connsiteX6" fmla="*/ 4388437 w 12244739"/>
              <a:gd name="connsiteY6" fmla="*/ 3244913 h 6864558"/>
              <a:gd name="connsiteX7" fmla="*/ 4391240 w 12244739"/>
              <a:gd name="connsiteY7" fmla="*/ 3223426 h 6864558"/>
              <a:gd name="connsiteX8" fmla="*/ 4388437 w 12244739"/>
              <a:gd name="connsiteY8" fmla="*/ 3201939 h 6864558"/>
              <a:gd name="connsiteX9" fmla="*/ 4380027 w 12244739"/>
              <a:gd name="connsiteY9" fmla="*/ 3181578 h 6864558"/>
              <a:gd name="connsiteX10" fmla="*/ 4267065 w 12244739"/>
              <a:gd name="connsiteY10" fmla="*/ 2985920 h 6864558"/>
              <a:gd name="connsiteX11" fmla="*/ 4267065 w 12244739"/>
              <a:gd name="connsiteY11" fmla="*/ 0 h 6864558"/>
              <a:gd name="connsiteX12" fmla="*/ 0 w 12244739"/>
              <a:gd name="connsiteY12" fmla="*/ 0 h 6864558"/>
              <a:gd name="connsiteX0" fmla="*/ 0 w 7977674"/>
              <a:gd name="connsiteY0" fmla="*/ 0 h 6864558"/>
              <a:gd name="connsiteX1" fmla="*/ 7967674 w 7977674"/>
              <a:gd name="connsiteY1" fmla="*/ 6558 h 6864558"/>
              <a:gd name="connsiteX2" fmla="*/ 7977674 w 7977674"/>
              <a:gd name="connsiteY2" fmla="*/ 6864558 h 6864558"/>
              <a:gd name="connsiteX3" fmla="*/ 0 w 7977674"/>
              <a:gd name="connsiteY3" fmla="*/ 6864558 h 6864558"/>
              <a:gd name="connsiteX4" fmla="*/ 0 w 7977674"/>
              <a:gd name="connsiteY4" fmla="*/ 3460929 h 6864558"/>
              <a:gd name="connsiteX5" fmla="*/ 112962 w 7977674"/>
              <a:gd name="connsiteY5" fmla="*/ 3265273 h 6864558"/>
              <a:gd name="connsiteX6" fmla="*/ 121372 w 7977674"/>
              <a:gd name="connsiteY6" fmla="*/ 3244913 h 6864558"/>
              <a:gd name="connsiteX7" fmla="*/ 124175 w 7977674"/>
              <a:gd name="connsiteY7" fmla="*/ 3223426 h 6864558"/>
              <a:gd name="connsiteX8" fmla="*/ 121372 w 7977674"/>
              <a:gd name="connsiteY8" fmla="*/ 3201939 h 6864558"/>
              <a:gd name="connsiteX9" fmla="*/ 112962 w 7977674"/>
              <a:gd name="connsiteY9" fmla="*/ 3181578 h 6864558"/>
              <a:gd name="connsiteX10" fmla="*/ 0 w 7977674"/>
              <a:gd name="connsiteY10" fmla="*/ 2985920 h 6864558"/>
              <a:gd name="connsiteX11" fmla="*/ 0 w 7977674"/>
              <a:gd name="connsiteY11" fmla="*/ 0 h 6864558"/>
              <a:gd name="connsiteX0" fmla="*/ 0 w 7977674"/>
              <a:gd name="connsiteY0" fmla="*/ 0 h 6874097"/>
              <a:gd name="connsiteX1" fmla="*/ 7967674 w 7977674"/>
              <a:gd name="connsiteY1" fmla="*/ 16097 h 6874097"/>
              <a:gd name="connsiteX2" fmla="*/ 7977674 w 7977674"/>
              <a:gd name="connsiteY2" fmla="*/ 6874097 h 6874097"/>
              <a:gd name="connsiteX3" fmla="*/ 0 w 7977674"/>
              <a:gd name="connsiteY3" fmla="*/ 6874097 h 6874097"/>
              <a:gd name="connsiteX4" fmla="*/ 0 w 7977674"/>
              <a:gd name="connsiteY4" fmla="*/ 3470468 h 6874097"/>
              <a:gd name="connsiteX5" fmla="*/ 112962 w 7977674"/>
              <a:gd name="connsiteY5" fmla="*/ 3274812 h 6874097"/>
              <a:gd name="connsiteX6" fmla="*/ 121372 w 7977674"/>
              <a:gd name="connsiteY6" fmla="*/ 3254452 h 6874097"/>
              <a:gd name="connsiteX7" fmla="*/ 124175 w 7977674"/>
              <a:gd name="connsiteY7" fmla="*/ 3232965 h 6874097"/>
              <a:gd name="connsiteX8" fmla="*/ 121372 w 7977674"/>
              <a:gd name="connsiteY8" fmla="*/ 3211478 h 6874097"/>
              <a:gd name="connsiteX9" fmla="*/ 112962 w 7977674"/>
              <a:gd name="connsiteY9" fmla="*/ 3191117 h 6874097"/>
              <a:gd name="connsiteX10" fmla="*/ 0 w 7977674"/>
              <a:gd name="connsiteY10" fmla="*/ 2995459 h 6874097"/>
              <a:gd name="connsiteX11" fmla="*/ 0 w 7977674"/>
              <a:gd name="connsiteY11" fmla="*/ 0 h 6874097"/>
              <a:gd name="connsiteX0" fmla="*/ 0 w 7977674"/>
              <a:gd name="connsiteY0" fmla="*/ 0 h 6883636"/>
              <a:gd name="connsiteX1" fmla="*/ 7967674 w 7977674"/>
              <a:gd name="connsiteY1" fmla="*/ 16097 h 6883636"/>
              <a:gd name="connsiteX2" fmla="*/ 7977674 w 7977674"/>
              <a:gd name="connsiteY2" fmla="*/ 6874097 h 6883636"/>
              <a:gd name="connsiteX3" fmla="*/ 0 w 7977674"/>
              <a:gd name="connsiteY3" fmla="*/ 6883636 h 6883636"/>
              <a:gd name="connsiteX4" fmla="*/ 0 w 7977674"/>
              <a:gd name="connsiteY4" fmla="*/ 3470468 h 6883636"/>
              <a:gd name="connsiteX5" fmla="*/ 112962 w 7977674"/>
              <a:gd name="connsiteY5" fmla="*/ 3274812 h 6883636"/>
              <a:gd name="connsiteX6" fmla="*/ 121372 w 7977674"/>
              <a:gd name="connsiteY6" fmla="*/ 3254452 h 6883636"/>
              <a:gd name="connsiteX7" fmla="*/ 124175 w 7977674"/>
              <a:gd name="connsiteY7" fmla="*/ 3232965 h 6883636"/>
              <a:gd name="connsiteX8" fmla="*/ 121372 w 7977674"/>
              <a:gd name="connsiteY8" fmla="*/ 3211478 h 6883636"/>
              <a:gd name="connsiteX9" fmla="*/ 112962 w 7977674"/>
              <a:gd name="connsiteY9" fmla="*/ 3191117 h 6883636"/>
              <a:gd name="connsiteX10" fmla="*/ 0 w 7977674"/>
              <a:gd name="connsiteY10" fmla="*/ 2995459 h 6883636"/>
              <a:gd name="connsiteX11" fmla="*/ 0 w 7977674"/>
              <a:gd name="connsiteY11" fmla="*/ 0 h 6883636"/>
              <a:gd name="connsiteX0" fmla="*/ 0 w 7968240"/>
              <a:gd name="connsiteY0" fmla="*/ 0 h 6886816"/>
              <a:gd name="connsiteX1" fmla="*/ 7967674 w 7968240"/>
              <a:gd name="connsiteY1" fmla="*/ 16097 h 6886816"/>
              <a:gd name="connsiteX2" fmla="*/ 7961735 w 7968240"/>
              <a:gd name="connsiteY2" fmla="*/ 6886816 h 6886816"/>
              <a:gd name="connsiteX3" fmla="*/ 0 w 7968240"/>
              <a:gd name="connsiteY3" fmla="*/ 6883636 h 6886816"/>
              <a:gd name="connsiteX4" fmla="*/ 0 w 7968240"/>
              <a:gd name="connsiteY4" fmla="*/ 3470468 h 6886816"/>
              <a:gd name="connsiteX5" fmla="*/ 112962 w 7968240"/>
              <a:gd name="connsiteY5" fmla="*/ 3274812 h 6886816"/>
              <a:gd name="connsiteX6" fmla="*/ 121372 w 7968240"/>
              <a:gd name="connsiteY6" fmla="*/ 3254452 h 6886816"/>
              <a:gd name="connsiteX7" fmla="*/ 124175 w 7968240"/>
              <a:gd name="connsiteY7" fmla="*/ 3232965 h 6886816"/>
              <a:gd name="connsiteX8" fmla="*/ 121372 w 7968240"/>
              <a:gd name="connsiteY8" fmla="*/ 3211478 h 6886816"/>
              <a:gd name="connsiteX9" fmla="*/ 112962 w 7968240"/>
              <a:gd name="connsiteY9" fmla="*/ 3191117 h 6886816"/>
              <a:gd name="connsiteX10" fmla="*/ 0 w 7968240"/>
              <a:gd name="connsiteY10" fmla="*/ 2995459 h 6886816"/>
              <a:gd name="connsiteX11" fmla="*/ 0 w 7968240"/>
              <a:gd name="connsiteY11" fmla="*/ 0 h 6886816"/>
              <a:gd name="connsiteX0" fmla="*/ 0 w 7965212"/>
              <a:gd name="connsiteY0" fmla="*/ 0 h 6886816"/>
              <a:gd name="connsiteX1" fmla="*/ 7964487 w 7965212"/>
              <a:gd name="connsiteY1" fmla="*/ 3379 h 6886816"/>
              <a:gd name="connsiteX2" fmla="*/ 7961735 w 7965212"/>
              <a:gd name="connsiteY2" fmla="*/ 6886816 h 6886816"/>
              <a:gd name="connsiteX3" fmla="*/ 0 w 7965212"/>
              <a:gd name="connsiteY3" fmla="*/ 6883636 h 6886816"/>
              <a:gd name="connsiteX4" fmla="*/ 0 w 7965212"/>
              <a:gd name="connsiteY4" fmla="*/ 3470468 h 6886816"/>
              <a:gd name="connsiteX5" fmla="*/ 112962 w 7965212"/>
              <a:gd name="connsiteY5" fmla="*/ 3274812 h 6886816"/>
              <a:gd name="connsiteX6" fmla="*/ 121372 w 7965212"/>
              <a:gd name="connsiteY6" fmla="*/ 3254452 h 6886816"/>
              <a:gd name="connsiteX7" fmla="*/ 124175 w 7965212"/>
              <a:gd name="connsiteY7" fmla="*/ 3232965 h 6886816"/>
              <a:gd name="connsiteX8" fmla="*/ 121372 w 7965212"/>
              <a:gd name="connsiteY8" fmla="*/ 3211478 h 6886816"/>
              <a:gd name="connsiteX9" fmla="*/ 112962 w 7965212"/>
              <a:gd name="connsiteY9" fmla="*/ 3191117 h 6886816"/>
              <a:gd name="connsiteX10" fmla="*/ 0 w 7965212"/>
              <a:gd name="connsiteY10" fmla="*/ 2995459 h 6886816"/>
              <a:gd name="connsiteX11" fmla="*/ 0 w 7965212"/>
              <a:gd name="connsiteY11" fmla="*/ 0 h 6886816"/>
              <a:gd name="connsiteX0" fmla="*/ 0 w 7961735"/>
              <a:gd name="connsiteY0" fmla="*/ 2980 h 6889796"/>
              <a:gd name="connsiteX1" fmla="*/ 7958112 w 7961735"/>
              <a:gd name="connsiteY1" fmla="*/ 0 h 6889796"/>
              <a:gd name="connsiteX2" fmla="*/ 7961735 w 7961735"/>
              <a:gd name="connsiteY2" fmla="*/ 6889796 h 6889796"/>
              <a:gd name="connsiteX3" fmla="*/ 0 w 7961735"/>
              <a:gd name="connsiteY3" fmla="*/ 6886616 h 6889796"/>
              <a:gd name="connsiteX4" fmla="*/ 0 w 7961735"/>
              <a:gd name="connsiteY4" fmla="*/ 3473448 h 6889796"/>
              <a:gd name="connsiteX5" fmla="*/ 112962 w 7961735"/>
              <a:gd name="connsiteY5" fmla="*/ 3277792 h 6889796"/>
              <a:gd name="connsiteX6" fmla="*/ 121372 w 7961735"/>
              <a:gd name="connsiteY6" fmla="*/ 3257432 h 6889796"/>
              <a:gd name="connsiteX7" fmla="*/ 124175 w 7961735"/>
              <a:gd name="connsiteY7" fmla="*/ 3235945 h 6889796"/>
              <a:gd name="connsiteX8" fmla="*/ 121372 w 7961735"/>
              <a:gd name="connsiteY8" fmla="*/ 3214458 h 6889796"/>
              <a:gd name="connsiteX9" fmla="*/ 112962 w 7961735"/>
              <a:gd name="connsiteY9" fmla="*/ 3194097 h 6889796"/>
              <a:gd name="connsiteX10" fmla="*/ 0 w 7961735"/>
              <a:gd name="connsiteY10" fmla="*/ 2998439 h 6889796"/>
              <a:gd name="connsiteX11" fmla="*/ 0 w 7961735"/>
              <a:gd name="connsiteY11" fmla="*/ 2980 h 688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61735" h="6889796">
                <a:moveTo>
                  <a:pt x="0" y="2980"/>
                </a:moveTo>
                <a:lnTo>
                  <a:pt x="7958112" y="0"/>
                </a:lnTo>
                <a:cubicBezTo>
                  <a:pt x="7961445" y="2286000"/>
                  <a:pt x="7958402" y="4603796"/>
                  <a:pt x="7961735" y="6889796"/>
                </a:cubicBezTo>
                <a:lnTo>
                  <a:pt x="0" y="6886616"/>
                </a:lnTo>
                <a:lnTo>
                  <a:pt x="0" y="3473448"/>
                </a:lnTo>
                <a:lnTo>
                  <a:pt x="112962" y="3277792"/>
                </a:lnTo>
                <a:lnTo>
                  <a:pt x="121372" y="3257432"/>
                </a:lnTo>
                <a:lnTo>
                  <a:pt x="124175" y="3235945"/>
                </a:lnTo>
                <a:lnTo>
                  <a:pt x="121372" y="3214458"/>
                </a:lnTo>
                <a:lnTo>
                  <a:pt x="112962" y="3194097"/>
                </a:lnTo>
                <a:lnTo>
                  <a:pt x="0" y="2998439"/>
                </a:lnTo>
                <a:lnTo>
                  <a:pt x="0" y="298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>
            <a:off x="3" y="2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940" y="2843784"/>
            <a:ext cx="3581070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940" y="3456432"/>
            <a:ext cx="3581070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012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3216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3174" y="3"/>
            <a:ext cx="4169861" cy="5228547"/>
          </a:xfrm>
          <a:custGeom>
            <a:avLst/>
            <a:gdLst/>
            <a:ahLst/>
            <a:cxnLst/>
            <a:rect l="l" t="t" r="r" b="b"/>
            <a:pathLst>
              <a:path w="4168775" h="5032149">
                <a:moveTo>
                  <a:pt x="0" y="0"/>
                </a:moveTo>
                <a:lnTo>
                  <a:pt x="4168775" y="0"/>
                </a:lnTo>
                <a:lnTo>
                  <a:pt x="4168775" y="4862512"/>
                </a:lnTo>
                <a:lnTo>
                  <a:pt x="1181884" y="4862512"/>
                </a:lnTo>
                <a:lnTo>
                  <a:pt x="910030" y="5032149"/>
                </a:lnTo>
                <a:lnTo>
                  <a:pt x="638176" y="4862512"/>
                </a:lnTo>
                <a:lnTo>
                  <a:pt x="0" y="4862512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4014247" y="2402421"/>
            <a:ext cx="4131751" cy="265059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3" name="Picture Placeholder 28"/>
          <p:cNvSpPr>
            <a:spLocks noGrp="1"/>
          </p:cNvSpPr>
          <p:nvPr>
            <p:ph type="pic" sz="quarter" idx="15"/>
          </p:nvPr>
        </p:nvSpPr>
        <p:spPr>
          <a:xfrm>
            <a:off x="8133294" y="2402417"/>
            <a:ext cx="4067844" cy="2650596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4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014247" y="0"/>
            <a:ext cx="4131751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28"/>
          <p:cNvSpPr>
            <a:spLocks noGrp="1"/>
          </p:cNvSpPr>
          <p:nvPr>
            <p:ph type="pic" sz="quarter" idx="14"/>
          </p:nvPr>
        </p:nvSpPr>
        <p:spPr>
          <a:xfrm>
            <a:off x="8133294" y="0"/>
            <a:ext cx="4067844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6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1" name="Picture 10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060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169861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70947" h="5187360">
                <a:moveTo>
                  <a:pt x="0" y="0"/>
                </a:moveTo>
                <a:lnTo>
                  <a:pt x="4161417" y="0"/>
                </a:lnTo>
                <a:cubicBezTo>
                  <a:pt x="4164594" y="1684338"/>
                  <a:pt x="4167770" y="3368675"/>
                  <a:pt x="4170947" y="5053013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43491"/>
            <a:ext cx="12192000" cy="1824037"/>
          </a:xfrm>
          <a:custGeom>
            <a:avLst/>
            <a:gdLst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0498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2403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182403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24037"/>
                </a:lnTo>
                <a:lnTo>
                  <a:pt x="0" y="182403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2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52623" y="2"/>
            <a:ext cx="4049179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8192984" y="0"/>
            <a:ext cx="3999016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230160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4118268" y="2515128"/>
            <a:ext cx="3966155" cy="253841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8"/>
          <p:cNvSpPr>
            <a:spLocks noGrp="1"/>
          </p:cNvSpPr>
          <p:nvPr>
            <p:ph type="pic" sz="quarter" idx="15"/>
          </p:nvPr>
        </p:nvSpPr>
        <p:spPr>
          <a:xfrm>
            <a:off x="8086367" y="2514601"/>
            <a:ext cx="4105635" cy="2538412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18268" y="0"/>
            <a:ext cx="3966155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8"/>
          <p:cNvSpPr>
            <a:spLocks noGrp="1"/>
          </p:cNvSpPr>
          <p:nvPr>
            <p:ph type="pic" sz="quarter" idx="14"/>
          </p:nvPr>
        </p:nvSpPr>
        <p:spPr>
          <a:xfrm>
            <a:off x="8086366" y="0"/>
            <a:ext cx="4116327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53016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  <p:sp>
        <p:nvSpPr>
          <p:cNvPr id="17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120532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70947"/>
              <a:gd name="connsiteY0" fmla="*/ 0 h 5187360"/>
              <a:gd name="connsiteX1" fmla="*/ 4120756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6400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3225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21605" h="5187360">
                <a:moveTo>
                  <a:pt x="0" y="0"/>
                </a:moveTo>
                <a:lnTo>
                  <a:pt x="4120756" y="0"/>
                </a:lnTo>
                <a:cubicBezTo>
                  <a:pt x="4123933" y="1684338"/>
                  <a:pt x="4116944" y="3368887"/>
                  <a:pt x="4120121" y="5053225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01316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853" y="412630"/>
            <a:ext cx="11108653" cy="525401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915" y="1514475"/>
            <a:ext cx="11125415" cy="44926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34853" y="914400"/>
            <a:ext cx="11125477" cy="395302"/>
          </a:xfrm>
        </p:spPr>
        <p:txBody>
          <a:bodyPr tIns="46800"/>
          <a:lstStyle>
            <a:lvl1pPr marL="0" indent="0">
              <a:spcBef>
                <a:spcPts val="830"/>
              </a:spcBef>
              <a:buFontTx/>
              <a:buNone/>
              <a:defRPr sz="1998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raft version Sep 2021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11788777" y="122239"/>
            <a:ext cx="296863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DEE386-DF82-4498-841F-B5A899040D6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4972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801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4A7FF9A-C757-F743-BC9F-9DE17F1A1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97088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2"/>
          <p:cNvSpPr>
            <a:spLocks/>
          </p:cNvSpPr>
          <p:nvPr userDrawn="1"/>
        </p:nvSpPr>
        <p:spPr bwMode="auto">
          <a:xfrm>
            <a:off x="-2" y="3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8" name="object 5"/>
          <p:cNvSpPr>
            <a:spLocks/>
          </p:cNvSpPr>
          <p:nvPr userDrawn="1"/>
        </p:nvSpPr>
        <p:spPr bwMode="auto">
          <a:xfrm>
            <a:off x="1" y="5688016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978153" y="2075687"/>
            <a:ext cx="10247756" cy="932688"/>
          </a:xfrm>
        </p:spPr>
        <p:txBody>
          <a:bodyPr wrap="square" anchor="ctr" anchorCtr="0">
            <a:noAutofit/>
          </a:bodyPr>
          <a:lstStyle>
            <a:lvl1pPr algn="ctr">
              <a:defRPr sz="60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969012" y="3218689"/>
            <a:ext cx="10247756" cy="594360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6135842"/>
            <a:ext cx="1177486" cy="3188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2938742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rand Promise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/>
          <p:nvPr userDrawn="1"/>
        </p:nvSpPr>
        <p:spPr>
          <a:xfrm>
            <a:off x="1" y="0"/>
            <a:ext cx="1220127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object 4"/>
          <p:cNvSpPr txBox="1">
            <a:spLocks/>
          </p:cNvSpPr>
          <p:nvPr userDrawn="1"/>
        </p:nvSpPr>
        <p:spPr>
          <a:xfrm>
            <a:off x="2695200" y="1664567"/>
            <a:ext cx="5176750" cy="551433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 fontAlgn="auto">
              <a:spcBef>
                <a:spcPts val="100"/>
              </a:spcBef>
              <a:spcAft>
                <a:spcPts val="0"/>
              </a:spcAft>
              <a:defRPr/>
            </a:pP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United.</a:t>
            </a:r>
            <a:r>
              <a:rPr lang="en-US" sz="3500" b="1" spc="1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Inspired.</a:t>
            </a:r>
            <a:endParaRPr lang="en-US" sz="3500">
              <a:latin typeface="Arial"/>
              <a:cs typeface="Arial"/>
            </a:endParaRPr>
          </a:p>
        </p:txBody>
      </p:sp>
      <p:sp>
        <p:nvSpPr>
          <p:cNvPr id="21" name="object 5"/>
          <p:cNvSpPr txBox="1"/>
          <p:nvPr userDrawn="1"/>
        </p:nvSpPr>
        <p:spPr>
          <a:xfrm>
            <a:off x="2717093" y="2152536"/>
            <a:ext cx="8481393" cy="2307555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9pPr>
          </a:lstStyle>
          <a:p>
            <a:pPr>
              <a:lnSpc>
                <a:spcPct val="131000"/>
              </a:lnSpc>
              <a:spcBef>
                <a:spcPts val="100"/>
              </a:spcBef>
            </a:pP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Performance unites us, innovation inspires us,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and </a:t>
            </a:r>
            <a:r>
              <a:rPr lang="en-US" sz="2200" noProof="0">
                <a:solidFill>
                  <a:schemeClr val="tx1"/>
                </a:solidFill>
                <a:latin typeface="Arial" charset="0"/>
                <a:cs typeface="Arial" charset="0"/>
              </a:rPr>
              <a:t>commitment</a:t>
            </a: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 drives us to keep moving forward.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Count on Epiroc to deliver the solutions you need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to succeed today and the technology to lead tomorrow.</a:t>
            </a:r>
          </a:p>
          <a:p>
            <a:pPr>
              <a:spcBef>
                <a:spcPts val="50"/>
              </a:spcBef>
            </a:pPr>
            <a:endParaRPr lang="en-US" sz="1200">
              <a:latin typeface="Times New Roman" charset="0"/>
              <a:cs typeface="Times New Roman" charset="0"/>
            </a:endParaRPr>
          </a:p>
          <a:p>
            <a:r>
              <a:rPr lang="en-US" sz="2100" b="1">
                <a:solidFill>
                  <a:srgbClr val="FFFFFF"/>
                </a:solidFill>
                <a:latin typeface="Arial Black" charset="0"/>
                <a:cs typeface="Arial Black" charset="0"/>
              </a:rPr>
              <a:t>epiroc.com</a:t>
            </a:r>
            <a:endParaRPr lang="en-US" sz="2100">
              <a:latin typeface="Arial Black" charset="0"/>
              <a:cs typeface="Arial Black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1619" y="4746946"/>
            <a:ext cx="1728111" cy="4679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896204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5922" y="2296203"/>
            <a:ext cx="6792806" cy="18394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97877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age Photo - Grey Logo Bottom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9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8324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13374" y="2020826"/>
            <a:ext cx="7642370" cy="3984689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273" y="412752"/>
            <a:ext cx="9968921" cy="52387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8741304" y="2020824"/>
            <a:ext cx="2928881" cy="3840480"/>
          </a:xfrm>
        </p:spPr>
        <p:txBody>
          <a:bodyPr lIns="0" rIns="0"/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SzPct val="75000"/>
              <a:buFontTx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8414859" y="2020825"/>
            <a:ext cx="7434" cy="400232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31253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9" y="1517905"/>
            <a:ext cx="11332623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3350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rgbClr val="4255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59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" y="2"/>
            <a:ext cx="4113728" cy="5188959"/>
          </a:xfrm>
          <a:custGeom>
            <a:avLst/>
            <a:gdLst/>
            <a:ahLst/>
            <a:cxnLst/>
            <a:rect l="l" t="t" r="r" b="b"/>
            <a:pathLst>
              <a:path w="4114800" h="5188959">
                <a:moveTo>
                  <a:pt x="0" y="0"/>
                </a:moveTo>
                <a:lnTo>
                  <a:pt x="4114800" y="0"/>
                </a:lnTo>
                <a:lnTo>
                  <a:pt x="4114800" y="5053012"/>
                </a:lnTo>
                <a:lnTo>
                  <a:pt x="1148882" y="5053012"/>
                </a:lnTo>
                <a:lnTo>
                  <a:pt x="1147084" y="5057339"/>
                </a:lnTo>
                <a:lnTo>
                  <a:pt x="1140809" y="5065537"/>
                </a:lnTo>
                <a:lnTo>
                  <a:pt x="1132491" y="5071936"/>
                </a:lnTo>
                <a:lnTo>
                  <a:pt x="1120076" y="5079103"/>
                </a:lnTo>
                <a:lnTo>
                  <a:pt x="939050" y="5183617"/>
                </a:lnTo>
                <a:lnTo>
                  <a:pt x="929350" y="5187623"/>
                </a:lnTo>
                <a:lnTo>
                  <a:pt x="919113" y="5188959"/>
                </a:lnTo>
                <a:lnTo>
                  <a:pt x="908876" y="5187623"/>
                </a:lnTo>
                <a:lnTo>
                  <a:pt x="899175" y="5183617"/>
                </a:lnTo>
                <a:lnTo>
                  <a:pt x="705737" y="5071936"/>
                </a:lnTo>
                <a:lnTo>
                  <a:pt x="697417" y="5065537"/>
                </a:lnTo>
                <a:lnTo>
                  <a:pt x="691142" y="5057339"/>
                </a:lnTo>
                <a:lnTo>
                  <a:pt x="689344" y="5053012"/>
                </a:lnTo>
                <a:lnTo>
                  <a:pt x="0" y="5053012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2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072407" y="-1"/>
            <a:ext cx="4165026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0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8214762" y="-1"/>
            <a:ext cx="3970891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9" name="Picture 8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83607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1084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40" y="1503362"/>
            <a:ext cx="51869" cy="4489704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61181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829847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91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2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791300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6" y="1517906"/>
            <a:ext cx="5451244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1182" y="1517906"/>
            <a:ext cx="5460086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6365281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8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object 10"/>
          <p:cNvSpPr>
            <a:spLocks/>
          </p:cNvSpPr>
          <p:nvPr userDrawn="1"/>
        </p:nvSpPr>
        <p:spPr bwMode="auto">
          <a:xfrm>
            <a:off x="6090288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72059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7"/>
            <a:ext cx="5451244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65284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428626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999" y="1514476"/>
            <a:ext cx="5451244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3387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234521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2"/>
            <a:ext cx="5844538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150126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4815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9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6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73357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801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32092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8215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04117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rgbClr val="425563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rgbClr val="425563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rgbClr val="425563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84574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13374" y="2020824"/>
            <a:ext cx="7642370" cy="4069080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271" y="412751"/>
            <a:ext cx="9968921" cy="52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8741302" y="2249424"/>
            <a:ext cx="2670744" cy="3611880"/>
          </a:xfrm>
        </p:spPr>
        <p:txBody>
          <a:bodyPr lIns="0" rIns="0"/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SzPct val="75000"/>
              <a:buFontTx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8414859" y="1995788"/>
            <a:ext cx="0" cy="412261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4570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540" y="1514476"/>
            <a:ext cx="11136644" cy="449103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168645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33539" y="970473"/>
            <a:ext cx="11136644" cy="5035040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057975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4115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29891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59268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743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52271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13374" y="2020826"/>
            <a:ext cx="7642370" cy="3984689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273" y="412752"/>
            <a:ext cx="9968921" cy="52387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8741304" y="2020824"/>
            <a:ext cx="2928881" cy="3840480"/>
          </a:xfrm>
        </p:spPr>
        <p:txBody>
          <a:bodyPr lIns="0" rIns="0"/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SzPct val="75000"/>
              <a:buFontTx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8414859" y="2020825"/>
            <a:ext cx="7434" cy="400232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048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9" y="1517905"/>
            <a:ext cx="11332623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68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143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40" y="1503362"/>
            <a:ext cx="51869" cy="4489704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61181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144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91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2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239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11586" y="2020824"/>
            <a:ext cx="1829276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5167706" y="2012849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8"/>
          </p:nvPr>
        </p:nvSpPr>
        <p:spPr>
          <a:xfrm>
            <a:off x="9923825" y="2020824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515258" y="2023753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sz="half" idx="19"/>
          </p:nvPr>
        </p:nvSpPr>
        <p:spPr>
          <a:xfrm>
            <a:off x="2789647" y="2020824"/>
            <a:ext cx="1829276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H="1">
            <a:off x="4893317" y="2020826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271374" y="2020119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9649435" y="2028094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Content Placeholder 3"/>
          <p:cNvSpPr>
            <a:spLocks noGrp="1"/>
          </p:cNvSpPr>
          <p:nvPr>
            <p:ph sz="half" idx="20"/>
          </p:nvPr>
        </p:nvSpPr>
        <p:spPr>
          <a:xfrm>
            <a:off x="7545765" y="2020117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394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r>
              <a:rPr lang="en-US" noProof="0"/>
              <a:t>Master</a:t>
            </a:r>
            <a:r>
              <a:rPr lang="en-US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7" y="1517905"/>
            <a:ext cx="11359806" cy="4376229"/>
          </a:xfrm>
        </p:spPr>
        <p:txBody>
          <a:bodyPr lIns="91440" tIns="45720" rIns="9144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4713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6" y="1517906"/>
            <a:ext cx="5451244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1182" y="1517906"/>
            <a:ext cx="5460086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799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199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59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6365281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8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14" name="object 10"/>
          <p:cNvSpPr>
            <a:spLocks/>
          </p:cNvSpPr>
          <p:nvPr userDrawn="1"/>
        </p:nvSpPr>
        <p:spPr bwMode="auto">
          <a:xfrm>
            <a:off x="6090288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064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7"/>
            <a:ext cx="5451244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65284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486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999" y="1514476"/>
            <a:ext cx="5451244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3387" y="1514477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6395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2"/>
            <a:ext cx="5844538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150126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358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9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6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70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801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875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8215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04117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rgbClr val="425563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rgbClr val="425563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rgbClr val="425563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488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540" y="1514476"/>
            <a:ext cx="11136644" cy="449103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950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33539" y="970473"/>
            <a:ext cx="11136644" cy="5035040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799" indent="0">
              <a:buNone/>
              <a:defRPr sz="2000"/>
            </a:lvl5pPr>
            <a:lvl6pPr marL="2286000" indent="0">
              <a:buNone/>
              <a:defRPr sz="2000"/>
            </a:lvl6pPr>
            <a:lvl7pPr marL="2743199" indent="0">
              <a:buNone/>
              <a:defRPr sz="2000"/>
            </a:lvl7pPr>
            <a:lvl8pPr marL="3200400" indent="0">
              <a:buNone/>
              <a:defRPr sz="2000"/>
            </a:lvl8pPr>
            <a:lvl9pPr marL="365759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061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4115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29891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465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8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r>
              <a:rPr lang="en-US" noProof="0"/>
              <a:t>title</a:t>
            </a:r>
            <a:r>
              <a:rPr lang="en-US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7" y="1517904"/>
            <a:ext cx="11359616" cy="4379976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r>
              <a:rPr lang="en-US" noProof="0"/>
              <a:t>text</a:t>
            </a:r>
            <a:r>
              <a:rPr lang="en-US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2175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743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206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Pictures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3539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4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2042" y="6249379"/>
            <a:ext cx="388142" cy="193171"/>
          </a:xfrm>
          <a:prstGeom prst="rect">
            <a:avLst/>
          </a:prstGeom>
        </p:spPr>
        <p:txBody>
          <a:bodyPr vert="horz" wrap="square" lIns="54000" tIns="45720" rIns="54000" bIns="45720" rtlCol="0" anchor="t" anchorCtr="0">
            <a:noAutofit/>
          </a:bodyPr>
          <a:lstStyle>
            <a:lvl1pPr algn="r">
              <a:lnSpc>
                <a:spcPct val="100000"/>
              </a:lnSpc>
              <a:buFontTx/>
              <a:buNone/>
              <a:defRPr sz="900" b="0"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smtClean="0"/>
              <a:pPr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517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Photo - White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6351" y="-6351"/>
            <a:ext cx="12202448" cy="6867525"/>
          </a:xfrm>
          <a:custGeom>
            <a:avLst/>
            <a:gdLst>
              <a:gd name="connsiteX0" fmla="*/ 1007893 w 12198355"/>
              <a:gd name="connsiteY0" fmla="*/ 6269265 h 6858000"/>
              <a:gd name="connsiteX1" fmla="*/ 1012666 w 12198355"/>
              <a:gd name="connsiteY1" fmla="*/ 6269568 h 6858000"/>
              <a:gd name="connsiteX2" fmla="*/ 1017275 w 12198355"/>
              <a:gd name="connsiteY2" fmla="*/ 6270481 h 6858000"/>
              <a:gd name="connsiteX3" fmla="*/ 1021659 w 12198355"/>
              <a:gd name="connsiteY3" fmla="*/ 6272007 h 6858000"/>
              <a:gd name="connsiteX4" fmla="*/ 1025757 w 12198355"/>
              <a:gd name="connsiteY4" fmla="*/ 6274150 h 6858000"/>
              <a:gd name="connsiteX5" fmla="*/ 1029507 w 12198355"/>
              <a:gd name="connsiteY5" fmla="*/ 6276915 h 6858000"/>
              <a:gd name="connsiteX6" fmla="*/ 1032848 w 12198355"/>
              <a:gd name="connsiteY6" fmla="*/ 6280306 h 6858000"/>
              <a:gd name="connsiteX7" fmla="*/ 1035719 w 12198355"/>
              <a:gd name="connsiteY7" fmla="*/ 6284326 h 6858000"/>
              <a:gd name="connsiteX8" fmla="*/ 1038059 w 12198355"/>
              <a:gd name="connsiteY8" fmla="*/ 6288981 h 6858000"/>
              <a:gd name="connsiteX9" fmla="*/ 1039806 w 12198355"/>
              <a:gd name="connsiteY9" fmla="*/ 6294273 h 6858000"/>
              <a:gd name="connsiteX10" fmla="*/ 1040899 w 12198355"/>
              <a:gd name="connsiteY10" fmla="*/ 6300208 h 6858000"/>
              <a:gd name="connsiteX11" fmla="*/ 1041277 w 12198355"/>
              <a:gd name="connsiteY11" fmla="*/ 6306788 h 6858000"/>
              <a:gd name="connsiteX12" fmla="*/ 1040899 w 12198355"/>
              <a:gd name="connsiteY12" fmla="*/ 6313376 h 6858000"/>
              <a:gd name="connsiteX13" fmla="*/ 1039806 w 12198355"/>
              <a:gd name="connsiteY13" fmla="*/ 6319330 h 6858000"/>
              <a:gd name="connsiteX14" fmla="*/ 1038059 w 12198355"/>
              <a:gd name="connsiteY14" fmla="*/ 6324652 h 6858000"/>
              <a:gd name="connsiteX15" fmla="*/ 1035719 w 12198355"/>
              <a:gd name="connsiteY15" fmla="*/ 6329342 h 6858000"/>
              <a:gd name="connsiteX16" fmla="*/ 1032848 w 12198355"/>
              <a:gd name="connsiteY16" fmla="*/ 6333403 h 6858000"/>
              <a:gd name="connsiteX17" fmla="*/ 1029507 w 12198355"/>
              <a:gd name="connsiteY17" fmla="*/ 6336835 h 6858000"/>
              <a:gd name="connsiteX18" fmla="*/ 1025757 w 12198355"/>
              <a:gd name="connsiteY18" fmla="*/ 6339641 h 6858000"/>
              <a:gd name="connsiteX19" fmla="*/ 1021659 w 12198355"/>
              <a:gd name="connsiteY19" fmla="*/ 6341820 h 6858000"/>
              <a:gd name="connsiteX20" fmla="*/ 1017275 w 12198355"/>
              <a:gd name="connsiteY20" fmla="*/ 6343375 h 6858000"/>
              <a:gd name="connsiteX21" fmla="*/ 1012666 w 12198355"/>
              <a:gd name="connsiteY21" fmla="*/ 6344307 h 6858000"/>
              <a:gd name="connsiteX22" fmla="*/ 1007893 w 12198355"/>
              <a:gd name="connsiteY22" fmla="*/ 6344618 h 6858000"/>
              <a:gd name="connsiteX23" fmla="*/ 1003193 w 12198355"/>
              <a:gd name="connsiteY23" fmla="*/ 6344300 h 6858000"/>
              <a:gd name="connsiteX24" fmla="*/ 998645 w 12198355"/>
              <a:gd name="connsiteY24" fmla="*/ 6343350 h 6858000"/>
              <a:gd name="connsiteX25" fmla="*/ 994309 w 12198355"/>
              <a:gd name="connsiteY25" fmla="*/ 6341771 h 6858000"/>
              <a:gd name="connsiteX26" fmla="*/ 990249 w 12198355"/>
              <a:gd name="connsiteY26" fmla="*/ 6339564 h 6858000"/>
              <a:gd name="connsiteX27" fmla="*/ 986527 w 12198355"/>
              <a:gd name="connsiteY27" fmla="*/ 6336732 h 6858000"/>
              <a:gd name="connsiteX28" fmla="*/ 983207 w 12198355"/>
              <a:gd name="connsiteY28" fmla="*/ 6333280 h 6858000"/>
              <a:gd name="connsiteX29" fmla="*/ 980349 w 12198355"/>
              <a:gd name="connsiteY29" fmla="*/ 6329208 h 6858000"/>
              <a:gd name="connsiteX30" fmla="*/ 978018 w 12198355"/>
              <a:gd name="connsiteY30" fmla="*/ 6324520 h 6858000"/>
              <a:gd name="connsiteX31" fmla="*/ 976275 w 12198355"/>
              <a:gd name="connsiteY31" fmla="*/ 6319219 h 6858000"/>
              <a:gd name="connsiteX32" fmla="*/ 975184 w 12198355"/>
              <a:gd name="connsiteY32" fmla="*/ 6313308 h 6858000"/>
              <a:gd name="connsiteX33" fmla="*/ 974806 w 12198355"/>
              <a:gd name="connsiteY33" fmla="*/ 6306788 h 6858000"/>
              <a:gd name="connsiteX34" fmla="*/ 975184 w 12198355"/>
              <a:gd name="connsiteY34" fmla="*/ 6300208 h 6858000"/>
              <a:gd name="connsiteX35" fmla="*/ 976275 w 12198355"/>
              <a:gd name="connsiteY35" fmla="*/ 6294273 h 6858000"/>
              <a:gd name="connsiteX36" fmla="*/ 978018 w 12198355"/>
              <a:gd name="connsiteY36" fmla="*/ 6288981 h 6858000"/>
              <a:gd name="connsiteX37" fmla="*/ 980349 w 12198355"/>
              <a:gd name="connsiteY37" fmla="*/ 6284326 h 6858000"/>
              <a:gd name="connsiteX38" fmla="*/ 983207 w 12198355"/>
              <a:gd name="connsiteY38" fmla="*/ 6280306 h 6858000"/>
              <a:gd name="connsiteX39" fmla="*/ 986527 w 12198355"/>
              <a:gd name="connsiteY39" fmla="*/ 6276915 h 6858000"/>
              <a:gd name="connsiteX40" fmla="*/ 990249 w 12198355"/>
              <a:gd name="connsiteY40" fmla="*/ 6274150 h 6858000"/>
              <a:gd name="connsiteX41" fmla="*/ 994309 w 12198355"/>
              <a:gd name="connsiteY41" fmla="*/ 6272007 h 6858000"/>
              <a:gd name="connsiteX42" fmla="*/ 998645 w 12198355"/>
              <a:gd name="connsiteY42" fmla="*/ 6270481 h 6858000"/>
              <a:gd name="connsiteX43" fmla="*/ 1003193 w 12198355"/>
              <a:gd name="connsiteY43" fmla="*/ 6269568 h 6858000"/>
              <a:gd name="connsiteX44" fmla="*/ 1007893 w 12198355"/>
              <a:gd name="connsiteY44" fmla="*/ 6269265 h 6858000"/>
              <a:gd name="connsiteX45" fmla="*/ 1349948 w 12198355"/>
              <a:gd name="connsiteY45" fmla="*/ 6269264 h 6858000"/>
              <a:gd name="connsiteX46" fmla="*/ 1354581 w 12198355"/>
              <a:gd name="connsiteY46" fmla="*/ 6269561 h 6858000"/>
              <a:gd name="connsiteX47" fmla="*/ 1359089 w 12198355"/>
              <a:gd name="connsiteY47" fmla="*/ 6270455 h 6858000"/>
              <a:gd name="connsiteX48" fmla="*/ 1363405 w 12198355"/>
              <a:gd name="connsiteY48" fmla="*/ 6271956 h 6858000"/>
              <a:gd name="connsiteX49" fmla="*/ 1367462 w 12198355"/>
              <a:gd name="connsiteY49" fmla="*/ 6274072 h 6858000"/>
              <a:gd name="connsiteX50" fmla="*/ 1371195 w 12198355"/>
              <a:gd name="connsiteY50" fmla="*/ 6276811 h 6858000"/>
              <a:gd name="connsiteX51" fmla="*/ 1374536 w 12198355"/>
              <a:gd name="connsiteY51" fmla="*/ 6280181 h 6858000"/>
              <a:gd name="connsiteX52" fmla="*/ 1377418 w 12198355"/>
              <a:gd name="connsiteY52" fmla="*/ 6284190 h 6858000"/>
              <a:gd name="connsiteX53" fmla="*/ 1379777 w 12198355"/>
              <a:gd name="connsiteY53" fmla="*/ 6288848 h 6858000"/>
              <a:gd name="connsiteX54" fmla="*/ 1381543 w 12198355"/>
              <a:gd name="connsiteY54" fmla="*/ 6294161 h 6858000"/>
              <a:gd name="connsiteX55" fmla="*/ 1382652 w 12198355"/>
              <a:gd name="connsiteY55" fmla="*/ 6300138 h 6858000"/>
              <a:gd name="connsiteX56" fmla="*/ 1383037 w 12198355"/>
              <a:gd name="connsiteY56" fmla="*/ 6306788 h 6858000"/>
              <a:gd name="connsiteX57" fmla="*/ 1382652 w 12198355"/>
              <a:gd name="connsiteY57" fmla="*/ 6313445 h 6858000"/>
              <a:gd name="connsiteX58" fmla="*/ 1381543 w 12198355"/>
              <a:gd name="connsiteY58" fmla="*/ 6319442 h 6858000"/>
              <a:gd name="connsiteX59" fmla="*/ 1379777 w 12198355"/>
              <a:gd name="connsiteY59" fmla="*/ 6324784 h 6858000"/>
              <a:gd name="connsiteX60" fmla="*/ 1377418 w 12198355"/>
              <a:gd name="connsiteY60" fmla="*/ 6329478 h 6858000"/>
              <a:gd name="connsiteX61" fmla="*/ 1374536 w 12198355"/>
              <a:gd name="connsiteY61" fmla="*/ 6333527 h 6858000"/>
              <a:gd name="connsiteX62" fmla="*/ 1371195 w 12198355"/>
              <a:gd name="connsiteY62" fmla="*/ 6336939 h 6858000"/>
              <a:gd name="connsiteX63" fmla="*/ 1367462 w 12198355"/>
              <a:gd name="connsiteY63" fmla="*/ 6339718 h 6858000"/>
              <a:gd name="connsiteX64" fmla="*/ 1363405 w 12198355"/>
              <a:gd name="connsiteY64" fmla="*/ 6341869 h 6858000"/>
              <a:gd name="connsiteX65" fmla="*/ 1359089 w 12198355"/>
              <a:gd name="connsiteY65" fmla="*/ 6343400 h 6858000"/>
              <a:gd name="connsiteX66" fmla="*/ 1354581 w 12198355"/>
              <a:gd name="connsiteY66" fmla="*/ 6344314 h 6858000"/>
              <a:gd name="connsiteX67" fmla="*/ 1349948 w 12198355"/>
              <a:gd name="connsiteY67" fmla="*/ 6344617 h 6858000"/>
              <a:gd name="connsiteX68" fmla="*/ 1345382 w 12198355"/>
              <a:gd name="connsiteY68" fmla="*/ 6344307 h 6858000"/>
              <a:gd name="connsiteX69" fmla="*/ 1340916 w 12198355"/>
              <a:gd name="connsiteY69" fmla="*/ 6343375 h 6858000"/>
              <a:gd name="connsiteX70" fmla="*/ 1336620 w 12198355"/>
              <a:gd name="connsiteY70" fmla="*/ 6341820 h 6858000"/>
              <a:gd name="connsiteX71" fmla="*/ 1332565 w 12198355"/>
              <a:gd name="connsiteY71" fmla="*/ 6339640 h 6858000"/>
              <a:gd name="connsiteX72" fmla="*/ 1328822 w 12198355"/>
              <a:gd name="connsiteY72" fmla="*/ 6336835 h 6858000"/>
              <a:gd name="connsiteX73" fmla="*/ 1325461 w 12198355"/>
              <a:gd name="connsiteY73" fmla="*/ 6333403 h 6858000"/>
              <a:gd name="connsiteX74" fmla="*/ 1322553 w 12198355"/>
              <a:gd name="connsiteY74" fmla="*/ 6329343 h 6858000"/>
              <a:gd name="connsiteX75" fmla="*/ 1320168 w 12198355"/>
              <a:gd name="connsiteY75" fmla="*/ 6324652 h 6858000"/>
              <a:gd name="connsiteX76" fmla="*/ 1318378 w 12198355"/>
              <a:gd name="connsiteY76" fmla="*/ 6319330 h 6858000"/>
              <a:gd name="connsiteX77" fmla="*/ 1317251 w 12198355"/>
              <a:gd name="connsiteY77" fmla="*/ 6313376 h 6858000"/>
              <a:gd name="connsiteX78" fmla="*/ 1316860 w 12198355"/>
              <a:gd name="connsiteY78" fmla="*/ 6306788 h 6858000"/>
              <a:gd name="connsiteX79" fmla="*/ 1317251 w 12198355"/>
              <a:gd name="connsiteY79" fmla="*/ 6300138 h 6858000"/>
              <a:gd name="connsiteX80" fmla="*/ 1318378 w 12198355"/>
              <a:gd name="connsiteY80" fmla="*/ 6294161 h 6858000"/>
              <a:gd name="connsiteX81" fmla="*/ 1320168 w 12198355"/>
              <a:gd name="connsiteY81" fmla="*/ 6288848 h 6858000"/>
              <a:gd name="connsiteX82" fmla="*/ 1322553 w 12198355"/>
              <a:gd name="connsiteY82" fmla="*/ 6284190 h 6858000"/>
              <a:gd name="connsiteX83" fmla="*/ 1325461 w 12198355"/>
              <a:gd name="connsiteY83" fmla="*/ 6280181 h 6858000"/>
              <a:gd name="connsiteX84" fmla="*/ 1328822 w 12198355"/>
              <a:gd name="connsiteY84" fmla="*/ 6276811 h 6858000"/>
              <a:gd name="connsiteX85" fmla="*/ 1332565 w 12198355"/>
              <a:gd name="connsiteY85" fmla="*/ 6274072 h 6858000"/>
              <a:gd name="connsiteX86" fmla="*/ 1336620 w 12198355"/>
              <a:gd name="connsiteY86" fmla="*/ 6271956 h 6858000"/>
              <a:gd name="connsiteX87" fmla="*/ 1340916 w 12198355"/>
              <a:gd name="connsiteY87" fmla="*/ 6270455 h 6858000"/>
              <a:gd name="connsiteX88" fmla="*/ 1345382 w 12198355"/>
              <a:gd name="connsiteY88" fmla="*/ 6269561 h 6858000"/>
              <a:gd name="connsiteX89" fmla="*/ 1349948 w 12198355"/>
              <a:gd name="connsiteY89" fmla="*/ 6269264 h 6858000"/>
              <a:gd name="connsiteX90" fmla="*/ 1106434 w 12198355"/>
              <a:gd name="connsiteY90" fmla="*/ 6231132 h 6858000"/>
              <a:gd name="connsiteX91" fmla="*/ 1104886 w 12198355"/>
              <a:gd name="connsiteY91" fmla="*/ 6231455 h 6858000"/>
              <a:gd name="connsiteX92" fmla="*/ 1103622 w 12198355"/>
              <a:gd name="connsiteY92" fmla="*/ 6232335 h 6858000"/>
              <a:gd name="connsiteX93" fmla="*/ 1102769 w 12198355"/>
              <a:gd name="connsiteY93" fmla="*/ 6233641 h 6858000"/>
              <a:gd name="connsiteX94" fmla="*/ 1102457 w 12198355"/>
              <a:gd name="connsiteY94" fmla="*/ 6235239 h 6858000"/>
              <a:gd name="connsiteX95" fmla="*/ 1102457 w 12198355"/>
              <a:gd name="connsiteY95" fmla="*/ 6378643 h 6858000"/>
              <a:gd name="connsiteX96" fmla="*/ 1102769 w 12198355"/>
              <a:gd name="connsiteY96" fmla="*/ 6380242 h 6858000"/>
              <a:gd name="connsiteX97" fmla="*/ 1103622 w 12198355"/>
              <a:gd name="connsiteY97" fmla="*/ 6381547 h 6858000"/>
              <a:gd name="connsiteX98" fmla="*/ 1104886 w 12198355"/>
              <a:gd name="connsiteY98" fmla="*/ 6382427 h 6858000"/>
              <a:gd name="connsiteX99" fmla="*/ 1106434 w 12198355"/>
              <a:gd name="connsiteY99" fmla="*/ 6382750 h 6858000"/>
              <a:gd name="connsiteX100" fmla="*/ 1143384 w 12198355"/>
              <a:gd name="connsiteY100" fmla="*/ 6382750 h 6858000"/>
              <a:gd name="connsiteX101" fmla="*/ 1144932 w 12198355"/>
              <a:gd name="connsiteY101" fmla="*/ 6382427 h 6858000"/>
              <a:gd name="connsiteX102" fmla="*/ 1146197 w 12198355"/>
              <a:gd name="connsiteY102" fmla="*/ 6381547 h 6858000"/>
              <a:gd name="connsiteX103" fmla="*/ 1147050 w 12198355"/>
              <a:gd name="connsiteY103" fmla="*/ 6380242 h 6858000"/>
              <a:gd name="connsiteX104" fmla="*/ 1147362 w 12198355"/>
              <a:gd name="connsiteY104" fmla="*/ 6378643 h 6858000"/>
              <a:gd name="connsiteX105" fmla="*/ 1147362 w 12198355"/>
              <a:gd name="connsiteY105" fmla="*/ 6235239 h 6858000"/>
              <a:gd name="connsiteX106" fmla="*/ 1147050 w 12198355"/>
              <a:gd name="connsiteY106" fmla="*/ 6233641 h 6858000"/>
              <a:gd name="connsiteX107" fmla="*/ 1146197 w 12198355"/>
              <a:gd name="connsiteY107" fmla="*/ 6232335 h 6858000"/>
              <a:gd name="connsiteX108" fmla="*/ 1144932 w 12198355"/>
              <a:gd name="connsiteY108" fmla="*/ 6231455 h 6858000"/>
              <a:gd name="connsiteX109" fmla="*/ 1143384 w 12198355"/>
              <a:gd name="connsiteY109" fmla="*/ 6231132 h 6858000"/>
              <a:gd name="connsiteX110" fmla="*/ 1106434 w 12198355"/>
              <a:gd name="connsiteY110" fmla="*/ 6231132 h 6858000"/>
              <a:gd name="connsiteX111" fmla="*/ 1254739 w 12198355"/>
              <a:gd name="connsiteY111" fmla="*/ 6229607 h 6858000"/>
              <a:gd name="connsiteX112" fmla="*/ 1250024 w 12198355"/>
              <a:gd name="connsiteY112" fmla="*/ 6229850 h 6858000"/>
              <a:gd name="connsiteX113" fmla="*/ 1244879 w 12198355"/>
              <a:gd name="connsiteY113" fmla="*/ 6230637 h 6858000"/>
              <a:gd name="connsiteX114" fmla="*/ 1239513 w 12198355"/>
              <a:gd name="connsiteY114" fmla="*/ 6232052 h 6858000"/>
              <a:gd name="connsiteX115" fmla="*/ 1234133 w 12198355"/>
              <a:gd name="connsiteY115" fmla="*/ 6234183 h 6858000"/>
              <a:gd name="connsiteX116" fmla="*/ 1228947 w 12198355"/>
              <a:gd name="connsiteY116" fmla="*/ 6237114 h 6858000"/>
              <a:gd name="connsiteX117" fmla="*/ 1224162 w 12198355"/>
              <a:gd name="connsiteY117" fmla="*/ 6240933 h 6858000"/>
              <a:gd name="connsiteX118" fmla="*/ 1219987 w 12198355"/>
              <a:gd name="connsiteY118" fmla="*/ 6245723 h 6858000"/>
              <a:gd name="connsiteX119" fmla="*/ 1216628 w 12198355"/>
              <a:gd name="connsiteY119" fmla="*/ 6251572 h 6858000"/>
              <a:gd name="connsiteX120" fmla="*/ 1216628 w 12198355"/>
              <a:gd name="connsiteY120" fmla="*/ 6235238 h 6858000"/>
              <a:gd name="connsiteX121" fmla="*/ 1216316 w 12198355"/>
              <a:gd name="connsiteY121" fmla="*/ 6233640 h 6858000"/>
              <a:gd name="connsiteX122" fmla="*/ 1215463 w 12198355"/>
              <a:gd name="connsiteY122" fmla="*/ 6232335 h 6858000"/>
              <a:gd name="connsiteX123" fmla="*/ 1214199 w 12198355"/>
              <a:gd name="connsiteY123" fmla="*/ 6231454 h 6858000"/>
              <a:gd name="connsiteX124" fmla="*/ 1212650 w 12198355"/>
              <a:gd name="connsiteY124" fmla="*/ 6231132 h 6858000"/>
              <a:gd name="connsiteX125" fmla="*/ 1177178 w 12198355"/>
              <a:gd name="connsiteY125" fmla="*/ 6231132 h 6858000"/>
              <a:gd name="connsiteX126" fmla="*/ 1175630 w 12198355"/>
              <a:gd name="connsiteY126" fmla="*/ 6231454 h 6858000"/>
              <a:gd name="connsiteX127" fmla="*/ 1174366 w 12198355"/>
              <a:gd name="connsiteY127" fmla="*/ 6232335 h 6858000"/>
              <a:gd name="connsiteX128" fmla="*/ 1173513 w 12198355"/>
              <a:gd name="connsiteY128" fmla="*/ 6233640 h 6858000"/>
              <a:gd name="connsiteX129" fmla="*/ 1173201 w 12198355"/>
              <a:gd name="connsiteY129" fmla="*/ 6235238 h 6858000"/>
              <a:gd name="connsiteX130" fmla="*/ 1173201 w 12198355"/>
              <a:gd name="connsiteY130" fmla="*/ 6378642 h 6858000"/>
              <a:gd name="connsiteX131" fmla="*/ 1173513 w 12198355"/>
              <a:gd name="connsiteY131" fmla="*/ 6380242 h 6858000"/>
              <a:gd name="connsiteX132" fmla="*/ 1174366 w 12198355"/>
              <a:gd name="connsiteY132" fmla="*/ 6381548 h 6858000"/>
              <a:gd name="connsiteX133" fmla="*/ 1175630 w 12198355"/>
              <a:gd name="connsiteY133" fmla="*/ 6382428 h 6858000"/>
              <a:gd name="connsiteX134" fmla="*/ 1177178 w 12198355"/>
              <a:gd name="connsiteY134" fmla="*/ 6382751 h 6858000"/>
              <a:gd name="connsiteX135" fmla="*/ 1214127 w 12198355"/>
              <a:gd name="connsiteY135" fmla="*/ 6382751 h 6858000"/>
              <a:gd name="connsiteX136" fmla="*/ 1215676 w 12198355"/>
              <a:gd name="connsiteY136" fmla="*/ 6382428 h 6858000"/>
              <a:gd name="connsiteX137" fmla="*/ 1216940 w 12198355"/>
              <a:gd name="connsiteY137" fmla="*/ 6381548 h 6858000"/>
              <a:gd name="connsiteX138" fmla="*/ 1217792 w 12198355"/>
              <a:gd name="connsiteY138" fmla="*/ 6380242 h 6858000"/>
              <a:gd name="connsiteX139" fmla="*/ 1218105 w 12198355"/>
              <a:gd name="connsiteY139" fmla="*/ 6378642 h 6858000"/>
              <a:gd name="connsiteX140" fmla="*/ 1218105 w 12198355"/>
              <a:gd name="connsiteY140" fmla="*/ 6316549 h 6858000"/>
              <a:gd name="connsiteX141" fmla="*/ 1218497 w 12198355"/>
              <a:gd name="connsiteY141" fmla="*/ 6308781 h 6858000"/>
              <a:gd name="connsiteX142" fmla="*/ 1219630 w 12198355"/>
              <a:gd name="connsiteY142" fmla="*/ 6301926 h 6858000"/>
              <a:gd name="connsiteX143" fmla="*/ 1221437 w 12198355"/>
              <a:gd name="connsiteY143" fmla="*/ 6295946 h 6858000"/>
              <a:gd name="connsiteX144" fmla="*/ 1223855 w 12198355"/>
              <a:gd name="connsiteY144" fmla="*/ 6290807 h 6858000"/>
              <a:gd name="connsiteX145" fmla="*/ 1226817 w 12198355"/>
              <a:gd name="connsiteY145" fmla="*/ 6286470 h 6858000"/>
              <a:gd name="connsiteX146" fmla="*/ 1230259 w 12198355"/>
              <a:gd name="connsiteY146" fmla="*/ 6282901 h 6858000"/>
              <a:gd name="connsiteX147" fmla="*/ 1234115 w 12198355"/>
              <a:gd name="connsiteY147" fmla="*/ 6280062 h 6858000"/>
              <a:gd name="connsiteX148" fmla="*/ 1238320 w 12198355"/>
              <a:gd name="connsiteY148" fmla="*/ 6277917 h 6858000"/>
              <a:gd name="connsiteX149" fmla="*/ 1242809 w 12198355"/>
              <a:gd name="connsiteY149" fmla="*/ 6276430 h 6858000"/>
              <a:gd name="connsiteX150" fmla="*/ 1247516 w 12198355"/>
              <a:gd name="connsiteY150" fmla="*/ 6275565 h 6858000"/>
              <a:gd name="connsiteX151" fmla="*/ 1252376 w 12198355"/>
              <a:gd name="connsiteY151" fmla="*/ 6275284 h 6858000"/>
              <a:gd name="connsiteX152" fmla="*/ 1254599 w 12198355"/>
              <a:gd name="connsiteY152" fmla="*/ 6275312 h 6858000"/>
              <a:gd name="connsiteX153" fmla="*/ 1256730 w 12198355"/>
              <a:gd name="connsiteY153" fmla="*/ 6275402 h 6858000"/>
              <a:gd name="connsiteX154" fmla="*/ 1258821 w 12198355"/>
              <a:gd name="connsiteY154" fmla="*/ 6275565 h 6858000"/>
              <a:gd name="connsiteX155" fmla="*/ 1260894 w 12198355"/>
              <a:gd name="connsiteY155" fmla="*/ 6275809 h 6858000"/>
              <a:gd name="connsiteX156" fmla="*/ 1262471 w 12198355"/>
              <a:gd name="connsiteY156" fmla="*/ 6275713 h 6858000"/>
              <a:gd name="connsiteX157" fmla="*/ 1263347 w 12198355"/>
              <a:gd name="connsiteY157" fmla="*/ 6275284 h 6858000"/>
              <a:gd name="connsiteX158" fmla="*/ 1263848 w 12198355"/>
              <a:gd name="connsiteY158" fmla="*/ 6275039 h 6858000"/>
              <a:gd name="connsiteX159" fmla="*/ 1264877 w 12198355"/>
              <a:gd name="connsiteY159" fmla="*/ 6273889 h 6858000"/>
              <a:gd name="connsiteX160" fmla="*/ 1265415 w 12198355"/>
              <a:gd name="connsiteY160" fmla="*/ 6272363 h 6858000"/>
              <a:gd name="connsiteX161" fmla="*/ 1268444 w 12198355"/>
              <a:gd name="connsiteY161" fmla="*/ 6251572 h 6858000"/>
              <a:gd name="connsiteX162" fmla="*/ 1270750 w 12198355"/>
              <a:gd name="connsiteY162" fmla="*/ 6235738 h 6858000"/>
              <a:gd name="connsiteX163" fmla="*/ 1270687 w 12198355"/>
              <a:gd name="connsiteY163" fmla="*/ 6234167 h 6858000"/>
              <a:gd name="connsiteX164" fmla="*/ 1264312 w 12198355"/>
              <a:gd name="connsiteY164" fmla="*/ 6230481 h 6858000"/>
              <a:gd name="connsiteX165" fmla="*/ 1257574 w 12198355"/>
              <a:gd name="connsiteY165" fmla="*/ 6229712 h 6858000"/>
              <a:gd name="connsiteX166" fmla="*/ 1254739 w 12198355"/>
              <a:gd name="connsiteY166" fmla="*/ 6229607 h 6858000"/>
              <a:gd name="connsiteX167" fmla="*/ 1017052 w 12198355"/>
              <a:gd name="connsiteY167" fmla="*/ 6227471 h 6858000"/>
              <a:gd name="connsiteX168" fmla="*/ 1010253 w 12198355"/>
              <a:gd name="connsiteY168" fmla="*/ 6227809 h 6858000"/>
              <a:gd name="connsiteX169" fmla="*/ 1003864 w 12198355"/>
              <a:gd name="connsiteY169" fmla="*/ 6228772 h 6858000"/>
              <a:gd name="connsiteX170" fmla="*/ 997926 w 12198355"/>
              <a:gd name="connsiteY170" fmla="*/ 6230284 h 6858000"/>
              <a:gd name="connsiteX171" fmla="*/ 992476 w 12198355"/>
              <a:gd name="connsiteY171" fmla="*/ 6232272 h 6858000"/>
              <a:gd name="connsiteX172" fmla="*/ 987553 w 12198355"/>
              <a:gd name="connsiteY172" fmla="*/ 6234658 h 6858000"/>
              <a:gd name="connsiteX173" fmla="*/ 983198 w 12198355"/>
              <a:gd name="connsiteY173" fmla="*/ 6237369 h 6858000"/>
              <a:gd name="connsiteX174" fmla="*/ 979447 w 12198355"/>
              <a:gd name="connsiteY174" fmla="*/ 6240328 h 6858000"/>
              <a:gd name="connsiteX175" fmla="*/ 973919 w 12198355"/>
              <a:gd name="connsiteY175" fmla="*/ 6246690 h 6858000"/>
              <a:gd name="connsiteX176" fmla="*/ 973919 w 12198355"/>
              <a:gd name="connsiteY176" fmla="*/ 6235238 h 6858000"/>
              <a:gd name="connsiteX177" fmla="*/ 973606 w 12198355"/>
              <a:gd name="connsiteY177" fmla="*/ 6233640 h 6858000"/>
              <a:gd name="connsiteX178" fmla="*/ 972754 w 12198355"/>
              <a:gd name="connsiteY178" fmla="*/ 6232335 h 6858000"/>
              <a:gd name="connsiteX179" fmla="*/ 971489 w 12198355"/>
              <a:gd name="connsiteY179" fmla="*/ 6231454 h 6858000"/>
              <a:gd name="connsiteX180" fmla="*/ 969940 w 12198355"/>
              <a:gd name="connsiteY180" fmla="*/ 6231132 h 6858000"/>
              <a:gd name="connsiteX181" fmla="*/ 934469 w 12198355"/>
              <a:gd name="connsiteY181" fmla="*/ 6231132 h 6858000"/>
              <a:gd name="connsiteX182" fmla="*/ 932920 w 12198355"/>
              <a:gd name="connsiteY182" fmla="*/ 6231454 h 6858000"/>
              <a:gd name="connsiteX183" fmla="*/ 931655 w 12198355"/>
              <a:gd name="connsiteY183" fmla="*/ 6232335 h 6858000"/>
              <a:gd name="connsiteX184" fmla="*/ 930803 w 12198355"/>
              <a:gd name="connsiteY184" fmla="*/ 6233640 h 6858000"/>
              <a:gd name="connsiteX185" fmla="*/ 930490 w 12198355"/>
              <a:gd name="connsiteY185" fmla="*/ 6235238 h 6858000"/>
              <a:gd name="connsiteX186" fmla="*/ 930490 w 12198355"/>
              <a:gd name="connsiteY186" fmla="*/ 6436605 h 6858000"/>
              <a:gd name="connsiteX187" fmla="*/ 930803 w 12198355"/>
              <a:gd name="connsiteY187" fmla="*/ 6438204 h 6858000"/>
              <a:gd name="connsiteX188" fmla="*/ 931655 w 12198355"/>
              <a:gd name="connsiteY188" fmla="*/ 6439509 h 6858000"/>
              <a:gd name="connsiteX189" fmla="*/ 932920 w 12198355"/>
              <a:gd name="connsiteY189" fmla="*/ 6440389 h 6858000"/>
              <a:gd name="connsiteX190" fmla="*/ 934469 w 12198355"/>
              <a:gd name="connsiteY190" fmla="*/ 6440712 h 6858000"/>
              <a:gd name="connsiteX191" fmla="*/ 971418 w 12198355"/>
              <a:gd name="connsiteY191" fmla="*/ 6440712 h 6858000"/>
              <a:gd name="connsiteX192" fmla="*/ 972966 w 12198355"/>
              <a:gd name="connsiteY192" fmla="*/ 6440389 h 6858000"/>
              <a:gd name="connsiteX193" fmla="*/ 974230 w 12198355"/>
              <a:gd name="connsiteY193" fmla="*/ 6439509 h 6858000"/>
              <a:gd name="connsiteX194" fmla="*/ 975083 w 12198355"/>
              <a:gd name="connsiteY194" fmla="*/ 6438204 h 6858000"/>
              <a:gd name="connsiteX195" fmla="*/ 975395 w 12198355"/>
              <a:gd name="connsiteY195" fmla="*/ 6436605 h 6858000"/>
              <a:gd name="connsiteX196" fmla="*/ 975395 w 12198355"/>
              <a:gd name="connsiteY196" fmla="*/ 6370853 h 6858000"/>
              <a:gd name="connsiteX197" fmla="*/ 978285 w 12198355"/>
              <a:gd name="connsiteY197" fmla="*/ 6373960 h 6858000"/>
              <a:gd name="connsiteX198" fmla="*/ 981835 w 12198355"/>
              <a:gd name="connsiteY198" fmla="*/ 6376839 h 6858000"/>
              <a:gd name="connsiteX199" fmla="*/ 986016 w 12198355"/>
              <a:gd name="connsiteY199" fmla="*/ 6379433 h 6858000"/>
              <a:gd name="connsiteX200" fmla="*/ 990795 w 12198355"/>
              <a:gd name="connsiteY200" fmla="*/ 6381683 h 6858000"/>
              <a:gd name="connsiteX201" fmla="*/ 996142 w 12198355"/>
              <a:gd name="connsiteY201" fmla="*/ 6383532 h 6858000"/>
              <a:gd name="connsiteX202" fmla="*/ 1002026 w 12198355"/>
              <a:gd name="connsiteY202" fmla="*/ 6384925 h 6858000"/>
              <a:gd name="connsiteX203" fmla="*/ 1008415 w 12198355"/>
              <a:gd name="connsiteY203" fmla="*/ 6385802 h 6858000"/>
              <a:gd name="connsiteX204" fmla="*/ 1015278 w 12198355"/>
              <a:gd name="connsiteY204" fmla="*/ 6386107 h 6858000"/>
              <a:gd name="connsiteX205" fmla="*/ 1020801 w 12198355"/>
              <a:gd name="connsiteY205" fmla="*/ 6385903 h 6858000"/>
              <a:gd name="connsiteX206" fmla="*/ 1026165 w 12198355"/>
              <a:gd name="connsiteY206" fmla="*/ 6385298 h 6858000"/>
              <a:gd name="connsiteX207" fmla="*/ 1031359 w 12198355"/>
              <a:gd name="connsiteY207" fmla="*/ 6384303 h 6858000"/>
              <a:gd name="connsiteX208" fmla="*/ 1036375 w 12198355"/>
              <a:gd name="connsiteY208" fmla="*/ 6382930 h 6858000"/>
              <a:gd name="connsiteX209" fmla="*/ 1041203 w 12198355"/>
              <a:gd name="connsiteY209" fmla="*/ 6381190 h 6858000"/>
              <a:gd name="connsiteX210" fmla="*/ 1045833 w 12198355"/>
              <a:gd name="connsiteY210" fmla="*/ 6379095 h 6858000"/>
              <a:gd name="connsiteX211" fmla="*/ 1050256 w 12198355"/>
              <a:gd name="connsiteY211" fmla="*/ 6376656 h 6858000"/>
              <a:gd name="connsiteX212" fmla="*/ 1054462 w 12198355"/>
              <a:gd name="connsiteY212" fmla="*/ 6373884 h 6858000"/>
              <a:gd name="connsiteX213" fmla="*/ 1058363 w 12198355"/>
              <a:gd name="connsiteY213" fmla="*/ 6370853 h 6858000"/>
              <a:gd name="connsiteX214" fmla="*/ 1062187 w 12198355"/>
              <a:gd name="connsiteY214" fmla="*/ 6367387 h 6858000"/>
              <a:gd name="connsiteX215" fmla="*/ 1065687 w 12198355"/>
              <a:gd name="connsiteY215" fmla="*/ 6363684 h 6858000"/>
              <a:gd name="connsiteX216" fmla="*/ 1068932 w 12198355"/>
              <a:gd name="connsiteY216" fmla="*/ 6359694 h 6858000"/>
              <a:gd name="connsiteX217" fmla="*/ 1071913 w 12198355"/>
              <a:gd name="connsiteY217" fmla="*/ 6355428 h 6858000"/>
              <a:gd name="connsiteX218" fmla="*/ 1074621 w 12198355"/>
              <a:gd name="connsiteY218" fmla="*/ 6350898 h 6858000"/>
              <a:gd name="connsiteX219" fmla="*/ 1077046 w 12198355"/>
              <a:gd name="connsiteY219" fmla="*/ 6346114 h 6858000"/>
              <a:gd name="connsiteX220" fmla="*/ 1077680 w 12198355"/>
              <a:gd name="connsiteY220" fmla="*/ 6344618 h 6858000"/>
              <a:gd name="connsiteX221" fmla="*/ 1081008 w 12198355"/>
              <a:gd name="connsiteY221" fmla="*/ 6335831 h 6858000"/>
              <a:gd name="connsiteX222" fmla="*/ 1082527 w 12198355"/>
              <a:gd name="connsiteY222" fmla="*/ 6330355 h 6858000"/>
              <a:gd name="connsiteX223" fmla="*/ 1083727 w 12198355"/>
              <a:gd name="connsiteY223" fmla="*/ 6324652 h 6858000"/>
              <a:gd name="connsiteX224" fmla="*/ 1084591 w 12198355"/>
              <a:gd name="connsiteY224" fmla="*/ 6318790 h 6858000"/>
              <a:gd name="connsiteX225" fmla="*/ 1085119 w 12198355"/>
              <a:gd name="connsiteY225" fmla="*/ 6312724 h 6858000"/>
              <a:gd name="connsiteX226" fmla="*/ 1085297 w 12198355"/>
              <a:gd name="connsiteY226" fmla="*/ 6306484 h 6858000"/>
              <a:gd name="connsiteX227" fmla="*/ 1085138 w 12198355"/>
              <a:gd name="connsiteY227" fmla="*/ 6300361 h 6858000"/>
              <a:gd name="connsiteX228" fmla="*/ 1084666 w 12198355"/>
              <a:gd name="connsiteY228" fmla="*/ 6294398 h 6858000"/>
              <a:gd name="connsiteX229" fmla="*/ 1083885 w 12198355"/>
              <a:gd name="connsiteY229" fmla="*/ 6288607 h 6858000"/>
              <a:gd name="connsiteX230" fmla="*/ 1082801 w 12198355"/>
              <a:gd name="connsiteY230" fmla="*/ 6283000 h 6858000"/>
              <a:gd name="connsiteX231" fmla="*/ 1081418 w 12198355"/>
              <a:gd name="connsiteY231" fmla="*/ 6277590 h 6858000"/>
              <a:gd name="connsiteX232" fmla="*/ 1079741 w 12198355"/>
              <a:gd name="connsiteY232" fmla="*/ 6272388 h 6858000"/>
              <a:gd name="connsiteX233" fmla="*/ 1078509 w 12198355"/>
              <a:gd name="connsiteY233" fmla="*/ 6269265 h 6858000"/>
              <a:gd name="connsiteX234" fmla="*/ 1077776 w 12198355"/>
              <a:gd name="connsiteY234" fmla="*/ 6267406 h 6858000"/>
              <a:gd name="connsiteX235" fmla="*/ 1075527 w 12198355"/>
              <a:gd name="connsiteY235" fmla="*/ 6262658 h 6858000"/>
              <a:gd name="connsiteX236" fmla="*/ 1072999 w 12198355"/>
              <a:gd name="connsiteY236" fmla="*/ 6258154 h 6858000"/>
              <a:gd name="connsiteX237" fmla="*/ 1070198 w 12198355"/>
              <a:gd name="connsiteY237" fmla="*/ 6253908 h 6858000"/>
              <a:gd name="connsiteX238" fmla="*/ 1067128 w 12198355"/>
              <a:gd name="connsiteY238" fmla="*/ 6249932 h 6858000"/>
              <a:gd name="connsiteX239" fmla="*/ 1064203 w 12198355"/>
              <a:gd name="connsiteY239" fmla="*/ 6246690 h 6858000"/>
              <a:gd name="connsiteX240" fmla="*/ 1060201 w 12198355"/>
              <a:gd name="connsiteY240" fmla="*/ 6242836 h 6858000"/>
              <a:gd name="connsiteX241" fmla="*/ 1056355 w 12198355"/>
              <a:gd name="connsiteY241" fmla="*/ 6239742 h 6858000"/>
              <a:gd name="connsiteX242" fmla="*/ 1052260 w 12198355"/>
              <a:gd name="connsiteY242" fmla="*/ 6236966 h 6858000"/>
              <a:gd name="connsiteX243" fmla="*/ 1047922 w 12198355"/>
              <a:gd name="connsiteY243" fmla="*/ 6234520 h 6858000"/>
              <a:gd name="connsiteX244" fmla="*/ 1043344 w 12198355"/>
              <a:gd name="connsiteY244" fmla="*/ 6232417 h 6858000"/>
              <a:gd name="connsiteX245" fmla="*/ 1038533 w 12198355"/>
              <a:gd name="connsiteY245" fmla="*/ 6230669 h 6858000"/>
              <a:gd name="connsiteX246" fmla="*/ 1033494 w 12198355"/>
              <a:gd name="connsiteY246" fmla="*/ 6229288 h 6858000"/>
              <a:gd name="connsiteX247" fmla="*/ 1028230 w 12198355"/>
              <a:gd name="connsiteY247" fmla="*/ 6228287 h 6858000"/>
              <a:gd name="connsiteX248" fmla="*/ 1022748 w 12198355"/>
              <a:gd name="connsiteY248" fmla="*/ 6227677 h 6858000"/>
              <a:gd name="connsiteX249" fmla="*/ 1017052 w 12198355"/>
              <a:gd name="connsiteY249" fmla="*/ 6227471 h 6858000"/>
              <a:gd name="connsiteX250" fmla="*/ 1518121 w 12198355"/>
              <a:gd name="connsiteY250" fmla="*/ 6226556 h 6858000"/>
              <a:gd name="connsiteX251" fmla="*/ 1512547 w 12198355"/>
              <a:gd name="connsiteY251" fmla="*/ 6226743 h 6858000"/>
              <a:gd name="connsiteX252" fmla="*/ 1507086 w 12198355"/>
              <a:gd name="connsiteY252" fmla="*/ 6227298 h 6858000"/>
              <a:gd name="connsiteX253" fmla="*/ 1501751 w 12198355"/>
              <a:gd name="connsiteY253" fmla="*/ 6228211 h 6858000"/>
              <a:gd name="connsiteX254" fmla="*/ 1496554 w 12198355"/>
              <a:gd name="connsiteY254" fmla="*/ 6229472 h 6858000"/>
              <a:gd name="connsiteX255" fmla="*/ 1491508 w 12198355"/>
              <a:gd name="connsiteY255" fmla="*/ 6231073 h 6858000"/>
              <a:gd name="connsiteX256" fmla="*/ 1486625 w 12198355"/>
              <a:gd name="connsiteY256" fmla="*/ 6233004 h 6858000"/>
              <a:gd name="connsiteX257" fmla="*/ 1481918 w 12198355"/>
              <a:gd name="connsiteY257" fmla="*/ 6235254 h 6858000"/>
              <a:gd name="connsiteX258" fmla="*/ 1477398 w 12198355"/>
              <a:gd name="connsiteY258" fmla="*/ 6237816 h 6858000"/>
              <a:gd name="connsiteX259" fmla="*/ 1473080 w 12198355"/>
              <a:gd name="connsiteY259" fmla="*/ 6240679 h 6858000"/>
              <a:gd name="connsiteX260" fmla="*/ 1468975 w 12198355"/>
              <a:gd name="connsiteY260" fmla="*/ 6243834 h 6858000"/>
              <a:gd name="connsiteX261" fmla="*/ 1465095 w 12198355"/>
              <a:gd name="connsiteY261" fmla="*/ 6247271 h 6858000"/>
              <a:gd name="connsiteX262" fmla="*/ 1461455 w 12198355"/>
              <a:gd name="connsiteY262" fmla="*/ 6250981 h 6858000"/>
              <a:gd name="connsiteX263" fmla="*/ 1458064 w 12198355"/>
              <a:gd name="connsiteY263" fmla="*/ 6254955 h 6858000"/>
              <a:gd name="connsiteX264" fmla="*/ 1454938 w 12198355"/>
              <a:gd name="connsiteY264" fmla="*/ 6259182 h 6858000"/>
              <a:gd name="connsiteX265" fmla="*/ 1452087 w 12198355"/>
              <a:gd name="connsiteY265" fmla="*/ 6263654 h 6858000"/>
              <a:gd name="connsiteX266" fmla="*/ 1449525 w 12198355"/>
              <a:gd name="connsiteY266" fmla="*/ 6268361 h 6858000"/>
              <a:gd name="connsiteX267" fmla="*/ 1447263 w 12198355"/>
              <a:gd name="connsiteY267" fmla="*/ 6273294 h 6858000"/>
              <a:gd name="connsiteX268" fmla="*/ 1445310 w 12198355"/>
              <a:gd name="connsiteY268" fmla="*/ 6278461 h 6858000"/>
              <a:gd name="connsiteX269" fmla="*/ 1443694 w 12198355"/>
              <a:gd name="connsiteY269" fmla="*/ 6283797 h 6858000"/>
              <a:gd name="connsiteX270" fmla="*/ 1442411 w 12198355"/>
              <a:gd name="connsiteY270" fmla="*/ 6289349 h 6858000"/>
              <a:gd name="connsiteX271" fmla="*/ 1441479 w 12198355"/>
              <a:gd name="connsiteY271" fmla="*/ 6295089 h 6858000"/>
              <a:gd name="connsiteX272" fmla="*/ 1440910 w 12198355"/>
              <a:gd name="connsiteY272" fmla="*/ 6301007 h 6858000"/>
              <a:gd name="connsiteX273" fmla="*/ 1440718 w 12198355"/>
              <a:gd name="connsiteY273" fmla="*/ 6307094 h 6858000"/>
              <a:gd name="connsiteX274" fmla="*/ 1440899 w 12198355"/>
              <a:gd name="connsiteY274" fmla="*/ 6312893 h 6858000"/>
              <a:gd name="connsiteX275" fmla="*/ 1441435 w 12198355"/>
              <a:gd name="connsiteY275" fmla="*/ 6318541 h 6858000"/>
              <a:gd name="connsiteX276" fmla="*/ 1442314 w 12198355"/>
              <a:gd name="connsiteY276" fmla="*/ 6324029 h 6858000"/>
              <a:gd name="connsiteX277" fmla="*/ 1443524 w 12198355"/>
              <a:gd name="connsiteY277" fmla="*/ 6329349 h 6858000"/>
              <a:gd name="connsiteX278" fmla="*/ 1445055 w 12198355"/>
              <a:gd name="connsiteY278" fmla="*/ 6334492 h 6858000"/>
              <a:gd name="connsiteX279" fmla="*/ 1446894 w 12198355"/>
              <a:gd name="connsiteY279" fmla="*/ 6339450 h 6858000"/>
              <a:gd name="connsiteX280" fmla="*/ 1449030 w 12198355"/>
              <a:gd name="connsiteY280" fmla="*/ 6344213 h 6858000"/>
              <a:gd name="connsiteX281" fmla="*/ 1451452 w 12198355"/>
              <a:gd name="connsiteY281" fmla="*/ 6348774 h 6858000"/>
              <a:gd name="connsiteX282" fmla="*/ 1454147 w 12198355"/>
              <a:gd name="connsiteY282" fmla="*/ 6353125 h 6858000"/>
              <a:gd name="connsiteX283" fmla="*/ 1457105 w 12198355"/>
              <a:gd name="connsiteY283" fmla="*/ 6357256 h 6858000"/>
              <a:gd name="connsiteX284" fmla="*/ 1460313 w 12198355"/>
              <a:gd name="connsiteY284" fmla="*/ 6361160 h 6858000"/>
              <a:gd name="connsiteX285" fmla="*/ 1463761 w 12198355"/>
              <a:gd name="connsiteY285" fmla="*/ 6364827 h 6858000"/>
              <a:gd name="connsiteX286" fmla="*/ 1467436 w 12198355"/>
              <a:gd name="connsiteY286" fmla="*/ 6368250 h 6858000"/>
              <a:gd name="connsiteX287" fmla="*/ 1471328 w 12198355"/>
              <a:gd name="connsiteY287" fmla="*/ 6371419 h 6858000"/>
              <a:gd name="connsiteX288" fmla="*/ 1475425 w 12198355"/>
              <a:gd name="connsiteY288" fmla="*/ 6374327 h 6858000"/>
              <a:gd name="connsiteX289" fmla="*/ 1479714 w 12198355"/>
              <a:gd name="connsiteY289" fmla="*/ 6376964 h 6858000"/>
              <a:gd name="connsiteX290" fmla="*/ 1484185 w 12198355"/>
              <a:gd name="connsiteY290" fmla="*/ 6379324 h 6858000"/>
              <a:gd name="connsiteX291" fmla="*/ 1488826 w 12198355"/>
              <a:gd name="connsiteY291" fmla="*/ 6381396 h 6858000"/>
              <a:gd name="connsiteX292" fmla="*/ 1493626 w 12198355"/>
              <a:gd name="connsiteY292" fmla="*/ 6383172 h 6858000"/>
              <a:gd name="connsiteX293" fmla="*/ 1498572 w 12198355"/>
              <a:gd name="connsiteY293" fmla="*/ 6384645 h 6858000"/>
              <a:gd name="connsiteX294" fmla="*/ 1503654 w 12198355"/>
              <a:gd name="connsiteY294" fmla="*/ 6385805 h 6858000"/>
              <a:gd name="connsiteX295" fmla="*/ 1508860 w 12198355"/>
              <a:gd name="connsiteY295" fmla="*/ 6386644 h 6858000"/>
              <a:gd name="connsiteX296" fmla="*/ 1514178 w 12198355"/>
              <a:gd name="connsiteY296" fmla="*/ 6387153 h 6858000"/>
              <a:gd name="connsiteX297" fmla="*/ 1519597 w 12198355"/>
              <a:gd name="connsiteY297" fmla="*/ 6387325 h 6858000"/>
              <a:gd name="connsiteX298" fmla="*/ 1526428 w 12198355"/>
              <a:gd name="connsiteY298" fmla="*/ 6387054 h 6858000"/>
              <a:gd name="connsiteX299" fmla="*/ 1532938 w 12198355"/>
              <a:gd name="connsiteY299" fmla="*/ 6386261 h 6858000"/>
              <a:gd name="connsiteX300" fmla="*/ 1539123 w 12198355"/>
              <a:gd name="connsiteY300" fmla="*/ 6384980 h 6858000"/>
              <a:gd name="connsiteX301" fmla="*/ 1544980 w 12198355"/>
              <a:gd name="connsiteY301" fmla="*/ 6383243 h 6858000"/>
              <a:gd name="connsiteX302" fmla="*/ 1550506 w 12198355"/>
              <a:gd name="connsiteY302" fmla="*/ 6381082 h 6858000"/>
              <a:gd name="connsiteX303" fmla="*/ 1555698 w 12198355"/>
              <a:gd name="connsiteY303" fmla="*/ 6378529 h 6858000"/>
              <a:gd name="connsiteX304" fmla="*/ 1560552 w 12198355"/>
              <a:gd name="connsiteY304" fmla="*/ 6375618 h 6858000"/>
              <a:gd name="connsiteX305" fmla="*/ 1565064 w 12198355"/>
              <a:gd name="connsiteY305" fmla="*/ 6372380 h 6858000"/>
              <a:gd name="connsiteX306" fmla="*/ 1569232 w 12198355"/>
              <a:gd name="connsiteY306" fmla="*/ 6368848 h 6858000"/>
              <a:gd name="connsiteX307" fmla="*/ 1573052 w 12198355"/>
              <a:gd name="connsiteY307" fmla="*/ 6365054 h 6858000"/>
              <a:gd name="connsiteX308" fmla="*/ 1576520 w 12198355"/>
              <a:gd name="connsiteY308" fmla="*/ 6361031 h 6858000"/>
              <a:gd name="connsiteX309" fmla="*/ 1579635 w 12198355"/>
              <a:gd name="connsiteY309" fmla="*/ 6356812 h 6858000"/>
              <a:gd name="connsiteX310" fmla="*/ 1582391 w 12198355"/>
              <a:gd name="connsiteY310" fmla="*/ 6352428 h 6858000"/>
              <a:gd name="connsiteX311" fmla="*/ 1584786 w 12198355"/>
              <a:gd name="connsiteY311" fmla="*/ 6347913 h 6858000"/>
              <a:gd name="connsiteX312" fmla="*/ 1586236 w 12198355"/>
              <a:gd name="connsiteY312" fmla="*/ 6344617 h 6858000"/>
              <a:gd name="connsiteX313" fmla="*/ 1586816 w 12198355"/>
              <a:gd name="connsiteY313" fmla="*/ 6343297 h 6858000"/>
              <a:gd name="connsiteX314" fmla="*/ 1588479 w 12198355"/>
              <a:gd name="connsiteY314" fmla="*/ 6338615 h 6858000"/>
              <a:gd name="connsiteX315" fmla="*/ 1588664 w 12198355"/>
              <a:gd name="connsiteY315" fmla="*/ 6336960 h 6858000"/>
              <a:gd name="connsiteX316" fmla="*/ 1588235 w 12198355"/>
              <a:gd name="connsiteY316" fmla="*/ 6335417 h 6858000"/>
              <a:gd name="connsiteX317" fmla="*/ 1587274 w 12198355"/>
              <a:gd name="connsiteY317" fmla="*/ 6334160 h 6858000"/>
              <a:gd name="connsiteX318" fmla="*/ 1585862 w 12198355"/>
              <a:gd name="connsiteY318" fmla="*/ 6333362 h 6858000"/>
              <a:gd name="connsiteX319" fmla="*/ 1553627 w 12198355"/>
              <a:gd name="connsiteY319" fmla="*/ 6323178 h 6858000"/>
              <a:gd name="connsiteX320" fmla="*/ 1552160 w 12198355"/>
              <a:gd name="connsiteY320" fmla="*/ 6323012 h 6858000"/>
              <a:gd name="connsiteX321" fmla="*/ 1550782 w 12198355"/>
              <a:gd name="connsiteY321" fmla="*/ 6323397 h 6858000"/>
              <a:gd name="connsiteX322" fmla="*/ 1549622 w 12198355"/>
              <a:gd name="connsiteY322" fmla="*/ 6324263 h 6858000"/>
              <a:gd name="connsiteX323" fmla="*/ 1548805 w 12198355"/>
              <a:gd name="connsiteY323" fmla="*/ 6325541 h 6858000"/>
              <a:gd name="connsiteX324" fmla="*/ 1546706 w 12198355"/>
              <a:gd name="connsiteY324" fmla="*/ 6329749 h 6858000"/>
              <a:gd name="connsiteX325" fmla="*/ 1543941 w 12198355"/>
              <a:gd name="connsiteY325" fmla="*/ 6333699 h 6858000"/>
              <a:gd name="connsiteX326" fmla="*/ 1540495 w 12198355"/>
              <a:gd name="connsiteY326" fmla="*/ 6337251 h 6858000"/>
              <a:gd name="connsiteX327" fmla="*/ 1536352 w 12198355"/>
              <a:gd name="connsiteY327" fmla="*/ 6340260 h 6858000"/>
              <a:gd name="connsiteX328" fmla="*/ 1531498 w 12198355"/>
              <a:gd name="connsiteY328" fmla="*/ 6342586 h 6858000"/>
              <a:gd name="connsiteX329" fmla="*/ 1525918 w 12198355"/>
              <a:gd name="connsiteY329" fmla="*/ 6344086 h 6858000"/>
              <a:gd name="connsiteX330" fmla="*/ 1519597 w 12198355"/>
              <a:gd name="connsiteY330" fmla="*/ 6344617 h 6858000"/>
              <a:gd name="connsiteX331" fmla="*/ 1514604 w 12198355"/>
              <a:gd name="connsiteY331" fmla="*/ 6344286 h 6858000"/>
              <a:gd name="connsiteX332" fmla="*/ 1509815 w 12198355"/>
              <a:gd name="connsiteY332" fmla="*/ 6343302 h 6858000"/>
              <a:gd name="connsiteX333" fmla="*/ 1505287 w 12198355"/>
              <a:gd name="connsiteY333" fmla="*/ 6341678 h 6858000"/>
              <a:gd name="connsiteX334" fmla="*/ 1501076 w 12198355"/>
              <a:gd name="connsiteY334" fmla="*/ 6339424 h 6858000"/>
              <a:gd name="connsiteX335" fmla="*/ 1497242 w 12198355"/>
              <a:gd name="connsiteY335" fmla="*/ 6336555 h 6858000"/>
              <a:gd name="connsiteX336" fmla="*/ 1493840 w 12198355"/>
              <a:gd name="connsiteY336" fmla="*/ 6333082 h 6858000"/>
              <a:gd name="connsiteX337" fmla="*/ 1490928 w 12198355"/>
              <a:gd name="connsiteY337" fmla="*/ 6329017 h 6858000"/>
              <a:gd name="connsiteX338" fmla="*/ 1488564 w 12198355"/>
              <a:gd name="connsiteY338" fmla="*/ 6324374 h 6858000"/>
              <a:gd name="connsiteX339" fmla="*/ 1486804 w 12198355"/>
              <a:gd name="connsiteY339" fmla="*/ 6319164 h 6858000"/>
              <a:gd name="connsiteX340" fmla="*/ 1485706 w 12198355"/>
              <a:gd name="connsiteY340" fmla="*/ 6313400 h 6858000"/>
              <a:gd name="connsiteX341" fmla="*/ 1485327 w 12198355"/>
              <a:gd name="connsiteY341" fmla="*/ 6307094 h 6858000"/>
              <a:gd name="connsiteX342" fmla="*/ 1485692 w 12198355"/>
              <a:gd name="connsiteY342" fmla="*/ 6300711 h 6858000"/>
              <a:gd name="connsiteX343" fmla="*/ 1486752 w 12198355"/>
              <a:gd name="connsiteY343" fmla="*/ 6294885 h 6858000"/>
              <a:gd name="connsiteX344" fmla="*/ 1488456 w 12198355"/>
              <a:gd name="connsiteY344" fmla="*/ 6289625 h 6858000"/>
              <a:gd name="connsiteX345" fmla="*/ 1490750 w 12198355"/>
              <a:gd name="connsiteY345" fmla="*/ 6284943 h 6858000"/>
              <a:gd name="connsiteX346" fmla="*/ 1493584 w 12198355"/>
              <a:gd name="connsiteY346" fmla="*/ 6280849 h 6858000"/>
              <a:gd name="connsiteX347" fmla="*/ 1496906 w 12198355"/>
              <a:gd name="connsiteY347" fmla="*/ 6277355 h 6858000"/>
              <a:gd name="connsiteX348" fmla="*/ 1500663 w 12198355"/>
              <a:gd name="connsiteY348" fmla="*/ 6274472 h 6858000"/>
              <a:gd name="connsiteX349" fmla="*/ 1504804 w 12198355"/>
              <a:gd name="connsiteY349" fmla="*/ 6272210 h 6858000"/>
              <a:gd name="connsiteX350" fmla="*/ 1509276 w 12198355"/>
              <a:gd name="connsiteY350" fmla="*/ 6270581 h 6858000"/>
              <a:gd name="connsiteX351" fmla="*/ 1514028 w 12198355"/>
              <a:gd name="connsiteY351" fmla="*/ 6269595 h 6858000"/>
              <a:gd name="connsiteX352" fmla="*/ 1519008 w 12198355"/>
              <a:gd name="connsiteY352" fmla="*/ 6269264 h 6858000"/>
              <a:gd name="connsiteX353" fmla="*/ 1525289 w 12198355"/>
              <a:gd name="connsiteY353" fmla="*/ 6269783 h 6858000"/>
              <a:gd name="connsiteX354" fmla="*/ 1530765 w 12198355"/>
              <a:gd name="connsiteY354" fmla="*/ 6271251 h 6858000"/>
              <a:gd name="connsiteX355" fmla="*/ 1535471 w 12198355"/>
              <a:gd name="connsiteY355" fmla="*/ 6273539 h 6858000"/>
              <a:gd name="connsiteX356" fmla="*/ 1539447 w 12198355"/>
              <a:gd name="connsiteY356" fmla="*/ 6276516 h 6858000"/>
              <a:gd name="connsiteX357" fmla="*/ 1542728 w 12198355"/>
              <a:gd name="connsiteY357" fmla="*/ 6280050 h 6858000"/>
              <a:gd name="connsiteX358" fmla="*/ 1545352 w 12198355"/>
              <a:gd name="connsiteY358" fmla="*/ 6284012 h 6858000"/>
              <a:gd name="connsiteX359" fmla="*/ 1547356 w 12198355"/>
              <a:gd name="connsiteY359" fmla="*/ 6288270 h 6858000"/>
              <a:gd name="connsiteX360" fmla="*/ 1548161 w 12198355"/>
              <a:gd name="connsiteY360" fmla="*/ 6289574 h 6858000"/>
              <a:gd name="connsiteX361" fmla="*/ 1549322 w 12198355"/>
              <a:gd name="connsiteY361" fmla="*/ 6290463 h 6858000"/>
              <a:gd name="connsiteX362" fmla="*/ 1550709 w 12198355"/>
              <a:gd name="connsiteY362" fmla="*/ 6290865 h 6858000"/>
              <a:gd name="connsiteX363" fmla="*/ 1552192 w 12198355"/>
              <a:gd name="connsiteY363" fmla="*/ 6290706 h 6858000"/>
              <a:gd name="connsiteX364" fmla="*/ 1584982 w 12198355"/>
              <a:gd name="connsiteY364" fmla="*/ 6280499 h 6858000"/>
              <a:gd name="connsiteX365" fmla="*/ 1586395 w 12198355"/>
              <a:gd name="connsiteY365" fmla="*/ 6279710 h 6858000"/>
              <a:gd name="connsiteX366" fmla="*/ 1587360 w 12198355"/>
              <a:gd name="connsiteY366" fmla="*/ 6278461 h 6858000"/>
              <a:gd name="connsiteX367" fmla="*/ 1587797 w 12198355"/>
              <a:gd name="connsiteY367" fmla="*/ 6276923 h 6858000"/>
              <a:gd name="connsiteX368" fmla="*/ 1587624 w 12198355"/>
              <a:gd name="connsiteY368" fmla="*/ 6275269 h 6858000"/>
              <a:gd name="connsiteX369" fmla="*/ 1586087 w 12198355"/>
              <a:gd name="connsiteY369" fmla="*/ 6270783 h 6858000"/>
              <a:gd name="connsiteX370" fmla="*/ 1585447 w 12198355"/>
              <a:gd name="connsiteY370" fmla="*/ 6269264 h 6858000"/>
              <a:gd name="connsiteX371" fmla="*/ 1584229 w 12198355"/>
              <a:gd name="connsiteY371" fmla="*/ 6266374 h 6858000"/>
              <a:gd name="connsiteX372" fmla="*/ 1582051 w 12198355"/>
              <a:gd name="connsiteY372" fmla="*/ 6262066 h 6858000"/>
              <a:gd name="connsiteX373" fmla="*/ 1579553 w 12198355"/>
              <a:gd name="connsiteY373" fmla="*/ 6257885 h 6858000"/>
              <a:gd name="connsiteX374" fmla="*/ 1576736 w 12198355"/>
              <a:gd name="connsiteY374" fmla="*/ 6253856 h 6858000"/>
              <a:gd name="connsiteX375" fmla="*/ 1573599 w 12198355"/>
              <a:gd name="connsiteY375" fmla="*/ 6250004 h 6858000"/>
              <a:gd name="connsiteX376" fmla="*/ 1570144 w 12198355"/>
              <a:gd name="connsiteY376" fmla="*/ 6246355 h 6858000"/>
              <a:gd name="connsiteX377" fmla="*/ 1566370 w 12198355"/>
              <a:gd name="connsiteY377" fmla="*/ 6242934 h 6858000"/>
              <a:gd name="connsiteX378" fmla="*/ 1562278 w 12198355"/>
              <a:gd name="connsiteY378" fmla="*/ 6239766 h 6858000"/>
              <a:gd name="connsiteX379" fmla="*/ 1557868 w 12198355"/>
              <a:gd name="connsiteY379" fmla="*/ 6236876 h 6858000"/>
              <a:gd name="connsiteX380" fmla="*/ 1553140 w 12198355"/>
              <a:gd name="connsiteY380" fmla="*/ 6234289 h 6858000"/>
              <a:gd name="connsiteX381" fmla="*/ 1548095 w 12198355"/>
              <a:gd name="connsiteY381" fmla="*/ 6232031 h 6858000"/>
              <a:gd name="connsiteX382" fmla="*/ 1542733 w 12198355"/>
              <a:gd name="connsiteY382" fmla="*/ 6230128 h 6858000"/>
              <a:gd name="connsiteX383" fmla="*/ 1537054 w 12198355"/>
              <a:gd name="connsiteY383" fmla="*/ 6228603 h 6858000"/>
              <a:gd name="connsiteX384" fmla="*/ 1531059 w 12198355"/>
              <a:gd name="connsiteY384" fmla="*/ 6227483 h 6858000"/>
              <a:gd name="connsiteX385" fmla="*/ 1524748 w 12198355"/>
              <a:gd name="connsiteY385" fmla="*/ 6226792 h 6858000"/>
              <a:gd name="connsiteX386" fmla="*/ 1518121 w 12198355"/>
              <a:gd name="connsiteY386" fmla="*/ 6226556 h 6858000"/>
              <a:gd name="connsiteX387" fmla="*/ 1349948 w 12198355"/>
              <a:gd name="connsiteY387" fmla="*/ 6226556 h 6858000"/>
              <a:gd name="connsiteX388" fmla="*/ 1344301 w 12198355"/>
              <a:gd name="connsiteY388" fmla="*/ 6226743 h 6858000"/>
              <a:gd name="connsiteX389" fmla="*/ 1338773 w 12198355"/>
              <a:gd name="connsiteY389" fmla="*/ 6227298 h 6858000"/>
              <a:gd name="connsiteX390" fmla="*/ 1333377 w 12198355"/>
              <a:gd name="connsiteY390" fmla="*/ 6228210 h 6858000"/>
              <a:gd name="connsiteX391" fmla="*/ 1328124 w 12198355"/>
              <a:gd name="connsiteY391" fmla="*/ 6229471 h 6858000"/>
              <a:gd name="connsiteX392" fmla="*/ 1323028 w 12198355"/>
              <a:gd name="connsiteY392" fmla="*/ 6231070 h 6858000"/>
              <a:gd name="connsiteX393" fmla="*/ 1318101 w 12198355"/>
              <a:gd name="connsiteY393" fmla="*/ 6232998 h 6858000"/>
              <a:gd name="connsiteX394" fmla="*/ 1313353 w 12198355"/>
              <a:gd name="connsiteY394" fmla="*/ 6235246 h 6858000"/>
              <a:gd name="connsiteX395" fmla="*/ 1308799 w 12198355"/>
              <a:gd name="connsiteY395" fmla="*/ 6237803 h 6858000"/>
              <a:gd name="connsiteX396" fmla="*/ 1304450 w 12198355"/>
              <a:gd name="connsiteY396" fmla="*/ 6240661 h 6858000"/>
              <a:gd name="connsiteX397" fmla="*/ 1300319 w 12198355"/>
              <a:gd name="connsiteY397" fmla="*/ 6243809 h 6858000"/>
              <a:gd name="connsiteX398" fmla="*/ 1296416 w 12198355"/>
              <a:gd name="connsiteY398" fmla="*/ 6247238 h 6858000"/>
              <a:gd name="connsiteX399" fmla="*/ 1292756 w 12198355"/>
              <a:gd name="connsiteY399" fmla="*/ 6250938 h 6858000"/>
              <a:gd name="connsiteX400" fmla="*/ 1289350 w 12198355"/>
              <a:gd name="connsiteY400" fmla="*/ 6254900 h 6858000"/>
              <a:gd name="connsiteX401" fmla="*/ 1286210 w 12198355"/>
              <a:gd name="connsiteY401" fmla="*/ 6259113 h 6858000"/>
              <a:gd name="connsiteX402" fmla="*/ 1283349 w 12198355"/>
              <a:gd name="connsiteY402" fmla="*/ 6263569 h 6858000"/>
              <a:gd name="connsiteX403" fmla="*/ 1280778 w 12198355"/>
              <a:gd name="connsiteY403" fmla="*/ 6268258 h 6858000"/>
              <a:gd name="connsiteX404" fmla="*/ 1278511 w 12198355"/>
              <a:gd name="connsiteY404" fmla="*/ 6273170 h 6858000"/>
              <a:gd name="connsiteX405" fmla="*/ 1276559 w 12198355"/>
              <a:gd name="connsiteY405" fmla="*/ 6278296 h 6858000"/>
              <a:gd name="connsiteX406" fmla="*/ 1274934 w 12198355"/>
              <a:gd name="connsiteY406" fmla="*/ 6283625 h 6858000"/>
              <a:gd name="connsiteX407" fmla="*/ 1273649 w 12198355"/>
              <a:gd name="connsiteY407" fmla="*/ 6289148 h 6858000"/>
              <a:gd name="connsiteX408" fmla="*/ 1272716 w 12198355"/>
              <a:gd name="connsiteY408" fmla="*/ 6294856 h 6858000"/>
              <a:gd name="connsiteX409" fmla="*/ 1272147 w 12198355"/>
              <a:gd name="connsiteY409" fmla="*/ 6300739 h 6858000"/>
              <a:gd name="connsiteX410" fmla="*/ 1271955 w 12198355"/>
              <a:gd name="connsiteY410" fmla="*/ 6306788 h 6858000"/>
              <a:gd name="connsiteX411" fmla="*/ 1272132 w 12198355"/>
              <a:gd name="connsiteY411" fmla="*/ 6312589 h 6858000"/>
              <a:gd name="connsiteX412" fmla="*/ 1272655 w 12198355"/>
              <a:gd name="connsiteY412" fmla="*/ 6318242 h 6858000"/>
              <a:gd name="connsiteX413" fmla="*/ 1273513 w 12198355"/>
              <a:gd name="connsiteY413" fmla="*/ 6323737 h 6858000"/>
              <a:gd name="connsiteX414" fmla="*/ 1274696 w 12198355"/>
              <a:gd name="connsiteY414" fmla="*/ 6329067 h 6858000"/>
              <a:gd name="connsiteX415" fmla="*/ 1276193 w 12198355"/>
              <a:gd name="connsiteY415" fmla="*/ 6334221 h 6858000"/>
              <a:gd name="connsiteX416" fmla="*/ 1277993 w 12198355"/>
              <a:gd name="connsiteY416" fmla="*/ 6339192 h 6858000"/>
              <a:gd name="connsiteX417" fmla="*/ 1280085 w 12198355"/>
              <a:gd name="connsiteY417" fmla="*/ 6343971 h 6858000"/>
              <a:gd name="connsiteX418" fmla="*/ 1282459 w 12198355"/>
              <a:gd name="connsiteY418" fmla="*/ 6348549 h 6858000"/>
              <a:gd name="connsiteX419" fmla="*/ 1285104 w 12198355"/>
              <a:gd name="connsiteY419" fmla="*/ 6352916 h 6858000"/>
              <a:gd name="connsiteX420" fmla="*/ 1288009 w 12198355"/>
              <a:gd name="connsiteY420" fmla="*/ 6357066 h 6858000"/>
              <a:gd name="connsiteX421" fmla="*/ 1291163 w 12198355"/>
              <a:gd name="connsiteY421" fmla="*/ 6360988 h 6858000"/>
              <a:gd name="connsiteX422" fmla="*/ 1294555 w 12198355"/>
              <a:gd name="connsiteY422" fmla="*/ 6364675 h 6858000"/>
              <a:gd name="connsiteX423" fmla="*/ 1298175 w 12198355"/>
              <a:gd name="connsiteY423" fmla="*/ 6368116 h 6858000"/>
              <a:gd name="connsiteX424" fmla="*/ 1302013 w 12198355"/>
              <a:gd name="connsiteY424" fmla="*/ 6371304 h 6858000"/>
              <a:gd name="connsiteX425" fmla="*/ 1306056 w 12198355"/>
              <a:gd name="connsiteY425" fmla="*/ 6374230 h 6858000"/>
              <a:gd name="connsiteX426" fmla="*/ 1310295 w 12198355"/>
              <a:gd name="connsiteY426" fmla="*/ 6376886 h 6858000"/>
              <a:gd name="connsiteX427" fmla="*/ 1314719 w 12198355"/>
              <a:gd name="connsiteY427" fmla="*/ 6379261 h 6858000"/>
              <a:gd name="connsiteX428" fmla="*/ 1319316 w 12198355"/>
              <a:gd name="connsiteY428" fmla="*/ 6381348 h 6858000"/>
              <a:gd name="connsiteX429" fmla="*/ 1324077 w 12198355"/>
              <a:gd name="connsiteY429" fmla="*/ 6383138 h 6858000"/>
              <a:gd name="connsiteX430" fmla="*/ 1328989 w 12198355"/>
              <a:gd name="connsiteY430" fmla="*/ 6384622 h 6858000"/>
              <a:gd name="connsiteX431" fmla="*/ 1334044 w 12198355"/>
              <a:gd name="connsiteY431" fmla="*/ 6385792 h 6858000"/>
              <a:gd name="connsiteX432" fmla="*/ 1339229 w 12198355"/>
              <a:gd name="connsiteY432" fmla="*/ 6386638 h 6858000"/>
              <a:gd name="connsiteX433" fmla="*/ 1344534 w 12198355"/>
              <a:gd name="connsiteY433" fmla="*/ 6387152 h 6858000"/>
              <a:gd name="connsiteX434" fmla="*/ 1349948 w 12198355"/>
              <a:gd name="connsiteY434" fmla="*/ 6387325 h 6858000"/>
              <a:gd name="connsiteX435" fmla="*/ 1355397 w 12198355"/>
              <a:gd name="connsiteY435" fmla="*/ 6387152 h 6858000"/>
              <a:gd name="connsiteX436" fmla="*/ 1360730 w 12198355"/>
              <a:gd name="connsiteY436" fmla="*/ 6386638 h 6858000"/>
              <a:gd name="connsiteX437" fmla="*/ 1365938 w 12198355"/>
              <a:gd name="connsiteY437" fmla="*/ 6385792 h 6858000"/>
              <a:gd name="connsiteX438" fmla="*/ 1371010 w 12198355"/>
              <a:gd name="connsiteY438" fmla="*/ 6384622 h 6858000"/>
              <a:gd name="connsiteX439" fmla="*/ 1375936 w 12198355"/>
              <a:gd name="connsiteY439" fmla="*/ 6383138 h 6858000"/>
              <a:gd name="connsiteX440" fmla="*/ 1380706 w 12198355"/>
              <a:gd name="connsiteY440" fmla="*/ 6381348 h 6858000"/>
              <a:gd name="connsiteX441" fmla="*/ 1385308 w 12198355"/>
              <a:gd name="connsiteY441" fmla="*/ 6379261 h 6858000"/>
              <a:gd name="connsiteX442" fmla="*/ 1389734 w 12198355"/>
              <a:gd name="connsiteY442" fmla="*/ 6376886 h 6858000"/>
              <a:gd name="connsiteX443" fmla="*/ 1393971 w 12198355"/>
              <a:gd name="connsiteY443" fmla="*/ 6374230 h 6858000"/>
              <a:gd name="connsiteX444" fmla="*/ 1398010 w 12198355"/>
              <a:gd name="connsiteY444" fmla="*/ 6371304 h 6858000"/>
              <a:gd name="connsiteX445" fmla="*/ 1401841 w 12198355"/>
              <a:gd name="connsiteY445" fmla="*/ 6368116 h 6858000"/>
              <a:gd name="connsiteX446" fmla="*/ 1405453 w 12198355"/>
              <a:gd name="connsiteY446" fmla="*/ 6364675 h 6858000"/>
              <a:gd name="connsiteX447" fmla="*/ 1408836 w 12198355"/>
              <a:gd name="connsiteY447" fmla="*/ 6360988 h 6858000"/>
              <a:gd name="connsiteX448" fmla="*/ 1411979 w 12198355"/>
              <a:gd name="connsiteY448" fmla="*/ 6357066 h 6858000"/>
              <a:gd name="connsiteX449" fmla="*/ 1414872 w 12198355"/>
              <a:gd name="connsiteY449" fmla="*/ 6352916 h 6858000"/>
              <a:gd name="connsiteX450" fmla="*/ 1417504 w 12198355"/>
              <a:gd name="connsiteY450" fmla="*/ 6348549 h 6858000"/>
              <a:gd name="connsiteX451" fmla="*/ 1419533 w 12198355"/>
              <a:gd name="connsiteY451" fmla="*/ 6344617 h 6858000"/>
              <a:gd name="connsiteX452" fmla="*/ 1421947 w 12198355"/>
              <a:gd name="connsiteY452" fmla="*/ 6339192 h 6858000"/>
              <a:gd name="connsiteX453" fmla="*/ 1423736 w 12198355"/>
              <a:gd name="connsiteY453" fmla="*/ 6334221 h 6858000"/>
              <a:gd name="connsiteX454" fmla="*/ 1425223 w 12198355"/>
              <a:gd name="connsiteY454" fmla="*/ 6329067 h 6858000"/>
              <a:gd name="connsiteX455" fmla="*/ 1426398 w 12198355"/>
              <a:gd name="connsiteY455" fmla="*/ 6323737 h 6858000"/>
              <a:gd name="connsiteX456" fmla="*/ 1427249 w 12198355"/>
              <a:gd name="connsiteY456" fmla="*/ 6318242 h 6858000"/>
              <a:gd name="connsiteX457" fmla="*/ 1427768 w 12198355"/>
              <a:gd name="connsiteY457" fmla="*/ 6312589 h 6858000"/>
              <a:gd name="connsiteX458" fmla="*/ 1427943 w 12198355"/>
              <a:gd name="connsiteY458" fmla="*/ 6306788 h 6858000"/>
              <a:gd name="connsiteX459" fmla="*/ 1427753 w 12198355"/>
              <a:gd name="connsiteY459" fmla="*/ 6300739 h 6858000"/>
              <a:gd name="connsiteX460" fmla="*/ 1427188 w 12198355"/>
              <a:gd name="connsiteY460" fmla="*/ 6294856 h 6858000"/>
              <a:gd name="connsiteX461" fmla="*/ 1426262 w 12198355"/>
              <a:gd name="connsiteY461" fmla="*/ 6289148 h 6858000"/>
              <a:gd name="connsiteX462" fmla="*/ 1424986 w 12198355"/>
              <a:gd name="connsiteY462" fmla="*/ 6283625 h 6858000"/>
              <a:gd name="connsiteX463" fmla="*/ 1423372 w 12198355"/>
              <a:gd name="connsiteY463" fmla="*/ 6278296 h 6858000"/>
              <a:gd name="connsiteX464" fmla="*/ 1421432 w 12198355"/>
              <a:gd name="connsiteY464" fmla="*/ 6273170 h 6858000"/>
              <a:gd name="connsiteX465" fmla="*/ 1419639 w 12198355"/>
              <a:gd name="connsiteY465" fmla="*/ 6269264 h 6858000"/>
              <a:gd name="connsiteX466" fmla="*/ 1419177 w 12198355"/>
              <a:gd name="connsiteY466" fmla="*/ 6268258 h 6858000"/>
              <a:gd name="connsiteX467" fmla="*/ 1416619 w 12198355"/>
              <a:gd name="connsiteY467" fmla="*/ 6263569 h 6858000"/>
              <a:gd name="connsiteX468" fmla="*/ 1413770 w 12198355"/>
              <a:gd name="connsiteY468" fmla="*/ 6259113 h 6858000"/>
              <a:gd name="connsiteX469" fmla="*/ 1410643 w 12198355"/>
              <a:gd name="connsiteY469" fmla="*/ 6254900 h 6858000"/>
              <a:gd name="connsiteX470" fmla="*/ 1407247 w 12198355"/>
              <a:gd name="connsiteY470" fmla="*/ 6250938 h 6858000"/>
              <a:gd name="connsiteX471" fmla="*/ 1403597 w 12198355"/>
              <a:gd name="connsiteY471" fmla="*/ 6247238 h 6858000"/>
              <a:gd name="connsiteX472" fmla="*/ 1399702 w 12198355"/>
              <a:gd name="connsiteY472" fmla="*/ 6243809 h 6858000"/>
              <a:gd name="connsiteX473" fmla="*/ 1395576 w 12198355"/>
              <a:gd name="connsiteY473" fmla="*/ 6240661 h 6858000"/>
              <a:gd name="connsiteX474" fmla="*/ 1391230 w 12198355"/>
              <a:gd name="connsiteY474" fmla="*/ 6237803 h 6858000"/>
              <a:gd name="connsiteX475" fmla="*/ 1386675 w 12198355"/>
              <a:gd name="connsiteY475" fmla="*/ 6235246 h 6858000"/>
              <a:gd name="connsiteX476" fmla="*/ 1381923 w 12198355"/>
              <a:gd name="connsiteY476" fmla="*/ 6232998 h 6858000"/>
              <a:gd name="connsiteX477" fmla="*/ 1376987 w 12198355"/>
              <a:gd name="connsiteY477" fmla="*/ 6231070 h 6858000"/>
              <a:gd name="connsiteX478" fmla="*/ 1371878 w 12198355"/>
              <a:gd name="connsiteY478" fmla="*/ 6229471 h 6858000"/>
              <a:gd name="connsiteX479" fmla="*/ 1366608 w 12198355"/>
              <a:gd name="connsiteY479" fmla="*/ 6228210 h 6858000"/>
              <a:gd name="connsiteX480" fmla="*/ 1361188 w 12198355"/>
              <a:gd name="connsiteY480" fmla="*/ 6227298 h 6858000"/>
              <a:gd name="connsiteX481" fmla="*/ 1355631 w 12198355"/>
              <a:gd name="connsiteY481" fmla="*/ 6226743 h 6858000"/>
              <a:gd name="connsiteX482" fmla="*/ 1349948 w 12198355"/>
              <a:gd name="connsiteY482" fmla="*/ 6226556 h 6858000"/>
              <a:gd name="connsiteX483" fmla="*/ 782044 w 12198355"/>
              <a:gd name="connsiteY483" fmla="*/ 6166457 h 6858000"/>
              <a:gd name="connsiteX484" fmla="*/ 780496 w 12198355"/>
              <a:gd name="connsiteY484" fmla="*/ 6166780 h 6858000"/>
              <a:gd name="connsiteX485" fmla="*/ 779232 w 12198355"/>
              <a:gd name="connsiteY485" fmla="*/ 6167660 h 6858000"/>
              <a:gd name="connsiteX486" fmla="*/ 778380 w 12198355"/>
              <a:gd name="connsiteY486" fmla="*/ 6168966 h 6858000"/>
              <a:gd name="connsiteX487" fmla="*/ 778067 w 12198355"/>
              <a:gd name="connsiteY487" fmla="*/ 6170564 h 6858000"/>
              <a:gd name="connsiteX488" fmla="*/ 778067 w 12198355"/>
              <a:gd name="connsiteY488" fmla="*/ 6378643 h 6858000"/>
              <a:gd name="connsiteX489" fmla="*/ 778380 w 12198355"/>
              <a:gd name="connsiteY489" fmla="*/ 6380242 h 6858000"/>
              <a:gd name="connsiteX490" fmla="*/ 779232 w 12198355"/>
              <a:gd name="connsiteY490" fmla="*/ 6381547 h 6858000"/>
              <a:gd name="connsiteX491" fmla="*/ 780496 w 12198355"/>
              <a:gd name="connsiteY491" fmla="*/ 6382427 h 6858000"/>
              <a:gd name="connsiteX492" fmla="*/ 782044 w 12198355"/>
              <a:gd name="connsiteY492" fmla="*/ 6382750 h 6858000"/>
              <a:gd name="connsiteX493" fmla="*/ 907033 w 12198355"/>
              <a:gd name="connsiteY493" fmla="*/ 6382750 h 6858000"/>
              <a:gd name="connsiteX494" fmla="*/ 908581 w 12198355"/>
              <a:gd name="connsiteY494" fmla="*/ 6382427 h 6858000"/>
              <a:gd name="connsiteX495" fmla="*/ 909845 w 12198355"/>
              <a:gd name="connsiteY495" fmla="*/ 6381547 h 6858000"/>
              <a:gd name="connsiteX496" fmla="*/ 910697 w 12198355"/>
              <a:gd name="connsiteY496" fmla="*/ 6380242 h 6858000"/>
              <a:gd name="connsiteX497" fmla="*/ 911010 w 12198355"/>
              <a:gd name="connsiteY497" fmla="*/ 6378643 h 6858000"/>
              <a:gd name="connsiteX498" fmla="*/ 911010 w 12198355"/>
              <a:gd name="connsiteY498" fmla="*/ 6341097 h 6858000"/>
              <a:gd name="connsiteX499" fmla="*/ 908581 w 12198355"/>
              <a:gd name="connsiteY499" fmla="*/ 6337313 h 6858000"/>
              <a:gd name="connsiteX500" fmla="*/ 828722 w 12198355"/>
              <a:gd name="connsiteY500" fmla="*/ 6336990 h 6858000"/>
              <a:gd name="connsiteX501" fmla="*/ 827174 w 12198355"/>
              <a:gd name="connsiteY501" fmla="*/ 6336667 h 6858000"/>
              <a:gd name="connsiteX502" fmla="*/ 825910 w 12198355"/>
              <a:gd name="connsiteY502" fmla="*/ 6335787 h 6858000"/>
              <a:gd name="connsiteX503" fmla="*/ 825057 w 12198355"/>
              <a:gd name="connsiteY503" fmla="*/ 6334481 h 6858000"/>
              <a:gd name="connsiteX504" fmla="*/ 824744 w 12198355"/>
              <a:gd name="connsiteY504" fmla="*/ 6332883 h 6858000"/>
              <a:gd name="connsiteX505" fmla="*/ 824744 w 12198355"/>
              <a:gd name="connsiteY505" fmla="*/ 6299607 h 6858000"/>
              <a:gd name="connsiteX506" fmla="*/ 825057 w 12198355"/>
              <a:gd name="connsiteY506" fmla="*/ 6298009 h 6858000"/>
              <a:gd name="connsiteX507" fmla="*/ 825910 w 12198355"/>
              <a:gd name="connsiteY507" fmla="*/ 6296703 h 6858000"/>
              <a:gd name="connsiteX508" fmla="*/ 827174 w 12198355"/>
              <a:gd name="connsiteY508" fmla="*/ 6295823 h 6858000"/>
              <a:gd name="connsiteX509" fmla="*/ 828722 w 12198355"/>
              <a:gd name="connsiteY509" fmla="*/ 6295500 h 6858000"/>
              <a:gd name="connsiteX510" fmla="*/ 898759 w 12198355"/>
              <a:gd name="connsiteY510" fmla="*/ 6295500 h 6858000"/>
              <a:gd name="connsiteX511" fmla="*/ 900308 w 12198355"/>
              <a:gd name="connsiteY511" fmla="*/ 6295178 h 6858000"/>
              <a:gd name="connsiteX512" fmla="*/ 901572 w 12198355"/>
              <a:gd name="connsiteY512" fmla="*/ 6294298 h 6858000"/>
              <a:gd name="connsiteX513" fmla="*/ 902425 w 12198355"/>
              <a:gd name="connsiteY513" fmla="*/ 6292992 h 6858000"/>
              <a:gd name="connsiteX514" fmla="*/ 902738 w 12198355"/>
              <a:gd name="connsiteY514" fmla="*/ 6291393 h 6858000"/>
              <a:gd name="connsiteX515" fmla="*/ 902738 w 12198355"/>
              <a:gd name="connsiteY515" fmla="*/ 6257204 h 6858000"/>
              <a:gd name="connsiteX516" fmla="*/ 902425 w 12198355"/>
              <a:gd name="connsiteY516" fmla="*/ 6255605 h 6858000"/>
              <a:gd name="connsiteX517" fmla="*/ 901572 w 12198355"/>
              <a:gd name="connsiteY517" fmla="*/ 6254300 h 6858000"/>
              <a:gd name="connsiteX518" fmla="*/ 900308 w 12198355"/>
              <a:gd name="connsiteY518" fmla="*/ 6253419 h 6858000"/>
              <a:gd name="connsiteX519" fmla="*/ 898759 w 12198355"/>
              <a:gd name="connsiteY519" fmla="*/ 6253097 h 6858000"/>
              <a:gd name="connsiteX520" fmla="*/ 828722 w 12198355"/>
              <a:gd name="connsiteY520" fmla="*/ 6253097 h 6858000"/>
              <a:gd name="connsiteX521" fmla="*/ 827174 w 12198355"/>
              <a:gd name="connsiteY521" fmla="*/ 6252774 h 6858000"/>
              <a:gd name="connsiteX522" fmla="*/ 825910 w 12198355"/>
              <a:gd name="connsiteY522" fmla="*/ 6251894 h 6858000"/>
              <a:gd name="connsiteX523" fmla="*/ 825057 w 12198355"/>
              <a:gd name="connsiteY523" fmla="*/ 6250589 h 6858000"/>
              <a:gd name="connsiteX524" fmla="*/ 824744 w 12198355"/>
              <a:gd name="connsiteY524" fmla="*/ 6248990 h 6858000"/>
              <a:gd name="connsiteX525" fmla="*/ 824744 w 12198355"/>
              <a:gd name="connsiteY525" fmla="*/ 6216020 h 6858000"/>
              <a:gd name="connsiteX526" fmla="*/ 825057 w 12198355"/>
              <a:gd name="connsiteY526" fmla="*/ 6214421 h 6858000"/>
              <a:gd name="connsiteX527" fmla="*/ 825910 w 12198355"/>
              <a:gd name="connsiteY527" fmla="*/ 6213116 h 6858000"/>
              <a:gd name="connsiteX528" fmla="*/ 827174 w 12198355"/>
              <a:gd name="connsiteY528" fmla="*/ 6212236 h 6858000"/>
              <a:gd name="connsiteX529" fmla="*/ 828722 w 12198355"/>
              <a:gd name="connsiteY529" fmla="*/ 6211913 h 6858000"/>
              <a:gd name="connsiteX530" fmla="*/ 906737 w 12198355"/>
              <a:gd name="connsiteY530" fmla="*/ 6211913 h 6858000"/>
              <a:gd name="connsiteX531" fmla="*/ 908285 w 12198355"/>
              <a:gd name="connsiteY531" fmla="*/ 6211590 h 6858000"/>
              <a:gd name="connsiteX532" fmla="*/ 909549 w 12198355"/>
              <a:gd name="connsiteY532" fmla="*/ 6210710 h 6858000"/>
              <a:gd name="connsiteX533" fmla="*/ 910401 w 12198355"/>
              <a:gd name="connsiteY533" fmla="*/ 6209405 h 6858000"/>
              <a:gd name="connsiteX534" fmla="*/ 910714 w 12198355"/>
              <a:gd name="connsiteY534" fmla="*/ 6207806 h 6858000"/>
              <a:gd name="connsiteX535" fmla="*/ 910714 w 12198355"/>
              <a:gd name="connsiteY535" fmla="*/ 6170564 h 6858000"/>
              <a:gd name="connsiteX536" fmla="*/ 910401 w 12198355"/>
              <a:gd name="connsiteY536" fmla="*/ 6168966 h 6858000"/>
              <a:gd name="connsiteX537" fmla="*/ 909549 w 12198355"/>
              <a:gd name="connsiteY537" fmla="*/ 6167660 h 6858000"/>
              <a:gd name="connsiteX538" fmla="*/ 908285 w 12198355"/>
              <a:gd name="connsiteY538" fmla="*/ 6166780 h 6858000"/>
              <a:gd name="connsiteX539" fmla="*/ 906737 w 12198355"/>
              <a:gd name="connsiteY539" fmla="*/ 6166457 h 6858000"/>
              <a:gd name="connsiteX540" fmla="*/ 782044 w 12198355"/>
              <a:gd name="connsiteY540" fmla="*/ 6166457 h 6858000"/>
              <a:gd name="connsiteX541" fmla="*/ 1124613 w 12198355"/>
              <a:gd name="connsiteY541" fmla="*/ 6157611 h 6858000"/>
              <a:gd name="connsiteX542" fmla="*/ 1119425 w 12198355"/>
              <a:gd name="connsiteY542" fmla="*/ 6158165 h 6858000"/>
              <a:gd name="connsiteX543" fmla="*/ 1114569 w 12198355"/>
              <a:gd name="connsiteY543" fmla="*/ 6159751 h 6858000"/>
              <a:gd name="connsiteX544" fmla="*/ 1110156 w 12198355"/>
              <a:gd name="connsiteY544" fmla="*/ 6162260 h 6858000"/>
              <a:gd name="connsiteX545" fmla="*/ 1106297 w 12198355"/>
              <a:gd name="connsiteY545" fmla="*/ 6165581 h 6858000"/>
              <a:gd name="connsiteX546" fmla="*/ 1103103 w 12198355"/>
              <a:gd name="connsiteY546" fmla="*/ 6169602 h 6858000"/>
              <a:gd name="connsiteX547" fmla="*/ 1100684 w 12198355"/>
              <a:gd name="connsiteY547" fmla="*/ 6174213 h 6858000"/>
              <a:gd name="connsiteX548" fmla="*/ 1099151 w 12198355"/>
              <a:gd name="connsiteY548" fmla="*/ 6179304 h 6858000"/>
              <a:gd name="connsiteX549" fmla="*/ 1098616 w 12198355"/>
              <a:gd name="connsiteY549" fmla="*/ 6184762 h 6858000"/>
              <a:gd name="connsiteX550" fmla="*/ 1099151 w 12198355"/>
              <a:gd name="connsiteY550" fmla="*/ 6190221 h 6858000"/>
              <a:gd name="connsiteX551" fmla="*/ 1100684 w 12198355"/>
              <a:gd name="connsiteY551" fmla="*/ 6195311 h 6858000"/>
              <a:gd name="connsiteX552" fmla="*/ 1103103 w 12198355"/>
              <a:gd name="connsiteY552" fmla="*/ 6199922 h 6858000"/>
              <a:gd name="connsiteX553" fmla="*/ 1106297 w 12198355"/>
              <a:gd name="connsiteY553" fmla="*/ 6203943 h 6858000"/>
              <a:gd name="connsiteX554" fmla="*/ 1110156 w 12198355"/>
              <a:gd name="connsiteY554" fmla="*/ 6207264 h 6858000"/>
              <a:gd name="connsiteX555" fmla="*/ 1114569 w 12198355"/>
              <a:gd name="connsiteY555" fmla="*/ 6209773 h 6858000"/>
              <a:gd name="connsiteX556" fmla="*/ 1119425 w 12198355"/>
              <a:gd name="connsiteY556" fmla="*/ 6211360 h 6858000"/>
              <a:gd name="connsiteX557" fmla="*/ 1124613 w 12198355"/>
              <a:gd name="connsiteY557" fmla="*/ 6211913 h 6858000"/>
              <a:gd name="connsiteX558" fmla="*/ 1129997 w 12198355"/>
              <a:gd name="connsiteY558" fmla="*/ 6211360 h 6858000"/>
              <a:gd name="connsiteX559" fmla="*/ 1135000 w 12198355"/>
              <a:gd name="connsiteY559" fmla="*/ 6209773 h 6858000"/>
              <a:gd name="connsiteX560" fmla="*/ 1139518 w 12198355"/>
              <a:gd name="connsiteY560" fmla="*/ 6207264 h 6858000"/>
              <a:gd name="connsiteX561" fmla="*/ 1143447 w 12198355"/>
              <a:gd name="connsiteY561" fmla="*/ 6203943 h 6858000"/>
              <a:gd name="connsiteX562" fmla="*/ 1146685 w 12198355"/>
              <a:gd name="connsiteY562" fmla="*/ 6199922 h 6858000"/>
              <a:gd name="connsiteX563" fmla="*/ 1149125 w 12198355"/>
              <a:gd name="connsiteY563" fmla="*/ 6195311 h 6858000"/>
              <a:gd name="connsiteX564" fmla="*/ 1150666 w 12198355"/>
              <a:gd name="connsiteY564" fmla="*/ 6190221 h 6858000"/>
              <a:gd name="connsiteX565" fmla="*/ 1151203 w 12198355"/>
              <a:gd name="connsiteY565" fmla="*/ 6184762 h 6858000"/>
              <a:gd name="connsiteX566" fmla="*/ 1150666 w 12198355"/>
              <a:gd name="connsiteY566" fmla="*/ 6179304 h 6858000"/>
              <a:gd name="connsiteX567" fmla="*/ 1149125 w 12198355"/>
              <a:gd name="connsiteY567" fmla="*/ 6174213 h 6858000"/>
              <a:gd name="connsiteX568" fmla="*/ 1146685 w 12198355"/>
              <a:gd name="connsiteY568" fmla="*/ 6169602 h 6858000"/>
              <a:gd name="connsiteX569" fmla="*/ 1143447 w 12198355"/>
              <a:gd name="connsiteY569" fmla="*/ 6165581 h 6858000"/>
              <a:gd name="connsiteX570" fmla="*/ 1139518 w 12198355"/>
              <a:gd name="connsiteY570" fmla="*/ 6162260 h 6858000"/>
              <a:gd name="connsiteX571" fmla="*/ 1135000 w 12198355"/>
              <a:gd name="connsiteY571" fmla="*/ 6159751 h 6858000"/>
              <a:gd name="connsiteX572" fmla="*/ 1129997 w 12198355"/>
              <a:gd name="connsiteY572" fmla="*/ 6158165 h 6858000"/>
              <a:gd name="connsiteX573" fmla="*/ 1124613 w 12198355"/>
              <a:gd name="connsiteY573" fmla="*/ 6157611 h 6858000"/>
              <a:gd name="connsiteX574" fmla="*/ 581250 w 12198355"/>
              <a:gd name="connsiteY574" fmla="*/ 6120863 h 6858000"/>
              <a:gd name="connsiteX575" fmla="*/ 575834 w 12198355"/>
              <a:gd name="connsiteY575" fmla="*/ 6121606 h 6858000"/>
              <a:gd name="connsiteX576" fmla="*/ 570703 w 12198355"/>
              <a:gd name="connsiteY576" fmla="*/ 6123833 h 6858000"/>
              <a:gd name="connsiteX577" fmla="*/ 468377 w 12198355"/>
              <a:gd name="connsiteY577" fmla="*/ 6185889 h 6858000"/>
              <a:gd name="connsiteX578" fmla="*/ 463977 w 12198355"/>
              <a:gd name="connsiteY578" fmla="*/ 6189443 h 6858000"/>
              <a:gd name="connsiteX579" fmla="*/ 460658 w 12198355"/>
              <a:gd name="connsiteY579" fmla="*/ 6193998 h 6858000"/>
              <a:gd name="connsiteX580" fmla="*/ 458562 w 12198355"/>
              <a:gd name="connsiteY580" fmla="*/ 6199295 h 6858000"/>
              <a:gd name="connsiteX581" fmla="*/ 457832 w 12198355"/>
              <a:gd name="connsiteY581" fmla="*/ 6205076 h 6858000"/>
              <a:gd name="connsiteX582" fmla="*/ 457832 w 12198355"/>
              <a:gd name="connsiteY582" fmla="*/ 6329188 h 6858000"/>
              <a:gd name="connsiteX583" fmla="*/ 458562 w 12198355"/>
              <a:gd name="connsiteY583" fmla="*/ 6334969 h 6858000"/>
              <a:gd name="connsiteX584" fmla="*/ 460658 w 12198355"/>
              <a:gd name="connsiteY584" fmla="*/ 6340266 h 6858000"/>
              <a:gd name="connsiteX585" fmla="*/ 463977 w 12198355"/>
              <a:gd name="connsiteY585" fmla="*/ 6344822 h 6858000"/>
              <a:gd name="connsiteX586" fmla="*/ 468378 w 12198355"/>
              <a:gd name="connsiteY586" fmla="*/ 6348377 h 6858000"/>
              <a:gd name="connsiteX587" fmla="*/ 570703 w 12198355"/>
              <a:gd name="connsiteY587" fmla="*/ 6410433 h 6858000"/>
              <a:gd name="connsiteX588" fmla="*/ 575834 w 12198355"/>
              <a:gd name="connsiteY588" fmla="*/ 6412659 h 6858000"/>
              <a:gd name="connsiteX589" fmla="*/ 581250 w 12198355"/>
              <a:gd name="connsiteY589" fmla="*/ 6413401 h 6858000"/>
              <a:gd name="connsiteX590" fmla="*/ 586665 w 12198355"/>
              <a:gd name="connsiteY590" fmla="*/ 6412659 h 6858000"/>
              <a:gd name="connsiteX591" fmla="*/ 591796 w 12198355"/>
              <a:gd name="connsiteY591" fmla="*/ 6410433 h 6858000"/>
              <a:gd name="connsiteX592" fmla="*/ 687555 w 12198355"/>
              <a:gd name="connsiteY592" fmla="*/ 6352359 h 6858000"/>
              <a:gd name="connsiteX593" fmla="*/ 694122 w 12198355"/>
              <a:gd name="connsiteY593" fmla="*/ 6348377 h 6858000"/>
              <a:gd name="connsiteX594" fmla="*/ 698523 w 12198355"/>
              <a:gd name="connsiteY594" fmla="*/ 6344822 h 6858000"/>
              <a:gd name="connsiteX595" fmla="*/ 701842 w 12198355"/>
              <a:gd name="connsiteY595" fmla="*/ 6340266 h 6858000"/>
              <a:gd name="connsiteX596" fmla="*/ 703937 w 12198355"/>
              <a:gd name="connsiteY596" fmla="*/ 6334969 h 6858000"/>
              <a:gd name="connsiteX597" fmla="*/ 704667 w 12198355"/>
              <a:gd name="connsiteY597" fmla="*/ 6329188 h 6858000"/>
              <a:gd name="connsiteX598" fmla="*/ 704667 w 12198355"/>
              <a:gd name="connsiteY598" fmla="*/ 6277512 h 6858000"/>
              <a:gd name="connsiteX599" fmla="*/ 581250 w 12198355"/>
              <a:gd name="connsiteY599" fmla="*/ 6352359 h 6858000"/>
              <a:gd name="connsiteX600" fmla="*/ 512614 w 12198355"/>
              <a:gd name="connsiteY600" fmla="*/ 6310735 h 6858000"/>
              <a:gd name="connsiteX601" fmla="*/ 512651 w 12198355"/>
              <a:gd name="connsiteY601" fmla="*/ 6225511 h 6858000"/>
              <a:gd name="connsiteX602" fmla="*/ 576185 w 12198355"/>
              <a:gd name="connsiteY602" fmla="*/ 6186958 h 6858000"/>
              <a:gd name="connsiteX603" fmla="*/ 578647 w 12198355"/>
              <a:gd name="connsiteY603" fmla="*/ 6185889 h 6858000"/>
              <a:gd name="connsiteX604" fmla="*/ 581250 w 12198355"/>
              <a:gd name="connsiteY604" fmla="*/ 6185532 h 6858000"/>
              <a:gd name="connsiteX605" fmla="*/ 583855 w 12198355"/>
              <a:gd name="connsiteY605" fmla="*/ 6185889 h 6858000"/>
              <a:gd name="connsiteX606" fmla="*/ 586321 w 12198355"/>
              <a:gd name="connsiteY606" fmla="*/ 6186960 h 6858000"/>
              <a:gd name="connsiteX607" fmla="*/ 649885 w 12198355"/>
              <a:gd name="connsiteY607" fmla="*/ 6225509 h 6858000"/>
              <a:gd name="connsiteX608" fmla="*/ 589785 w 12198355"/>
              <a:gd name="connsiteY608" fmla="*/ 6261958 h 6858000"/>
              <a:gd name="connsiteX609" fmla="*/ 585633 w 12198355"/>
              <a:gd name="connsiteY609" fmla="*/ 6263759 h 6858000"/>
              <a:gd name="connsiteX610" fmla="*/ 581250 w 12198355"/>
              <a:gd name="connsiteY610" fmla="*/ 6264359 h 6858000"/>
              <a:gd name="connsiteX611" fmla="*/ 576868 w 12198355"/>
              <a:gd name="connsiteY611" fmla="*/ 6263758 h 6858000"/>
              <a:gd name="connsiteX612" fmla="*/ 572716 w 12198355"/>
              <a:gd name="connsiteY612" fmla="*/ 6261956 h 6858000"/>
              <a:gd name="connsiteX613" fmla="*/ 529723 w 12198355"/>
              <a:gd name="connsiteY613" fmla="*/ 6235870 h 6858000"/>
              <a:gd name="connsiteX614" fmla="*/ 529693 w 12198355"/>
              <a:gd name="connsiteY614" fmla="*/ 6300334 h 6858000"/>
              <a:gd name="connsiteX615" fmla="*/ 581250 w 12198355"/>
              <a:gd name="connsiteY615" fmla="*/ 6331602 h 6858000"/>
              <a:gd name="connsiteX616" fmla="*/ 692128 w 12198355"/>
              <a:gd name="connsiteY616" fmla="*/ 6264359 h 6858000"/>
              <a:gd name="connsiteX617" fmla="*/ 704667 w 12198355"/>
              <a:gd name="connsiteY617" fmla="*/ 6256755 h 6858000"/>
              <a:gd name="connsiteX618" fmla="*/ 704667 w 12198355"/>
              <a:gd name="connsiteY618" fmla="*/ 6205076 h 6858000"/>
              <a:gd name="connsiteX619" fmla="*/ 703937 w 12198355"/>
              <a:gd name="connsiteY619" fmla="*/ 6199295 h 6858000"/>
              <a:gd name="connsiteX620" fmla="*/ 701842 w 12198355"/>
              <a:gd name="connsiteY620" fmla="*/ 6193998 h 6858000"/>
              <a:gd name="connsiteX621" fmla="*/ 698523 w 12198355"/>
              <a:gd name="connsiteY621" fmla="*/ 6189443 h 6858000"/>
              <a:gd name="connsiteX622" fmla="*/ 694122 w 12198355"/>
              <a:gd name="connsiteY622" fmla="*/ 6185888 h 6858000"/>
              <a:gd name="connsiteX623" fmla="*/ 693534 w 12198355"/>
              <a:gd name="connsiteY623" fmla="*/ 6185532 h 6858000"/>
              <a:gd name="connsiteX624" fmla="*/ 591796 w 12198355"/>
              <a:gd name="connsiteY624" fmla="*/ 6123833 h 6858000"/>
              <a:gd name="connsiteX625" fmla="*/ 586665 w 12198355"/>
              <a:gd name="connsiteY625" fmla="*/ 6121606 h 6858000"/>
              <a:gd name="connsiteX626" fmla="*/ 581250 w 12198355"/>
              <a:gd name="connsiteY626" fmla="*/ 6120863 h 6858000"/>
              <a:gd name="connsiteX627" fmla="*/ 0 w 12198355"/>
              <a:gd name="connsiteY627" fmla="*/ 0 h 6858000"/>
              <a:gd name="connsiteX628" fmla="*/ 12188825 w 12198355"/>
              <a:gd name="connsiteY628" fmla="*/ 0 h 6858000"/>
              <a:gd name="connsiteX629" fmla="*/ 12198355 w 12198355"/>
              <a:gd name="connsiteY629" fmla="*/ 6858000 h 6858000"/>
              <a:gd name="connsiteX630" fmla="*/ 0 w 12198355"/>
              <a:gd name="connsiteY630" fmla="*/ 6858000 h 6858000"/>
              <a:gd name="connsiteX631" fmla="*/ 0 w 12198355"/>
              <a:gd name="connsiteY631" fmla="*/ 0 h 6858000"/>
              <a:gd name="connsiteX0" fmla="*/ 1007893 w 12199272"/>
              <a:gd name="connsiteY0" fmla="*/ 6269265 h 6858000"/>
              <a:gd name="connsiteX1" fmla="*/ 1012666 w 12199272"/>
              <a:gd name="connsiteY1" fmla="*/ 6269568 h 6858000"/>
              <a:gd name="connsiteX2" fmla="*/ 1017275 w 12199272"/>
              <a:gd name="connsiteY2" fmla="*/ 6270481 h 6858000"/>
              <a:gd name="connsiteX3" fmla="*/ 1021659 w 12199272"/>
              <a:gd name="connsiteY3" fmla="*/ 6272007 h 6858000"/>
              <a:gd name="connsiteX4" fmla="*/ 1025757 w 12199272"/>
              <a:gd name="connsiteY4" fmla="*/ 6274150 h 6858000"/>
              <a:gd name="connsiteX5" fmla="*/ 1029507 w 12199272"/>
              <a:gd name="connsiteY5" fmla="*/ 6276915 h 6858000"/>
              <a:gd name="connsiteX6" fmla="*/ 1032848 w 12199272"/>
              <a:gd name="connsiteY6" fmla="*/ 6280306 h 6858000"/>
              <a:gd name="connsiteX7" fmla="*/ 1035719 w 12199272"/>
              <a:gd name="connsiteY7" fmla="*/ 6284326 h 6858000"/>
              <a:gd name="connsiteX8" fmla="*/ 1038059 w 12199272"/>
              <a:gd name="connsiteY8" fmla="*/ 6288981 h 6858000"/>
              <a:gd name="connsiteX9" fmla="*/ 1039806 w 12199272"/>
              <a:gd name="connsiteY9" fmla="*/ 6294273 h 6858000"/>
              <a:gd name="connsiteX10" fmla="*/ 1040899 w 12199272"/>
              <a:gd name="connsiteY10" fmla="*/ 6300208 h 6858000"/>
              <a:gd name="connsiteX11" fmla="*/ 1041277 w 12199272"/>
              <a:gd name="connsiteY11" fmla="*/ 6306788 h 6858000"/>
              <a:gd name="connsiteX12" fmla="*/ 1040899 w 12199272"/>
              <a:gd name="connsiteY12" fmla="*/ 6313376 h 6858000"/>
              <a:gd name="connsiteX13" fmla="*/ 1039806 w 12199272"/>
              <a:gd name="connsiteY13" fmla="*/ 6319330 h 6858000"/>
              <a:gd name="connsiteX14" fmla="*/ 1038059 w 12199272"/>
              <a:gd name="connsiteY14" fmla="*/ 6324652 h 6858000"/>
              <a:gd name="connsiteX15" fmla="*/ 1035719 w 12199272"/>
              <a:gd name="connsiteY15" fmla="*/ 6329342 h 6858000"/>
              <a:gd name="connsiteX16" fmla="*/ 1032848 w 12199272"/>
              <a:gd name="connsiteY16" fmla="*/ 6333403 h 6858000"/>
              <a:gd name="connsiteX17" fmla="*/ 1029507 w 12199272"/>
              <a:gd name="connsiteY17" fmla="*/ 6336835 h 6858000"/>
              <a:gd name="connsiteX18" fmla="*/ 1025757 w 12199272"/>
              <a:gd name="connsiteY18" fmla="*/ 6339641 h 6858000"/>
              <a:gd name="connsiteX19" fmla="*/ 1021659 w 12199272"/>
              <a:gd name="connsiteY19" fmla="*/ 6341820 h 6858000"/>
              <a:gd name="connsiteX20" fmla="*/ 1017275 w 12199272"/>
              <a:gd name="connsiteY20" fmla="*/ 6343375 h 6858000"/>
              <a:gd name="connsiteX21" fmla="*/ 1012666 w 12199272"/>
              <a:gd name="connsiteY21" fmla="*/ 6344307 h 6858000"/>
              <a:gd name="connsiteX22" fmla="*/ 1007893 w 12199272"/>
              <a:gd name="connsiteY22" fmla="*/ 6344618 h 6858000"/>
              <a:gd name="connsiteX23" fmla="*/ 1003193 w 12199272"/>
              <a:gd name="connsiteY23" fmla="*/ 6344300 h 6858000"/>
              <a:gd name="connsiteX24" fmla="*/ 998645 w 12199272"/>
              <a:gd name="connsiteY24" fmla="*/ 6343350 h 6858000"/>
              <a:gd name="connsiteX25" fmla="*/ 994309 w 12199272"/>
              <a:gd name="connsiteY25" fmla="*/ 6341771 h 6858000"/>
              <a:gd name="connsiteX26" fmla="*/ 990249 w 12199272"/>
              <a:gd name="connsiteY26" fmla="*/ 6339564 h 6858000"/>
              <a:gd name="connsiteX27" fmla="*/ 986527 w 12199272"/>
              <a:gd name="connsiteY27" fmla="*/ 6336732 h 6858000"/>
              <a:gd name="connsiteX28" fmla="*/ 983207 w 12199272"/>
              <a:gd name="connsiteY28" fmla="*/ 6333280 h 6858000"/>
              <a:gd name="connsiteX29" fmla="*/ 980349 w 12199272"/>
              <a:gd name="connsiteY29" fmla="*/ 6329208 h 6858000"/>
              <a:gd name="connsiteX30" fmla="*/ 978018 w 12199272"/>
              <a:gd name="connsiteY30" fmla="*/ 6324520 h 6858000"/>
              <a:gd name="connsiteX31" fmla="*/ 976275 w 12199272"/>
              <a:gd name="connsiteY31" fmla="*/ 6319219 h 6858000"/>
              <a:gd name="connsiteX32" fmla="*/ 975184 w 12199272"/>
              <a:gd name="connsiteY32" fmla="*/ 6313308 h 6858000"/>
              <a:gd name="connsiteX33" fmla="*/ 974806 w 12199272"/>
              <a:gd name="connsiteY33" fmla="*/ 6306788 h 6858000"/>
              <a:gd name="connsiteX34" fmla="*/ 975184 w 12199272"/>
              <a:gd name="connsiteY34" fmla="*/ 6300208 h 6858000"/>
              <a:gd name="connsiteX35" fmla="*/ 976275 w 12199272"/>
              <a:gd name="connsiteY35" fmla="*/ 6294273 h 6858000"/>
              <a:gd name="connsiteX36" fmla="*/ 978018 w 12199272"/>
              <a:gd name="connsiteY36" fmla="*/ 6288981 h 6858000"/>
              <a:gd name="connsiteX37" fmla="*/ 980349 w 12199272"/>
              <a:gd name="connsiteY37" fmla="*/ 6284326 h 6858000"/>
              <a:gd name="connsiteX38" fmla="*/ 983207 w 12199272"/>
              <a:gd name="connsiteY38" fmla="*/ 6280306 h 6858000"/>
              <a:gd name="connsiteX39" fmla="*/ 986527 w 12199272"/>
              <a:gd name="connsiteY39" fmla="*/ 6276915 h 6858000"/>
              <a:gd name="connsiteX40" fmla="*/ 990249 w 12199272"/>
              <a:gd name="connsiteY40" fmla="*/ 6274150 h 6858000"/>
              <a:gd name="connsiteX41" fmla="*/ 994309 w 12199272"/>
              <a:gd name="connsiteY41" fmla="*/ 6272007 h 6858000"/>
              <a:gd name="connsiteX42" fmla="*/ 998645 w 12199272"/>
              <a:gd name="connsiteY42" fmla="*/ 6270481 h 6858000"/>
              <a:gd name="connsiteX43" fmla="*/ 1003193 w 12199272"/>
              <a:gd name="connsiteY43" fmla="*/ 6269568 h 6858000"/>
              <a:gd name="connsiteX44" fmla="*/ 1007893 w 12199272"/>
              <a:gd name="connsiteY44" fmla="*/ 6269265 h 6858000"/>
              <a:gd name="connsiteX45" fmla="*/ 1349948 w 12199272"/>
              <a:gd name="connsiteY45" fmla="*/ 6269264 h 6858000"/>
              <a:gd name="connsiteX46" fmla="*/ 1354581 w 12199272"/>
              <a:gd name="connsiteY46" fmla="*/ 6269561 h 6858000"/>
              <a:gd name="connsiteX47" fmla="*/ 1359089 w 12199272"/>
              <a:gd name="connsiteY47" fmla="*/ 6270455 h 6858000"/>
              <a:gd name="connsiteX48" fmla="*/ 1363405 w 12199272"/>
              <a:gd name="connsiteY48" fmla="*/ 6271956 h 6858000"/>
              <a:gd name="connsiteX49" fmla="*/ 1367462 w 12199272"/>
              <a:gd name="connsiteY49" fmla="*/ 6274072 h 6858000"/>
              <a:gd name="connsiteX50" fmla="*/ 1371195 w 12199272"/>
              <a:gd name="connsiteY50" fmla="*/ 6276811 h 6858000"/>
              <a:gd name="connsiteX51" fmla="*/ 1374536 w 12199272"/>
              <a:gd name="connsiteY51" fmla="*/ 6280181 h 6858000"/>
              <a:gd name="connsiteX52" fmla="*/ 1377418 w 12199272"/>
              <a:gd name="connsiteY52" fmla="*/ 6284190 h 6858000"/>
              <a:gd name="connsiteX53" fmla="*/ 1379777 w 12199272"/>
              <a:gd name="connsiteY53" fmla="*/ 6288848 h 6858000"/>
              <a:gd name="connsiteX54" fmla="*/ 1381543 w 12199272"/>
              <a:gd name="connsiteY54" fmla="*/ 6294161 h 6858000"/>
              <a:gd name="connsiteX55" fmla="*/ 1382652 w 12199272"/>
              <a:gd name="connsiteY55" fmla="*/ 6300138 h 6858000"/>
              <a:gd name="connsiteX56" fmla="*/ 1383037 w 12199272"/>
              <a:gd name="connsiteY56" fmla="*/ 6306788 h 6858000"/>
              <a:gd name="connsiteX57" fmla="*/ 1382652 w 12199272"/>
              <a:gd name="connsiteY57" fmla="*/ 6313445 h 6858000"/>
              <a:gd name="connsiteX58" fmla="*/ 1381543 w 12199272"/>
              <a:gd name="connsiteY58" fmla="*/ 6319442 h 6858000"/>
              <a:gd name="connsiteX59" fmla="*/ 1379777 w 12199272"/>
              <a:gd name="connsiteY59" fmla="*/ 6324784 h 6858000"/>
              <a:gd name="connsiteX60" fmla="*/ 1377418 w 12199272"/>
              <a:gd name="connsiteY60" fmla="*/ 6329478 h 6858000"/>
              <a:gd name="connsiteX61" fmla="*/ 1374536 w 12199272"/>
              <a:gd name="connsiteY61" fmla="*/ 6333527 h 6858000"/>
              <a:gd name="connsiteX62" fmla="*/ 1371195 w 12199272"/>
              <a:gd name="connsiteY62" fmla="*/ 6336939 h 6858000"/>
              <a:gd name="connsiteX63" fmla="*/ 1367462 w 12199272"/>
              <a:gd name="connsiteY63" fmla="*/ 6339718 h 6858000"/>
              <a:gd name="connsiteX64" fmla="*/ 1363405 w 12199272"/>
              <a:gd name="connsiteY64" fmla="*/ 6341869 h 6858000"/>
              <a:gd name="connsiteX65" fmla="*/ 1359089 w 12199272"/>
              <a:gd name="connsiteY65" fmla="*/ 6343400 h 6858000"/>
              <a:gd name="connsiteX66" fmla="*/ 1354581 w 12199272"/>
              <a:gd name="connsiteY66" fmla="*/ 6344314 h 6858000"/>
              <a:gd name="connsiteX67" fmla="*/ 1349948 w 12199272"/>
              <a:gd name="connsiteY67" fmla="*/ 6344617 h 6858000"/>
              <a:gd name="connsiteX68" fmla="*/ 1345382 w 12199272"/>
              <a:gd name="connsiteY68" fmla="*/ 6344307 h 6858000"/>
              <a:gd name="connsiteX69" fmla="*/ 1340916 w 12199272"/>
              <a:gd name="connsiteY69" fmla="*/ 6343375 h 6858000"/>
              <a:gd name="connsiteX70" fmla="*/ 1336620 w 12199272"/>
              <a:gd name="connsiteY70" fmla="*/ 6341820 h 6858000"/>
              <a:gd name="connsiteX71" fmla="*/ 1332565 w 12199272"/>
              <a:gd name="connsiteY71" fmla="*/ 6339640 h 6858000"/>
              <a:gd name="connsiteX72" fmla="*/ 1328822 w 12199272"/>
              <a:gd name="connsiteY72" fmla="*/ 6336835 h 6858000"/>
              <a:gd name="connsiteX73" fmla="*/ 1325461 w 12199272"/>
              <a:gd name="connsiteY73" fmla="*/ 6333403 h 6858000"/>
              <a:gd name="connsiteX74" fmla="*/ 1322553 w 12199272"/>
              <a:gd name="connsiteY74" fmla="*/ 6329343 h 6858000"/>
              <a:gd name="connsiteX75" fmla="*/ 1320168 w 12199272"/>
              <a:gd name="connsiteY75" fmla="*/ 6324652 h 6858000"/>
              <a:gd name="connsiteX76" fmla="*/ 1318378 w 12199272"/>
              <a:gd name="connsiteY76" fmla="*/ 6319330 h 6858000"/>
              <a:gd name="connsiteX77" fmla="*/ 1317251 w 12199272"/>
              <a:gd name="connsiteY77" fmla="*/ 6313376 h 6858000"/>
              <a:gd name="connsiteX78" fmla="*/ 1316860 w 12199272"/>
              <a:gd name="connsiteY78" fmla="*/ 6306788 h 6858000"/>
              <a:gd name="connsiteX79" fmla="*/ 1317251 w 12199272"/>
              <a:gd name="connsiteY79" fmla="*/ 6300138 h 6858000"/>
              <a:gd name="connsiteX80" fmla="*/ 1318378 w 12199272"/>
              <a:gd name="connsiteY80" fmla="*/ 6294161 h 6858000"/>
              <a:gd name="connsiteX81" fmla="*/ 1320168 w 12199272"/>
              <a:gd name="connsiteY81" fmla="*/ 6288848 h 6858000"/>
              <a:gd name="connsiteX82" fmla="*/ 1322553 w 12199272"/>
              <a:gd name="connsiteY82" fmla="*/ 6284190 h 6858000"/>
              <a:gd name="connsiteX83" fmla="*/ 1325461 w 12199272"/>
              <a:gd name="connsiteY83" fmla="*/ 6280181 h 6858000"/>
              <a:gd name="connsiteX84" fmla="*/ 1328822 w 12199272"/>
              <a:gd name="connsiteY84" fmla="*/ 6276811 h 6858000"/>
              <a:gd name="connsiteX85" fmla="*/ 1332565 w 12199272"/>
              <a:gd name="connsiteY85" fmla="*/ 6274072 h 6858000"/>
              <a:gd name="connsiteX86" fmla="*/ 1336620 w 12199272"/>
              <a:gd name="connsiteY86" fmla="*/ 6271956 h 6858000"/>
              <a:gd name="connsiteX87" fmla="*/ 1340916 w 12199272"/>
              <a:gd name="connsiteY87" fmla="*/ 6270455 h 6858000"/>
              <a:gd name="connsiteX88" fmla="*/ 1345382 w 12199272"/>
              <a:gd name="connsiteY88" fmla="*/ 6269561 h 6858000"/>
              <a:gd name="connsiteX89" fmla="*/ 1349948 w 12199272"/>
              <a:gd name="connsiteY89" fmla="*/ 6269264 h 6858000"/>
              <a:gd name="connsiteX90" fmla="*/ 1106434 w 12199272"/>
              <a:gd name="connsiteY90" fmla="*/ 6231132 h 6858000"/>
              <a:gd name="connsiteX91" fmla="*/ 1104886 w 12199272"/>
              <a:gd name="connsiteY91" fmla="*/ 6231455 h 6858000"/>
              <a:gd name="connsiteX92" fmla="*/ 1103622 w 12199272"/>
              <a:gd name="connsiteY92" fmla="*/ 6232335 h 6858000"/>
              <a:gd name="connsiteX93" fmla="*/ 1102769 w 12199272"/>
              <a:gd name="connsiteY93" fmla="*/ 6233641 h 6858000"/>
              <a:gd name="connsiteX94" fmla="*/ 1102457 w 12199272"/>
              <a:gd name="connsiteY94" fmla="*/ 6235239 h 6858000"/>
              <a:gd name="connsiteX95" fmla="*/ 1102457 w 12199272"/>
              <a:gd name="connsiteY95" fmla="*/ 6378643 h 6858000"/>
              <a:gd name="connsiteX96" fmla="*/ 1102769 w 12199272"/>
              <a:gd name="connsiteY96" fmla="*/ 6380242 h 6858000"/>
              <a:gd name="connsiteX97" fmla="*/ 1103622 w 12199272"/>
              <a:gd name="connsiteY97" fmla="*/ 6381547 h 6858000"/>
              <a:gd name="connsiteX98" fmla="*/ 1104886 w 12199272"/>
              <a:gd name="connsiteY98" fmla="*/ 6382427 h 6858000"/>
              <a:gd name="connsiteX99" fmla="*/ 1106434 w 12199272"/>
              <a:gd name="connsiteY99" fmla="*/ 6382750 h 6858000"/>
              <a:gd name="connsiteX100" fmla="*/ 1143384 w 12199272"/>
              <a:gd name="connsiteY100" fmla="*/ 6382750 h 6858000"/>
              <a:gd name="connsiteX101" fmla="*/ 1144932 w 12199272"/>
              <a:gd name="connsiteY101" fmla="*/ 6382427 h 6858000"/>
              <a:gd name="connsiteX102" fmla="*/ 1146197 w 12199272"/>
              <a:gd name="connsiteY102" fmla="*/ 6381547 h 6858000"/>
              <a:gd name="connsiteX103" fmla="*/ 1147050 w 12199272"/>
              <a:gd name="connsiteY103" fmla="*/ 6380242 h 6858000"/>
              <a:gd name="connsiteX104" fmla="*/ 1147362 w 12199272"/>
              <a:gd name="connsiteY104" fmla="*/ 6378643 h 6858000"/>
              <a:gd name="connsiteX105" fmla="*/ 1147362 w 12199272"/>
              <a:gd name="connsiteY105" fmla="*/ 6235239 h 6858000"/>
              <a:gd name="connsiteX106" fmla="*/ 1147050 w 12199272"/>
              <a:gd name="connsiteY106" fmla="*/ 6233641 h 6858000"/>
              <a:gd name="connsiteX107" fmla="*/ 1146197 w 12199272"/>
              <a:gd name="connsiteY107" fmla="*/ 6232335 h 6858000"/>
              <a:gd name="connsiteX108" fmla="*/ 1144932 w 12199272"/>
              <a:gd name="connsiteY108" fmla="*/ 6231455 h 6858000"/>
              <a:gd name="connsiteX109" fmla="*/ 1143384 w 12199272"/>
              <a:gd name="connsiteY109" fmla="*/ 6231132 h 6858000"/>
              <a:gd name="connsiteX110" fmla="*/ 1106434 w 12199272"/>
              <a:gd name="connsiteY110" fmla="*/ 6231132 h 6858000"/>
              <a:gd name="connsiteX111" fmla="*/ 1254739 w 12199272"/>
              <a:gd name="connsiteY111" fmla="*/ 6229607 h 6858000"/>
              <a:gd name="connsiteX112" fmla="*/ 1250024 w 12199272"/>
              <a:gd name="connsiteY112" fmla="*/ 6229850 h 6858000"/>
              <a:gd name="connsiteX113" fmla="*/ 1244879 w 12199272"/>
              <a:gd name="connsiteY113" fmla="*/ 6230637 h 6858000"/>
              <a:gd name="connsiteX114" fmla="*/ 1239513 w 12199272"/>
              <a:gd name="connsiteY114" fmla="*/ 6232052 h 6858000"/>
              <a:gd name="connsiteX115" fmla="*/ 1234133 w 12199272"/>
              <a:gd name="connsiteY115" fmla="*/ 6234183 h 6858000"/>
              <a:gd name="connsiteX116" fmla="*/ 1228947 w 12199272"/>
              <a:gd name="connsiteY116" fmla="*/ 6237114 h 6858000"/>
              <a:gd name="connsiteX117" fmla="*/ 1224162 w 12199272"/>
              <a:gd name="connsiteY117" fmla="*/ 6240933 h 6858000"/>
              <a:gd name="connsiteX118" fmla="*/ 1219987 w 12199272"/>
              <a:gd name="connsiteY118" fmla="*/ 6245723 h 6858000"/>
              <a:gd name="connsiteX119" fmla="*/ 1216628 w 12199272"/>
              <a:gd name="connsiteY119" fmla="*/ 6251572 h 6858000"/>
              <a:gd name="connsiteX120" fmla="*/ 1216628 w 12199272"/>
              <a:gd name="connsiteY120" fmla="*/ 6235238 h 6858000"/>
              <a:gd name="connsiteX121" fmla="*/ 1216316 w 12199272"/>
              <a:gd name="connsiteY121" fmla="*/ 6233640 h 6858000"/>
              <a:gd name="connsiteX122" fmla="*/ 1215463 w 12199272"/>
              <a:gd name="connsiteY122" fmla="*/ 6232335 h 6858000"/>
              <a:gd name="connsiteX123" fmla="*/ 1214199 w 12199272"/>
              <a:gd name="connsiteY123" fmla="*/ 6231454 h 6858000"/>
              <a:gd name="connsiteX124" fmla="*/ 1212650 w 12199272"/>
              <a:gd name="connsiteY124" fmla="*/ 6231132 h 6858000"/>
              <a:gd name="connsiteX125" fmla="*/ 1177178 w 12199272"/>
              <a:gd name="connsiteY125" fmla="*/ 6231132 h 6858000"/>
              <a:gd name="connsiteX126" fmla="*/ 1175630 w 12199272"/>
              <a:gd name="connsiteY126" fmla="*/ 6231454 h 6858000"/>
              <a:gd name="connsiteX127" fmla="*/ 1174366 w 12199272"/>
              <a:gd name="connsiteY127" fmla="*/ 6232335 h 6858000"/>
              <a:gd name="connsiteX128" fmla="*/ 1173513 w 12199272"/>
              <a:gd name="connsiteY128" fmla="*/ 6233640 h 6858000"/>
              <a:gd name="connsiteX129" fmla="*/ 1173201 w 12199272"/>
              <a:gd name="connsiteY129" fmla="*/ 6235238 h 6858000"/>
              <a:gd name="connsiteX130" fmla="*/ 1173201 w 12199272"/>
              <a:gd name="connsiteY130" fmla="*/ 6378642 h 6858000"/>
              <a:gd name="connsiteX131" fmla="*/ 1173513 w 12199272"/>
              <a:gd name="connsiteY131" fmla="*/ 6380242 h 6858000"/>
              <a:gd name="connsiteX132" fmla="*/ 1174366 w 12199272"/>
              <a:gd name="connsiteY132" fmla="*/ 6381548 h 6858000"/>
              <a:gd name="connsiteX133" fmla="*/ 1175630 w 12199272"/>
              <a:gd name="connsiteY133" fmla="*/ 6382428 h 6858000"/>
              <a:gd name="connsiteX134" fmla="*/ 1177178 w 12199272"/>
              <a:gd name="connsiteY134" fmla="*/ 6382751 h 6858000"/>
              <a:gd name="connsiteX135" fmla="*/ 1214127 w 12199272"/>
              <a:gd name="connsiteY135" fmla="*/ 6382751 h 6858000"/>
              <a:gd name="connsiteX136" fmla="*/ 1215676 w 12199272"/>
              <a:gd name="connsiteY136" fmla="*/ 6382428 h 6858000"/>
              <a:gd name="connsiteX137" fmla="*/ 1216940 w 12199272"/>
              <a:gd name="connsiteY137" fmla="*/ 6381548 h 6858000"/>
              <a:gd name="connsiteX138" fmla="*/ 1217792 w 12199272"/>
              <a:gd name="connsiteY138" fmla="*/ 6380242 h 6858000"/>
              <a:gd name="connsiteX139" fmla="*/ 1218105 w 12199272"/>
              <a:gd name="connsiteY139" fmla="*/ 6378642 h 6858000"/>
              <a:gd name="connsiteX140" fmla="*/ 1218105 w 12199272"/>
              <a:gd name="connsiteY140" fmla="*/ 6316549 h 6858000"/>
              <a:gd name="connsiteX141" fmla="*/ 1218497 w 12199272"/>
              <a:gd name="connsiteY141" fmla="*/ 6308781 h 6858000"/>
              <a:gd name="connsiteX142" fmla="*/ 1219630 w 12199272"/>
              <a:gd name="connsiteY142" fmla="*/ 6301926 h 6858000"/>
              <a:gd name="connsiteX143" fmla="*/ 1221437 w 12199272"/>
              <a:gd name="connsiteY143" fmla="*/ 6295946 h 6858000"/>
              <a:gd name="connsiteX144" fmla="*/ 1223855 w 12199272"/>
              <a:gd name="connsiteY144" fmla="*/ 6290807 h 6858000"/>
              <a:gd name="connsiteX145" fmla="*/ 1226817 w 12199272"/>
              <a:gd name="connsiteY145" fmla="*/ 6286470 h 6858000"/>
              <a:gd name="connsiteX146" fmla="*/ 1230259 w 12199272"/>
              <a:gd name="connsiteY146" fmla="*/ 6282901 h 6858000"/>
              <a:gd name="connsiteX147" fmla="*/ 1234115 w 12199272"/>
              <a:gd name="connsiteY147" fmla="*/ 6280062 h 6858000"/>
              <a:gd name="connsiteX148" fmla="*/ 1238320 w 12199272"/>
              <a:gd name="connsiteY148" fmla="*/ 6277917 h 6858000"/>
              <a:gd name="connsiteX149" fmla="*/ 1242809 w 12199272"/>
              <a:gd name="connsiteY149" fmla="*/ 6276430 h 6858000"/>
              <a:gd name="connsiteX150" fmla="*/ 1247516 w 12199272"/>
              <a:gd name="connsiteY150" fmla="*/ 6275565 h 6858000"/>
              <a:gd name="connsiteX151" fmla="*/ 1252376 w 12199272"/>
              <a:gd name="connsiteY151" fmla="*/ 6275284 h 6858000"/>
              <a:gd name="connsiteX152" fmla="*/ 1254599 w 12199272"/>
              <a:gd name="connsiteY152" fmla="*/ 6275312 h 6858000"/>
              <a:gd name="connsiteX153" fmla="*/ 1256730 w 12199272"/>
              <a:gd name="connsiteY153" fmla="*/ 6275402 h 6858000"/>
              <a:gd name="connsiteX154" fmla="*/ 1258821 w 12199272"/>
              <a:gd name="connsiteY154" fmla="*/ 6275565 h 6858000"/>
              <a:gd name="connsiteX155" fmla="*/ 1260894 w 12199272"/>
              <a:gd name="connsiteY155" fmla="*/ 6275809 h 6858000"/>
              <a:gd name="connsiteX156" fmla="*/ 1262471 w 12199272"/>
              <a:gd name="connsiteY156" fmla="*/ 6275713 h 6858000"/>
              <a:gd name="connsiteX157" fmla="*/ 1263347 w 12199272"/>
              <a:gd name="connsiteY157" fmla="*/ 6275284 h 6858000"/>
              <a:gd name="connsiteX158" fmla="*/ 1263848 w 12199272"/>
              <a:gd name="connsiteY158" fmla="*/ 6275039 h 6858000"/>
              <a:gd name="connsiteX159" fmla="*/ 1264877 w 12199272"/>
              <a:gd name="connsiteY159" fmla="*/ 6273889 h 6858000"/>
              <a:gd name="connsiteX160" fmla="*/ 1265415 w 12199272"/>
              <a:gd name="connsiteY160" fmla="*/ 6272363 h 6858000"/>
              <a:gd name="connsiteX161" fmla="*/ 1268444 w 12199272"/>
              <a:gd name="connsiteY161" fmla="*/ 6251572 h 6858000"/>
              <a:gd name="connsiteX162" fmla="*/ 1270750 w 12199272"/>
              <a:gd name="connsiteY162" fmla="*/ 6235738 h 6858000"/>
              <a:gd name="connsiteX163" fmla="*/ 1270687 w 12199272"/>
              <a:gd name="connsiteY163" fmla="*/ 6234167 h 6858000"/>
              <a:gd name="connsiteX164" fmla="*/ 1264312 w 12199272"/>
              <a:gd name="connsiteY164" fmla="*/ 6230481 h 6858000"/>
              <a:gd name="connsiteX165" fmla="*/ 1257574 w 12199272"/>
              <a:gd name="connsiteY165" fmla="*/ 6229712 h 6858000"/>
              <a:gd name="connsiteX166" fmla="*/ 1254739 w 12199272"/>
              <a:gd name="connsiteY166" fmla="*/ 6229607 h 6858000"/>
              <a:gd name="connsiteX167" fmla="*/ 1017052 w 12199272"/>
              <a:gd name="connsiteY167" fmla="*/ 6227471 h 6858000"/>
              <a:gd name="connsiteX168" fmla="*/ 1010253 w 12199272"/>
              <a:gd name="connsiteY168" fmla="*/ 6227809 h 6858000"/>
              <a:gd name="connsiteX169" fmla="*/ 1003864 w 12199272"/>
              <a:gd name="connsiteY169" fmla="*/ 6228772 h 6858000"/>
              <a:gd name="connsiteX170" fmla="*/ 997926 w 12199272"/>
              <a:gd name="connsiteY170" fmla="*/ 6230284 h 6858000"/>
              <a:gd name="connsiteX171" fmla="*/ 992476 w 12199272"/>
              <a:gd name="connsiteY171" fmla="*/ 6232272 h 6858000"/>
              <a:gd name="connsiteX172" fmla="*/ 987553 w 12199272"/>
              <a:gd name="connsiteY172" fmla="*/ 6234658 h 6858000"/>
              <a:gd name="connsiteX173" fmla="*/ 983198 w 12199272"/>
              <a:gd name="connsiteY173" fmla="*/ 6237369 h 6858000"/>
              <a:gd name="connsiteX174" fmla="*/ 979447 w 12199272"/>
              <a:gd name="connsiteY174" fmla="*/ 6240328 h 6858000"/>
              <a:gd name="connsiteX175" fmla="*/ 973919 w 12199272"/>
              <a:gd name="connsiteY175" fmla="*/ 6246690 h 6858000"/>
              <a:gd name="connsiteX176" fmla="*/ 973919 w 12199272"/>
              <a:gd name="connsiteY176" fmla="*/ 6235238 h 6858000"/>
              <a:gd name="connsiteX177" fmla="*/ 973606 w 12199272"/>
              <a:gd name="connsiteY177" fmla="*/ 6233640 h 6858000"/>
              <a:gd name="connsiteX178" fmla="*/ 972754 w 12199272"/>
              <a:gd name="connsiteY178" fmla="*/ 6232335 h 6858000"/>
              <a:gd name="connsiteX179" fmla="*/ 971489 w 12199272"/>
              <a:gd name="connsiteY179" fmla="*/ 6231454 h 6858000"/>
              <a:gd name="connsiteX180" fmla="*/ 969940 w 12199272"/>
              <a:gd name="connsiteY180" fmla="*/ 6231132 h 6858000"/>
              <a:gd name="connsiteX181" fmla="*/ 934469 w 12199272"/>
              <a:gd name="connsiteY181" fmla="*/ 6231132 h 6858000"/>
              <a:gd name="connsiteX182" fmla="*/ 932920 w 12199272"/>
              <a:gd name="connsiteY182" fmla="*/ 6231454 h 6858000"/>
              <a:gd name="connsiteX183" fmla="*/ 931655 w 12199272"/>
              <a:gd name="connsiteY183" fmla="*/ 6232335 h 6858000"/>
              <a:gd name="connsiteX184" fmla="*/ 930803 w 12199272"/>
              <a:gd name="connsiteY184" fmla="*/ 6233640 h 6858000"/>
              <a:gd name="connsiteX185" fmla="*/ 930490 w 12199272"/>
              <a:gd name="connsiteY185" fmla="*/ 6235238 h 6858000"/>
              <a:gd name="connsiteX186" fmla="*/ 930490 w 12199272"/>
              <a:gd name="connsiteY186" fmla="*/ 6436605 h 6858000"/>
              <a:gd name="connsiteX187" fmla="*/ 930803 w 12199272"/>
              <a:gd name="connsiteY187" fmla="*/ 6438204 h 6858000"/>
              <a:gd name="connsiteX188" fmla="*/ 931655 w 12199272"/>
              <a:gd name="connsiteY188" fmla="*/ 6439509 h 6858000"/>
              <a:gd name="connsiteX189" fmla="*/ 932920 w 12199272"/>
              <a:gd name="connsiteY189" fmla="*/ 6440389 h 6858000"/>
              <a:gd name="connsiteX190" fmla="*/ 934469 w 12199272"/>
              <a:gd name="connsiteY190" fmla="*/ 6440712 h 6858000"/>
              <a:gd name="connsiteX191" fmla="*/ 971418 w 12199272"/>
              <a:gd name="connsiteY191" fmla="*/ 6440712 h 6858000"/>
              <a:gd name="connsiteX192" fmla="*/ 972966 w 12199272"/>
              <a:gd name="connsiteY192" fmla="*/ 6440389 h 6858000"/>
              <a:gd name="connsiteX193" fmla="*/ 974230 w 12199272"/>
              <a:gd name="connsiteY193" fmla="*/ 6439509 h 6858000"/>
              <a:gd name="connsiteX194" fmla="*/ 975083 w 12199272"/>
              <a:gd name="connsiteY194" fmla="*/ 6438204 h 6858000"/>
              <a:gd name="connsiteX195" fmla="*/ 975395 w 12199272"/>
              <a:gd name="connsiteY195" fmla="*/ 6436605 h 6858000"/>
              <a:gd name="connsiteX196" fmla="*/ 975395 w 12199272"/>
              <a:gd name="connsiteY196" fmla="*/ 6370853 h 6858000"/>
              <a:gd name="connsiteX197" fmla="*/ 978285 w 12199272"/>
              <a:gd name="connsiteY197" fmla="*/ 6373960 h 6858000"/>
              <a:gd name="connsiteX198" fmla="*/ 981835 w 12199272"/>
              <a:gd name="connsiteY198" fmla="*/ 6376839 h 6858000"/>
              <a:gd name="connsiteX199" fmla="*/ 986016 w 12199272"/>
              <a:gd name="connsiteY199" fmla="*/ 6379433 h 6858000"/>
              <a:gd name="connsiteX200" fmla="*/ 990795 w 12199272"/>
              <a:gd name="connsiteY200" fmla="*/ 6381683 h 6858000"/>
              <a:gd name="connsiteX201" fmla="*/ 996142 w 12199272"/>
              <a:gd name="connsiteY201" fmla="*/ 6383532 h 6858000"/>
              <a:gd name="connsiteX202" fmla="*/ 1002026 w 12199272"/>
              <a:gd name="connsiteY202" fmla="*/ 6384925 h 6858000"/>
              <a:gd name="connsiteX203" fmla="*/ 1008415 w 12199272"/>
              <a:gd name="connsiteY203" fmla="*/ 6385802 h 6858000"/>
              <a:gd name="connsiteX204" fmla="*/ 1015278 w 12199272"/>
              <a:gd name="connsiteY204" fmla="*/ 6386107 h 6858000"/>
              <a:gd name="connsiteX205" fmla="*/ 1020801 w 12199272"/>
              <a:gd name="connsiteY205" fmla="*/ 6385903 h 6858000"/>
              <a:gd name="connsiteX206" fmla="*/ 1026165 w 12199272"/>
              <a:gd name="connsiteY206" fmla="*/ 6385298 h 6858000"/>
              <a:gd name="connsiteX207" fmla="*/ 1031359 w 12199272"/>
              <a:gd name="connsiteY207" fmla="*/ 6384303 h 6858000"/>
              <a:gd name="connsiteX208" fmla="*/ 1036375 w 12199272"/>
              <a:gd name="connsiteY208" fmla="*/ 6382930 h 6858000"/>
              <a:gd name="connsiteX209" fmla="*/ 1041203 w 12199272"/>
              <a:gd name="connsiteY209" fmla="*/ 6381190 h 6858000"/>
              <a:gd name="connsiteX210" fmla="*/ 1045833 w 12199272"/>
              <a:gd name="connsiteY210" fmla="*/ 6379095 h 6858000"/>
              <a:gd name="connsiteX211" fmla="*/ 1050256 w 12199272"/>
              <a:gd name="connsiteY211" fmla="*/ 6376656 h 6858000"/>
              <a:gd name="connsiteX212" fmla="*/ 1054462 w 12199272"/>
              <a:gd name="connsiteY212" fmla="*/ 6373884 h 6858000"/>
              <a:gd name="connsiteX213" fmla="*/ 1058363 w 12199272"/>
              <a:gd name="connsiteY213" fmla="*/ 6370853 h 6858000"/>
              <a:gd name="connsiteX214" fmla="*/ 1062187 w 12199272"/>
              <a:gd name="connsiteY214" fmla="*/ 6367387 h 6858000"/>
              <a:gd name="connsiteX215" fmla="*/ 1065687 w 12199272"/>
              <a:gd name="connsiteY215" fmla="*/ 6363684 h 6858000"/>
              <a:gd name="connsiteX216" fmla="*/ 1068932 w 12199272"/>
              <a:gd name="connsiteY216" fmla="*/ 6359694 h 6858000"/>
              <a:gd name="connsiteX217" fmla="*/ 1071913 w 12199272"/>
              <a:gd name="connsiteY217" fmla="*/ 6355428 h 6858000"/>
              <a:gd name="connsiteX218" fmla="*/ 1074621 w 12199272"/>
              <a:gd name="connsiteY218" fmla="*/ 6350898 h 6858000"/>
              <a:gd name="connsiteX219" fmla="*/ 1077046 w 12199272"/>
              <a:gd name="connsiteY219" fmla="*/ 6346114 h 6858000"/>
              <a:gd name="connsiteX220" fmla="*/ 1077680 w 12199272"/>
              <a:gd name="connsiteY220" fmla="*/ 6344618 h 6858000"/>
              <a:gd name="connsiteX221" fmla="*/ 1081008 w 12199272"/>
              <a:gd name="connsiteY221" fmla="*/ 6335831 h 6858000"/>
              <a:gd name="connsiteX222" fmla="*/ 1082527 w 12199272"/>
              <a:gd name="connsiteY222" fmla="*/ 6330355 h 6858000"/>
              <a:gd name="connsiteX223" fmla="*/ 1083727 w 12199272"/>
              <a:gd name="connsiteY223" fmla="*/ 6324652 h 6858000"/>
              <a:gd name="connsiteX224" fmla="*/ 1084591 w 12199272"/>
              <a:gd name="connsiteY224" fmla="*/ 6318790 h 6858000"/>
              <a:gd name="connsiteX225" fmla="*/ 1085119 w 12199272"/>
              <a:gd name="connsiteY225" fmla="*/ 6312724 h 6858000"/>
              <a:gd name="connsiteX226" fmla="*/ 1085297 w 12199272"/>
              <a:gd name="connsiteY226" fmla="*/ 6306484 h 6858000"/>
              <a:gd name="connsiteX227" fmla="*/ 1085138 w 12199272"/>
              <a:gd name="connsiteY227" fmla="*/ 6300361 h 6858000"/>
              <a:gd name="connsiteX228" fmla="*/ 1084666 w 12199272"/>
              <a:gd name="connsiteY228" fmla="*/ 6294398 h 6858000"/>
              <a:gd name="connsiteX229" fmla="*/ 1083885 w 12199272"/>
              <a:gd name="connsiteY229" fmla="*/ 6288607 h 6858000"/>
              <a:gd name="connsiteX230" fmla="*/ 1082801 w 12199272"/>
              <a:gd name="connsiteY230" fmla="*/ 6283000 h 6858000"/>
              <a:gd name="connsiteX231" fmla="*/ 1081418 w 12199272"/>
              <a:gd name="connsiteY231" fmla="*/ 6277590 h 6858000"/>
              <a:gd name="connsiteX232" fmla="*/ 1079741 w 12199272"/>
              <a:gd name="connsiteY232" fmla="*/ 6272388 h 6858000"/>
              <a:gd name="connsiteX233" fmla="*/ 1078509 w 12199272"/>
              <a:gd name="connsiteY233" fmla="*/ 6269265 h 6858000"/>
              <a:gd name="connsiteX234" fmla="*/ 1077776 w 12199272"/>
              <a:gd name="connsiteY234" fmla="*/ 6267406 h 6858000"/>
              <a:gd name="connsiteX235" fmla="*/ 1075527 w 12199272"/>
              <a:gd name="connsiteY235" fmla="*/ 6262658 h 6858000"/>
              <a:gd name="connsiteX236" fmla="*/ 1072999 w 12199272"/>
              <a:gd name="connsiteY236" fmla="*/ 6258154 h 6858000"/>
              <a:gd name="connsiteX237" fmla="*/ 1070198 w 12199272"/>
              <a:gd name="connsiteY237" fmla="*/ 6253908 h 6858000"/>
              <a:gd name="connsiteX238" fmla="*/ 1067128 w 12199272"/>
              <a:gd name="connsiteY238" fmla="*/ 6249932 h 6858000"/>
              <a:gd name="connsiteX239" fmla="*/ 1064203 w 12199272"/>
              <a:gd name="connsiteY239" fmla="*/ 6246690 h 6858000"/>
              <a:gd name="connsiteX240" fmla="*/ 1060201 w 12199272"/>
              <a:gd name="connsiteY240" fmla="*/ 6242836 h 6858000"/>
              <a:gd name="connsiteX241" fmla="*/ 1056355 w 12199272"/>
              <a:gd name="connsiteY241" fmla="*/ 6239742 h 6858000"/>
              <a:gd name="connsiteX242" fmla="*/ 1052260 w 12199272"/>
              <a:gd name="connsiteY242" fmla="*/ 6236966 h 6858000"/>
              <a:gd name="connsiteX243" fmla="*/ 1047922 w 12199272"/>
              <a:gd name="connsiteY243" fmla="*/ 6234520 h 6858000"/>
              <a:gd name="connsiteX244" fmla="*/ 1043344 w 12199272"/>
              <a:gd name="connsiteY244" fmla="*/ 6232417 h 6858000"/>
              <a:gd name="connsiteX245" fmla="*/ 1038533 w 12199272"/>
              <a:gd name="connsiteY245" fmla="*/ 6230669 h 6858000"/>
              <a:gd name="connsiteX246" fmla="*/ 1033494 w 12199272"/>
              <a:gd name="connsiteY246" fmla="*/ 6229288 h 6858000"/>
              <a:gd name="connsiteX247" fmla="*/ 1028230 w 12199272"/>
              <a:gd name="connsiteY247" fmla="*/ 6228287 h 6858000"/>
              <a:gd name="connsiteX248" fmla="*/ 1022748 w 12199272"/>
              <a:gd name="connsiteY248" fmla="*/ 6227677 h 6858000"/>
              <a:gd name="connsiteX249" fmla="*/ 1017052 w 12199272"/>
              <a:gd name="connsiteY249" fmla="*/ 6227471 h 6858000"/>
              <a:gd name="connsiteX250" fmla="*/ 1518121 w 12199272"/>
              <a:gd name="connsiteY250" fmla="*/ 6226556 h 6858000"/>
              <a:gd name="connsiteX251" fmla="*/ 1512547 w 12199272"/>
              <a:gd name="connsiteY251" fmla="*/ 6226743 h 6858000"/>
              <a:gd name="connsiteX252" fmla="*/ 1507086 w 12199272"/>
              <a:gd name="connsiteY252" fmla="*/ 6227298 h 6858000"/>
              <a:gd name="connsiteX253" fmla="*/ 1501751 w 12199272"/>
              <a:gd name="connsiteY253" fmla="*/ 6228211 h 6858000"/>
              <a:gd name="connsiteX254" fmla="*/ 1496554 w 12199272"/>
              <a:gd name="connsiteY254" fmla="*/ 6229472 h 6858000"/>
              <a:gd name="connsiteX255" fmla="*/ 1491508 w 12199272"/>
              <a:gd name="connsiteY255" fmla="*/ 6231073 h 6858000"/>
              <a:gd name="connsiteX256" fmla="*/ 1486625 w 12199272"/>
              <a:gd name="connsiteY256" fmla="*/ 6233004 h 6858000"/>
              <a:gd name="connsiteX257" fmla="*/ 1481918 w 12199272"/>
              <a:gd name="connsiteY257" fmla="*/ 6235254 h 6858000"/>
              <a:gd name="connsiteX258" fmla="*/ 1477398 w 12199272"/>
              <a:gd name="connsiteY258" fmla="*/ 6237816 h 6858000"/>
              <a:gd name="connsiteX259" fmla="*/ 1473080 w 12199272"/>
              <a:gd name="connsiteY259" fmla="*/ 6240679 h 6858000"/>
              <a:gd name="connsiteX260" fmla="*/ 1468975 w 12199272"/>
              <a:gd name="connsiteY260" fmla="*/ 6243834 h 6858000"/>
              <a:gd name="connsiteX261" fmla="*/ 1465095 w 12199272"/>
              <a:gd name="connsiteY261" fmla="*/ 6247271 h 6858000"/>
              <a:gd name="connsiteX262" fmla="*/ 1461455 w 12199272"/>
              <a:gd name="connsiteY262" fmla="*/ 6250981 h 6858000"/>
              <a:gd name="connsiteX263" fmla="*/ 1458064 w 12199272"/>
              <a:gd name="connsiteY263" fmla="*/ 6254955 h 6858000"/>
              <a:gd name="connsiteX264" fmla="*/ 1454938 w 12199272"/>
              <a:gd name="connsiteY264" fmla="*/ 6259182 h 6858000"/>
              <a:gd name="connsiteX265" fmla="*/ 1452087 w 12199272"/>
              <a:gd name="connsiteY265" fmla="*/ 6263654 h 6858000"/>
              <a:gd name="connsiteX266" fmla="*/ 1449525 w 12199272"/>
              <a:gd name="connsiteY266" fmla="*/ 6268361 h 6858000"/>
              <a:gd name="connsiteX267" fmla="*/ 1447263 w 12199272"/>
              <a:gd name="connsiteY267" fmla="*/ 6273294 h 6858000"/>
              <a:gd name="connsiteX268" fmla="*/ 1445310 w 12199272"/>
              <a:gd name="connsiteY268" fmla="*/ 6278461 h 6858000"/>
              <a:gd name="connsiteX269" fmla="*/ 1443694 w 12199272"/>
              <a:gd name="connsiteY269" fmla="*/ 6283797 h 6858000"/>
              <a:gd name="connsiteX270" fmla="*/ 1442411 w 12199272"/>
              <a:gd name="connsiteY270" fmla="*/ 6289349 h 6858000"/>
              <a:gd name="connsiteX271" fmla="*/ 1441479 w 12199272"/>
              <a:gd name="connsiteY271" fmla="*/ 6295089 h 6858000"/>
              <a:gd name="connsiteX272" fmla="*/ 1440910 w 12199272"/>
              <a:gd name="connsiteY272" fmla="*/ 6301007 h 6858000"/>
              <a:gd name="connsiteX273" fmla="*/ 1440718 w 12199272"/>
              <a:gd name="connsiteY273" fmla="*/ 6307094 h 6858000"/>
              <a:gd name="connsiteX274" fmla="*/ 1440899 w 12199272"/>
              <a:gd name="connsiteY274" fmla="*/ 6312893 h 6858000"/>
              <a:gd name="connsiteX275" fmla="*/ 1441435 w 12199272"/>
              <a:gd name="connsiteY275" fmla="*/ 6318541 h 6858000"/>
              <a:gd name="connsiteX276" fmla="*/ 1442314 w 12199272"/>
              <a:gd name="connsiteY276" fmla="*/ 6324029 h 6858000"/>
              <a:gd name="connsiteX277" fmla="*/ 1443524 w 12199272"/>
              <a:gd name="connsiteY277" fmla="*/ 6329349 h 6858000"/>
              <a:gd name="connsiteX278" fmla="*/ 1445055 w 12199272"/>
              <a:gd name="connsiteY278" fmla="*/ 6334492 h 6858000"/>
              <a:gd name="connsiteX279" fmla="*/ 1446894 w 12199272"/>
              <a:gd name="connsiteY279" fmla="*/ 6339450 h 6858000"/>
              <a:gd name="connsiteX280" fmla="*/ 1449030 w 12199272"/>
              <a:gd name="connsiteY280" fmla="*/ 6344213 h 6858000"/>
              <a:gd name="connsiteX281" fmla="*/ 1451452 w 12199272"/>
              <a:gd name="connsiteY281" fmla="*/ 6348774 h 6858000"/>
              <a:gd name="connsiteX282" fmla="*/ 1454147 w 12199272"/>
              <a:gd name="connsiteY282" fmla="*/ 6353125 h 6858000"/>
              <a:gd name="connsiteX283" fmla="*/ 1457105 w 12199272"/>
              <a:gd name="connsiteY283" fmla="*/ 6357256 h 6858000"/>
              <a:gd name="connsiteX284" fmla="*/ 1460313 w 12199272"/>
              <a:gd name="connsiteY284" fmla="*/ 6361160 h 6858000"/>
              <a:gd name="connsiteX285" fmla="*/ 1463761 w 12199272"/>
              <a:gd name="connsiteY285" fmla="*/ 6364827 h 6858000"/>
              <a:gd name="connsiteX286" fmla="*/ 1467436 w 12199272"/>
              <a:gd name="connsiteY286" fmla="*/ 6368250 h 6858000"/>
              <a:gd name="connsiteX287" fmla="*/ 1471328 w 12199272"/>
              <a:gd name="connsiteY287" fmla="*/ 6371419 h 6858000"/>
              <a:gd name="connsiteX288" fmla="*/ 1475425 w 12199272"/>
              <a:gd name="connsiteY288" fmla="*/ 6374327 h 6858000"/>
              <a:gd name="connsiteX289" fmla="*/ 1479714 w 12199272"/>
              <a:gd name="connsiteY289" fmla="*/ 6376964 h 6858000"/>
              <a:gd name="connsiteX290" fmla="*/ 1484185 w 12199272"/>
              <a:gd name="connsiteY290" fmla="*/ 6379324 h 6858000"/>
              <a:gd name="connsiteX291" fmla="*/ 1488826 w 12199272"/>
              <a:gd name="connsiteY291" fmla="*/ 6381396 h 6858000"/>
              <a:gd name="connsiteX292" fmla="*/ 1493626 w 12199272"/>
              <a:gd name="connsiteY292" fmla="*/ 6383172 h 6858000"/>
              <a:gd name="connsiteX293" fmla="*/ 1498572 w 12199272"/>
              <a:gd name="connsiteY293" fmla="*/ 6384645 h 6858000"/>
              <a:gd name="connsiteX294" fmla="*/ 1503654 w 12199272"/>
              <a:gd name="connsiteY294" fmla="*/ 6385805 h 6858000"/>
              <a:gd name="connsiteX295" fmla="*/ 1508860 w 12199272"/>
              <a:gd name="connsiteY295" fmla="*/ 6386644 h 6858000"/>
              <a:gd name="connsiteX296" fmla="*/ 1514178 w 12199272"/>
              <a:gd name="connsiteY296" fmla="*/ 6387153 h 6858000"/>
              <a:gd name="connsiteX297" fmla="*/ 1519597 w 12199272"/>
              <a:gd name="connsiteY297" fmla="*/ 6387325 h 6858000"/>
              <a:gd name="connsiteX298" fmla="*/ 1526428 w 12199272"/>
              <a:gd name="connsiteY298" fmla="*/ 6387054 h 6858000"/>
              <a:gd name="connsiteX299" fmla="*/ 1532938 w 12199272"/>
              <a:gd name="connsiteY299" fmla="*/ 6386261 h 6858000"/>
              <a:gd name="connsiteX300" fmla="*/ 1539123 w 12199272"/>
              <a:gd name="connsiteY300" fmla="*/ 6384980 h 6858000"/>
              <a:gd name="connsiteX301" fmla="*/ 1544980 w 12199272"/>
              <a:gd name="connsiteY301" fmla="*/ 6383243 h 6858000"/>
              <a:gd name="connsiteX302" fmla="*/ 1550506 w 12199272"/>
              <a:gd name="connsiteY302" fmla="*/ 6381082 h 6858000"/>
              <a:gd name="connsiteX303" fmla="*/ 1555698 w 12199272"/>
              <a:gd name="connsiteY303" fmla="*/ 6378529 h 6858000"/>
              <a:gd name="connsiteX304" fmla="*/ 1560552 w 12199272"/>
              <a:gd name="connsiteY304" fmla="*/ 6375618 h 6858000"/>
              <a:gd name="connsiteX305" fmla="*/ 1565064 w 12199272"/>
              <a:gd name="connsiteY305" fmla="*/ 6372380 h 6858000"/>
              <a:gd name="connsiteX306" fmla="*/ 1569232 w 12199272"/>
              <a:gd name="connsiteY306" fmla="*/ 6368848 h 6858000"/>
              <a:gd name="connsiteX307" fmla="*/ 1573052 w 12199272"/>
              <a:gd name="connsiteY307" fmla="*/ 6365054 h 6858000"/>
              <a:gd name="connsiteX308" fmla="*/ 1576520 w 12199272"/>
              <a:gd name="connsiteY308" fmla="*/ 6361031 h 6858000"/>
              <a:gd name="connsiteX309" fmla="*/ 1579635 w 12199272"/>
              <a:gd name="connsiteY309" fmla="*/ 6356812 h 6858000"/>
              <a:gd name="connsiteX310" fmla="*/ 1582391 w 12199272"/>
              <a:gd name="connsiteY310" fmla="*/ 6352428 h 6858000"/>
              <a:gd name="connsiteX311" fmla="*/ 1584786 w 12199272"/>
              <a:gd name="connsiteY311" fmla="*/ 6347913 h 6858000"/>
              <a:gd name="connsiteX312" fmla="*/ 1586236 w 12199272"/>
              <a:gd name="connsiteY312" fmla="*/ 6344617 h 6858000"/>
              <a:gd name="connsiteX313" fmla="*/ 1586816 w 12199272"/>
              <a:gd name="connsiteY313" fmla="*/ 6343297 h 6858000"/>
              <a:gd name="connsiteX314" fmla="*/ 1588479 w 12199272"/>
              <a:gd name="connsiteY314" fmla="*/ 6338615 h 6858000"/>
              <a:gd name="connsiteX315" fmla="*/ 1588664 w 12199272"/>
              <a:gd name="connsiteY315" fmla="*/ 6336960 h 6858000"/>
              <a:gd name="connsiteX316" fmla="*/ 1588235 w 12199272"/>
              <a:gd name="connsiteY316" fmla="*/ 6335417 h 6858000"/>
              <a:gd name="connsiteX317" fmla="*/ 1587274 w 12199272"/>
              <a:gd name="connsiteY317" fmla="*/ 6334160 h 6858000"/>
              <a:gd name="connsiteX318" fmla="*/ 1585862 w 12199272"/>
              <a:gd name="connsiteY318" fmla="*/ 6333362 h 6858000"/>
              <a:gd name="connsiteX319" fmla="*/ 1553627 w 12199272"/>
              <a:gd name="connsiteY319" fmla="*/ 6323178 h 6858000"/>
              <a:gd name="connsiteX320" fmla="*/ 1552160 w 12199272"/>
              <a:gd name="connsiteY320" fmla="*/ 6323012 h 6858000"/>
              <a:gd name="connsiteX321" fmla="*/ 1550782 w 12199272"/>
              <a:gd name="connsiteY321" fmla="*/ 6323397 h 6858000"/>
              <a:gd name="connsiteX322" fmla="*/ 1549622 w 12199272"/>
              <a:gd name="connsiteY322" fmla="*/ 6324263 h 6858000"/>
              <a:gd name="connsiteX323" fmla="*/ 1548805 w 12199272"/>
              <a:gd name="connsiteY323" fmla="*/ 6325541 h 6858000"/>
              <a:gd name="connsiteX324" fmla="*/ 1546706 w 12199272"/>
              <a:gd name="connsiteY324" fmla="*/ 6329749 h 6858000"/>
              <a:gd name="connsiteX325" fmla="*/ 1543941 w 12199272"/>
              <a:gd name="connsiteY325" fmla="*/ 6333699 h 6858000"/>
              <a:gd name="connsiteX326" fmla="*/ 1540495 w 12199272"/>
              <a:gd name="connsiteY326" fmla="*/ 6337251 h 6858000"/>
              <a:gd name="connsiteX327" fmla="*/ 1536352 w 12199272"/>
              <a:gd name="connsiteY327" fmla="*/ 6340260 h 6858000"/>
              <a:gd name="connsiteX328" fmla="*/ 1531498 w 12199272"/>
              <a:gd name="connsiteY328" fmla="*/ 6342586 h 6858000"/>
              <a:gd name="connsiteX329" fmla="*/ 1525918 w 12199272"/>
              <a:gd name="connsiteY329" fmla="*/ 6344086 h 6858000"/>
              <a:gd name="connsiteX330" fmla="*/ 1519597 w 12199272"/>
              <a:gd name="connsiteY330" fmla="*/ 6344617 h 6858000"/>
              <a:gd name="connsiteX331" fmla="*/ 1514604 w 12199272"/>
              <a:gd name="connsiteY331" fmla="*/ 6344286 h 6858000"/>
              <a:gd name="connsiteX332" fmla="*/ 1509815 w 12199272"/>
              <a:gd name="connsiteY332" fmla="*/ 6343302 h 6858000"/>
              <a:gd name="connsiteX333" fmla="*/ 1505287 w 12199272"/>
              <a:gd name="connsiteY333" fmla="*/ 6341678 h 6858000"/>
              <a:gd name="connsiteX334" fmla="*/ 1501076 w 12199272"/>
              <a:gd name="connsiteY334" fmla="*/ 6339424 h 6858000"/>
              <a:gd name="connsiteX335" fmla="*/ 1497242 w 12199272"/>
              <a:gd name="connsiteY335" fmla="*/ 6336555 h 6858000"/>
              <a:gd name="connsiteX336" fmla="*/ 1493840 w 12199272"/>
              <a:gd name="connsiteY336" fmla="*/ 6333082 h 6858000"/>
              <a:gd name="connsiteX337" fmla="*/ 1490928 w 12199272"/>
              <a:gd name="connsiteY337" fmla="*/ 6329017 h 6858000"/>
              <a:gd name="connsiteX338" fmla="*/ 1488564 w 12199272"/>
              <a:gd name="connsiteY338" fmla="*/ 6324374 h 6858000"/>
              <a:gd name="connsiteX339" fmla="*/ 1486804 w 12199272"/>
              <a:gd name="connsiteY339" fmla="*/ 6319164 h 6858000"/>
              <a:gd name="connsiteX340" fmla="*/ 1485706 w 12199272"/>
              <a:gd name="connsiteY340" fmla="*/ 6313400 h 6858000"/>
              <a:gd name="connsiteX341" fmla="*/ 1485327 w 12199272"/>
              <a:gd name="connsiteY341" fmla="*/ 6307094 h 6858000"/>
              <a:gd name="connsiteX342" fmla="*/ 1485692 w 12199272"/>
              <a:gd name="connsiteY342" fmla="*/ 6300711 h 6858000"/>
              <a:gd name="connsiteX343" fmla="*/ 1486752 w 12199272"/>
              <a:gd name="connsiteY343" fmla="*/ 6294885 h 6858000"/>
              <a:gd name="connsiteX344" fmla="*/ 1488456 w 12199272"/>
              <a:gd name="connsiteY344" fmla="*/ 6289625 h 6858000"/>
              <a:gd name="connsiteX345" fmla="*/ 1490750 w 12199272"/>
              <a:gd name="connsiteY345" fmla="*/ 6284943 h 6858000"/>
              <a:gd name="connsiteX346" fmla="*/ 1493584 w 12199272"/>
              <a:gd name="connsiteY346" fmla="*/ 6280849 h 6858000"/>
              <a:gd name="connsiteX347" fmla="*/ 1496906 w 12199272"/>
              <a:gd name="connsiteY347" fmla="*/ 6277355 h 6858000"/>
              <a:gd name="connsiteX348" fmla="*/ 1500663 w 12199272"/>
              <a:gd name="connsiteY348" fmla="*/ 6274472 h 6858000"/>
              <a:gd name="connsiteX349" fmla="*/ 1504804 w 12199272"/>
              <a:gd name="connsiteY349" fmla="*/ 6272210 h 6858000"/>
              <a:gd name="connsiteX350" fmla="*/ 1509276 w 12199272"/>
              <a:gd name="connsiteY350" fmla="*/ 6270581 h 6858000"/>
              <a:gd name="connsiteX351" fmla="*/ 1514028 w 12199272"/>
              <a:gd name="connsiteY351" fmla="*/ 6269595 h 6858000"/>
              <a:gd name="connsiteX352" fmla="*/ 1519008 w 12199272"/>
              <a:gd name="connsiteY352" fmla="*/ 6269264 h 6858000"/>
              <a:gd name="connsiteX353" fmla="*/ 1525289 w 12199272"/>
              <a:gd name="connsiteY353" fmla="*/ 6269783 h 6858000"/>
              <a:gd name="connsiteX354" fmla="*/ 1530765 w 12199272"/>
              <a:gd name="connsiteY354" fmla="*/ 6271251 h 6858000"/>
              <a:gd name="connsiteX355" fmla="*/ 1535471 w 12199272"/>
              <a:gd name="connsiteY355" fmla="*/ 6273539 h 6858000"/>
              <a:gd name="connsiteX356" fmla="*/ 1539447 w 12199272"/>
              <a:gd name="connsiteY356" fmla="*/ 6276516 h 6858000"/>
              <a:gd name="connsiteX357" fmla="*/ 1542728 w 12199272"/>
              <a:gd name="connsiteY357" fmla="*/ 6280050 h 6858000"/>
              <a:gd name="connsiteX358" fmla="*/ 1545352 w 12199272"/>
              <a:gd name="connsiteY358" fmla="*/ 6284012 h 6858000"/>
              <a:gd name="connsiteX359" fmla="*/ 1547356 w 12199272"/>
              <a:gd name="connsiteY359" fmla="*/ 6288270 h 6858000"/>
              <a:gd name="connsiteX360" fmla="*/ 1548161 w 12199272"/>
              <a:gd name="connsiteY360" fmla="*/ 6289574 h 6858000"/>
              <a:gd name="connsiteX361" fmla="*/ 1549322 w 12199272"/>
              <a:gd name="connsiteY361" fmla="*/ 6290463 h 6858000"/>
              <a:gd name="connsiteX362" fmla="*/ 1550709 w 12199272"/>
              <a:gd name="connsiteY362" fmla="*/ 6290865 h 6858000"/>
              <a:gd name="connsiteX363" fmla="*/ 1552192 w 12199272"/>
              <a:gd name="connsiteY363" fmla="*/ 6290706 h 6858000"/>
              <a:gd name="connsiteX364" fmla="*/ 1584982 w 12199272"/>
              <a:gd name="connsiteY364" fmla="*/ 6280499 h 6858000"/>
              <a:gd name="connsiteX365" fmla="*/ 1586395 w 12199272"/>
              <a:gd name="connsiteY365" fmla="*/ 6279710 h 6858000"/>
              <a:gd name="connsiteX366" fmla="*/ 1587360 w 12199272"/>
              <a:gd name="connsiteY366" fmla="*/ 6278461 h 6858000"/>
              <a:gd name="connsiteX367" fmla="*/ 1587797 w 12199272"/>
              <a:gd name="connsiteY367" fmla="*/ 6276923 h 6858000"/>
              <a:gd name="connsiteX368" fmla="*/ 1587624 w 12199272"/>
              <a:gd name="connsiteY368" fmla="*/ 6275269 h 6858000"/>
              <a:gd name="connsiteX369" fmla="*/ 1586087 w 12199272"/>
              <a:gd name="connsiteY369" fmla="*/ 6270783 h 6858000"/>
              <a:gd name="connsiteX370" fmla="*/ 1585447 w 12199272"/>
              <a:gd name="connsiteY370" fmla="*/ 6269264 h 6858000"/>
              <a:gd name="connsiteX371" fmla="*/ 1584229 w 12199272"/>
              <a:gd name="connsiteY371" fmla="*/ 6266374 h 6858000"/>
              <a:gd name="connsiteX372" fmla="*/ 1582051 w 12199272"/>
              <a:gd name="connsiteY372" fmla="*/ 6262066 h 6858000"/>
              <a:gd name="connsiteX373" fmla="*/ 1579553 w 12199272"/>
              <a:gd name="connsiteY373" fmla="*/ 6257885 h 6858000"/>
              <a:gd name="connsiteX374" fmla="*/ 1576736 w 12199272"/>
              <a:gd name="connsiteY374" fmla="*/ 6253856 h 6858000"/>
              <a:gd name="connsiteX375" fmla="*/ 1573599 w 12199272"/>
              <a:gd name="connsiteY375" fmla="*/ 6250004 h 6858000"/>
              <a:gd name="connsiteX376" fmla="*/ 1570144 w 12199272"/>
              <a:gd name="connsiteY376" fmla="*/ 6246355 h 6858000"/>
              <a:gd name="connsiteX377" fmla="*/ 1566370 w 12199272"/>
              <a:gd name="connsiteY377" fmla="*/ 6242934 h 6858000"/>
              <a:gd name="connsiteX378" fmla="*/ 1562278 w 12199272"/>
              <a:gd name="connsiteY378" fmla="*/ 6239766 h 6858000"/>
              <a:gd name="connsiteX379" fmla="*/ 1557868 w 12199272"/>
              <a:gd name="connsiteY379" fmla="*/ 6236876 h 6858000"/>
              <a:gd name="connsiteX380" fmla="*/ 1553140 w 12199272"/>
              <a:gd name="connsiteY380" fmla="*/ 6234289 h 6858000"/>
              <a:gd name="connsiteX381" fmla="*/ 1548095 w 12199272"/>
              <a:gd name="connsiteY381" fmla="*/ 6232031 h 6858000"/>
              <a:gd name="connsiteX382" fmla="*/ 1542733 w 12199272"/>
              <a:gd name="connsiteY382" fmla="*/ 6230128 h 6858000"/>
              <a:gd name="connsiteX383" fmla="*/ 1537054 w 12199272"/>
              <a:gd name="connsiteY383" fmla="*/ 6228603 h 6858000"/>
              <a:gd name="connsiteX384" fmla="*/ 1531059 w 12199272"/>
              <a:gd name="connsiteY384" fmla="*/ 6227483 h 6858000"/>
              <a:gd name="connsiteX385" fmla="*/ 1524748 w 12199272"/>
              <a:gd name="connsiteY385" fmla="*/ 6226792 h 6858000"/>
              <a:gd name="connsiteX386" fmla="*/ 1518121 w 12199272"/>
              <a:gd name="connsiteY386" fmla="*/ 6226556 h 6858000"/>
              <a:gd name="connsiteX387" fmla="*/ 1349948 w 12199272"/>
              <a:gd name="connsiteY387" fmla="*/ 6226556 h 6858000"/>
              <a:gd name="connsiteX388" fmla="*/ 1344301 w 12199272"/>
              <a:gd name="connsiteY388" fmla="*/ 6226743 h 6858000"/>
              <a:gd name="connsiteX389" fmla="*/ 1338773 w 12199272"/>
              <a:gd name="connsiteY389" fmla="*/ 6227298 h 6858000"/>
              <a:gd name="connsiteX390" fmla="*/ 1333377 w 12199272"/>
              <a:gd name="connsiteY390" fmla="*/ 6228210 h 6858000"/>
              <a:gd name="connsiteX391" fmla="*/ 1328124 w 12199272"/>
              <a:gd name="connsiteY391" fmla="*/ 6229471 h 6858000"/>
              <a:gd name="connsiteX392" fmla="*/ 1323028 w 12199272"/>
              <a:gd name="connsiteY392" fmla="*/ 6231070 h 6858000"/>
              <a:gd name="connsiteX393" fmla="*/ 1318101 w 12199272"/>
              <a:gd name="connsiteY393" fmla="*/ 6232998 h 6858000"/>
              <a:gd name="connsiteX394" fmla="*/ 1313353 w 12199272"/>
              <a:gd name="connsiteY394" fmla="*/ 6235246 h 6858000"/>
              <a:gd name="connsiteX395" fmla="*/ 1308799 w 12199272"/>
              <a:gd name="connsiteY395" fmla="*/ 6237803 h 6858000"/>
              <a:gd name="connsiteX396" fmla="*/ 1304450 w 12199272"/>
              <a:gd name="connsiteY396" fmla="*/ 6240661 h 6858000"/>
              <a:gd name="connsiteX397" fmla="*/ 1300319 w 12199272"/>
              <a:gd name="connsiteY397" fmla="*/ 6243809 h 6858000"/>
              <a:gd name="connsiteX398" fmla="*/ 1296416 w 12199272"/>
              <a:gd name="connsiteY398" fmla="*/ 6247238 h 6858000"/>
              <a:gd name="connsiteX399" fmla="*/ 1292756 w 12199272"/>
              <a:gd name="connsiteY399" fmla="*/ 6250938 h 6858000"/>
              <a:gd name="connsiteX400" fmla="*/ 1289350 w 12199272"/>
              <a:gd name="connsiteY400" fmla="*/ 6254900 h 6858000"/>
              <a:gd name="connsiteX401" fmla="*/ 1286210 w 12199272"/>
              <a:gd name="connsiteY401" fmla="*/ 6259113 h 6858000"/>
              <a:gd name="connsiteX402" fmla="*/ 1283349 w 12199272"/>
              <a:gd name="connsiteY402" fmla="*/ 6263569 h 6858000"/>
              <a:gd name="connsiteX403" fmla="*/ 1280778 w 12199272"/>
              <a:gd name="connsiteY403" fmla="*/ 6268258 h 6858000"/>
              <a:gd name="connsiteX404" fmla="*/ 1278511 w 12199272"/>
              <a:gd name="connsiteY404" fmla="*/ 6273170 h 6858000"/>
              <a:gd name="connsiteX405" fmla="*/ 1276559 w 12199272"/>
              <a:gd name="connsiteY405" fmla="*/ 6278296 h 6858000"/>
              <a:gd name="connsiteX406" fmla="*/ 1274934 w 12199272"/>
              <a:gd name="connsiteY406" fmla="*/ 6283625 h 6858000"/>
              <a:gd name="connsiteX407" fmla="*/ 1273649 w 12199272"/>
              <a:gd name="connsiteY407" fmla="*/ 6289148 h 6858000"/>
              <a:gd name="connsiteX408" fmla="*/ 1272716 w 12199272"/>
              <a:gd name="connsiteY408" fmla="*/ 6294856 h 6858000"/>
              <a:gd name="connsiteX409" fmla="*/ 1272147 w 12199272"/>
              <a:gd name="connsiteY409" fmla="*/ 6300739 h 6858000"/>
              <a:gd name="connsiteX410" fmla="*/ 1271955 w 12199272"/>
              <a:gd name="connsiteY410" fmla="*/ 6306788 h 6858000"/>
              <a:gd name="connsiteX411" fmla="*/ 1272132 w 12199272"/>
              <a:gd name="connsiteY411" fmla="*/ 6312589 h 6858000"/>
              <a:gd name="connsiteX412" fmla="*/ 1272655 w 12199272"/>
              <a:gd name="connsiteY412" fmla="*/ 6318242 h 6858000"/>
              <a:gd name="connsiteX413" fmla="*/ 1273513 w 12199272"/>
              <a:gd name="connsiteY413" fmla="*/ 6323737 h 6858000"/>
              <a:gd name="connsiteX414" fmla="*/ 1274696 w 12199272"/>
              <a:gd name="connsiteY414" fmla="*/ 6329067 h 6858000"/>
              <a:gd name="connsiteX415" fmla="*/ 1276193 w 12199272"/>
              <a:gd name="connsiteY415" fmla="*/ 6334221 h 6858000"/>
              <a:gd name="connsiteX416" fmla="*/ 1277993 w 12199272"/>
              <a:gd name="connsiteY416" fmla="*/ 6339192 h 6858000"/>
              <a:gd name="connsiteX417" fmla="*/ 1280085 w 12199272"/>
              <a:gd name="connsiteY417" fmla="*/ 6343971 h 6858000"/>
              <a:gd name="connsiteX418" fmla="*/ 1282459 w 12199272"/>
              <a:gd name="connsiteY418" fmla="*/ 6348549 h 6858000"/>
              <a:gd name="connsiteX419" fmla="*/ 1285104 w 12199272"/>
              <a:gd name="connsiteY419" fmla="*/ 6352916 h 6858000"/>
              <a:gd name="connsiteX420" fmla="*/ 1288009 w 12199272"/>
              <a:gd name="connsiteY420" fmla="*/ 6357066 h 6858000"/>
              <a:gd name="connsiteX421" fmla="*/ 1291163 w 12199272"/>
              <a:gd name="connsiteY421" fmla="*/ 6360988 h 6858000"/>
              <a:gd name="connsiteX422" fmla="*/ 1294555 w 12199272"/>
              <a:gd name="connsiteY422" fmla="*/ 6364675 h 6858000"/>
              <a:gd name="connsiteX423" fmla="*/ 1298175 w 12199272"/>
              <a:gd name="connsiteY423" fmla="*/ 6368116 h 6858000"/>
              <a:gd name="connsiteX424" fmla="*/ 1302013 w 12199272"/>
              <a:gd name="connsiteY424" fmla="*/ 6371304 h 6858000"/>
              <a:gd name="connsiteX425" fmla="*/ 1306056 w 12199272"/>
              <a:gd name="connsiteY425" fmla="*/ 6374230 h 6858000"/>
              <a:gd name="connsiteX426" fmla="*/ 1310295 w 12199272"/>
              <a:gd name="connsiteY426" fmla="*/ 6376886 h 6858000"/>
              <a:gd name="connsiteX427" fmla="*/ 1314719 w 12199272"/>
              <a:gd name="connsiteY427" fmla="*/ 6379261 h 6858000"/>
              <a:gd name="connsiteX428" fmla="*/ 1319316 w 12199272"/>
              <a:gd name="connsiteY428" fmla="*/ 6381348 h 6858000"/>
              <a:gd name="connsiteX429" fmla="*/ 1324077 w 12199272"/>
              <a:gd name="connsiteY429" fmla="*/ 6383138 h 6858000"/>
              <a:gd name="connsiteX430" fmla="*/ 1328989 w 12199272"/>
              <a:gd name="connsiteY430" fmla="*/ 6384622 h 6858000"/>
              <a:gd name="connsiteX431" fmla="*/ 1334044 w 12199272"/>
              <a:gd name="connsiteY431" fmla="*/ 6385792 h 6858000"/>
              <a:gd name="connsiteX432" fmla="*/ 1339229 w 12199272"/>
              <a:gd name="connsiteY432" fmla="*/ 6386638 h 6858000"/>
              <a:gd name="connsiteX433" fmla="*/ 1344534 w 12199272"/>
              <a:gd name="connsiteY433" fmla="*/ 6387152 h 6858000"/>
              <a:gd name="connsiteX434" fmla="*/ 1349948 w 12199272"/>
              <a:gd name="connsiteY434" fmla="*/ 6387325 h 6858000"/>
              <a:gd name="connsiteX435" fmla="*/ 1355397 w 12199272"/>
              <a:gd name="connsiteY435" fmla="*/ 6387152 h 6858000"/>
              <a:gd name="connsiteX436" fmla="*/ 1360730 w 12199272"/>
              <a:gd name="connsiteY436" fmla="*/ 6386638 h 6858000"/>
              <a:gd name="connsiteX437" fmla="*/ 1365938 w 12199272"/>
              <a:gd name="connsiteY437" fmla="*/ 6385792 h 6858000"/>
              <a:gd name="connsiteX438" fmla="*/ 1371010 w 12199272"/>
              <a:gd name="connsiteY438" fmla="*/ 6384622 h 6858000"/>
              <a:gd name="connsiteX439" fmla="*/ 1375936 w 12199272"/>
              <a:gd name="connsiteY439" fmla="*/ 6383138 h 6858000"/>
              <a:gd name="connsiteX440" fmla="*/ 1380706 w 12199272"/>
              <a:gd name="connsiteY440" fmla="*/ 6381348 h 6858000"/>
              <a:gd name="connsiteX441" fmla="*/ 1385308 w 12199272"/>
              <a:gd name="connsiteY441" fmla="*/ 6379261 h 6858000"/>
              <a:gd name="connsiteX442" fmla="*/ 1389734 w 12199272"/>
              <a:gd name="connsiteY442" fmla="*/ 6376886 h 6858000"/>
              <a:gd name="connsiteX443" fmla="*/ 1393971 w 12199272"/>
              <a:gd name="connsiteY443" fmla="*/ 6374230 h 6858000"/>
              <a:gd name="connsiteX444" fmla="*/ 1398010 w 12199272"/>
              <a:gd name="connsiteY444" fmla="*/ 6371304 h 6858000"/>
              <a:gd name="connsiteX445" fmla="*/ 1401841 w 12199272"/>
              <a:gd name="connsiteY445" fmla="*/ 6368116 h 6858000"/>
              <a:gd name="connsiteX446" fmla="*/ 1405453 w 12199272"/>
              <a:gd name="connsiteY446" fmla="*/ 6364675 h 6858000"/>
              <a:gd name="connsiteX447" fmla="*/ 1408836 w 12199272"/>
              <a:gd name="connsiteY447" fmla="*/ 6360988 h 6858000"/>
              <a:gd name="connsiteX448" fmla="*/ 1411979 w 12199272"/>
              <a:gd name="connsiteY448" fmla="*/ 6357066 h 6858000"/>
              <a:gd name="connsiteX449" fmla="*/ 1414872 w 12199272"/>
              <a:gd name="connsiteY449" fmla="*/ 6352916 h 6858000"/>
              <a:gd name="connsiteX450" fmla="*/ 1417504 w 12199272"/>
              <a:gd name="connsiteY450" fmla="*/ 6348549 h 6858000"/>
              <a:gd name="connsiteX451" fmla="*/ 1419533 w 12199272"/>
              <a:gd name="connsiteY451" fmla="*/ 6344617 h 6858000"/>
              <a:gd name="connsiteX452" fmla="*/ 1421947 w 12199272"/>
              <a:gd name="connsiteY452" fmla="*/ 6339192 h 6858000"/>
              <a:gd name="connsiteX453" fmla="*/ 1423736 w 12199272"/>
              <a:gd name="connsiteY453" fmla="*/ 6334221 h 6858000"/>
              <a:gd name="connsiteX454" fmla="*/ 1425223 w 12199272"/>
              <a:gd name="connsiteY454" fmla="*/ 6329067 h 6858000"/>
              <a:gd name="connsiteX455" fmla="*/ 1426398 w 12199272"/>
              <a:gd name="connsiteY455" fmla="*/ 6323737 h 6858000"/>
              <a:gd name="connsiteX456" fmla="*/ 1427249 w 12199272"/>
              <a:gd name="connsiteY456" fmla="*/ 6318242 h 6858000"/>
              <a:gd name="connsiteX457" fmla="*/ 1427768 w 12199272"/>
              <a:gd name="connsiteY457" fmla="*/ 6312589 h 6858000"/>
              <a:gd name="connsiteX458" fmla="*/ 1427943 w 12199272"/>
              <a:gd name="connsiteY458" fmla="*/ 6306788 h 6858000"/>
              <a:gd name="connsiteX459" fmla="*/ 1427753 w 12199272"/>
              <a:gd name="connsiteY459" fmla="*/ 6300739 h 6858000"/>
              <a:gd name="connsiteX460" fmla="*/ 1427188 w 12199272"/>
              <a:gd name="connsiteY460" fmla="*/ 6294856 h 6858000"/>
              <a:gd name="connsiteX461" fmla="*/ 1426262 w 12199272"/>
              <a:gd name="connsiteY461" fmla="*/ 6289148 h 6858000"/>
              <a:gd name="connsiteX462" fmla="*/ 1424986 w 12199272"/>
              <a:gd name="connsiteY462" fmla="*/ 6283625 h 6858000"/>
              <a:gd name="connsiteX463" fmla="*/ 1423372 w 12199272"/>
              <a:gd name="connsiteY463" fmla="*/ 6278296 h 6858000"/>
              <a:gd name="connsiteX464" fmla="*/ 1421432 w 12199272"/>
              <a:gd name="connsiteY464" fmla="*/ 6273170 h 6858000"/>
              <a:gd name="connsiteX465" fmla="*/ 1419639 w 12199272"/>
              <a:gd name="connsiteY465" fmla="*/ 6269264 h 6858000"/>
              <a:gd name="connsiteX466" fmla="*/ 1419177 w 12199272"/>
              <a:gd name="connsiteY466" fmla="*/ 6268258 h 6858000"/>
              <a:gd name="connsiteX467" fmla="*/ 1416619 w 12199272"/>
              <a:gd name="connsiteY467" fmla="*/ 6263569 h 6858000"/>
              <a:gd name="connsiteX468" fmla="*/ 1413770 w 12199272"/>
              <a:gd name="connsiteY468" fmla="*/ 6259113 h 6858000"/>
              <a:gd name="connsiteX469" fmla="*/ 1410643 w 12199272"/>
              <a:gd name="connsiteY469" fmla="*/ 6254900 h 6858000"/>
              <a:gd name="connsiteX470" fmla="*/ 1407247 w 12199272"/>
              <a:gd name="connsiteY470" fmla="*/ 6250938 h 6858000"/>
              <a:gd name="connsiteX471" fmla="*/ 1403597 w 12199272"/>
              <a:gd name="connsiteY471" fmla="*/ 6247238 h 6858000"/>
              <a:gd name="connsiteX472" fmla="*/ 1399702 w 12199272"/>
              <a:gd name="connsiteY472" fmla="*/ 6243809 h 6858000"/>
              <a:gd name="connsiteX473" fmla="*/ 1395576 w 12199272"/>
              <a:gd name="connsiteY473" fmla="*/ 6240661 h 6858000"/>
              <a:gd name="connsiteX474" fmla="*/ 1391230 w 12199272"/>
              <a:gd name="connsiteY474" fmla="*/ 6237803 h 6858000"/>
              <a:gd name="connsiteX475" fmla="*/ 1386675 w 12199272"/>
              <a:gd name="connsiteY475" fmla="*/ 6235246 h 6858000"/>
              <a:gd name="connsiteX476" fmla="*/ 1381923 w 12199272"/>
              <a:gd name="connsiteY476" fmla="*/ 6232998 h 6858000"/>
              <a:gd name="connsiteX477" fmla="*/ 1376987 w 12199272"/>
              <a:gd name="connsiteY477" fmla="*/ 6231070 h 6858000"/>
              <a:gd name="connsiteX478" fmla="*/ 1371878 w 12199272"/>
              <a:gd name="connsiteY478" fmla="*/ 6229471 h 6858000"/>
              <a:gd name="connsiteX479" fmla="*/ 1366608 w 12199272"/>
              <a:gd name="connsiteY479" fmla="*/ 6228210 h 6858000"/>
              <a:gd name="connsiteX480" fmla="*/ 1361188 w 12199272"/>
              <a:gd name="connsiteY480" fmla="*/ 6227298 h 6858000"/>
              <a:gd name="connsiteX481" fmla="*/ 1355631 w 12199272"/>
              <a:gd name="connsiteY481" fmla="*/ 6226743 h 6858000"/>
              <a:gd name="connsiteX482" fmla="*/ 1349948 w 12199272"/>
              <a:gd name="connsiteY482" fmla="*/ 6226556 h 6858000"/>
              <a:gd name="connsiteX483" fmla="*/ 782044 w 12199272"/>
              <a:gd name="connsiteY483" fmla="*/ 6166457 h 6858000"/>
              <a:gd name="connsiteX484" fmla="*/ 780496 w 12199272"/>
              <a:gd name="connsiteY484" fmla="*/ 6166780 h 6858000"/>
              <a:gd name="connsiteX485" fmla="*/ 779232 w 12199272"/>
              <a:gd name="connsiteY485" fmla="*/ 6167660 h 6858000"/>
              <a:gd name="connsiteX486" fmla="*/ 778380 w 12199272"/>
              <a:gd name="connsiteY486" fmla="*/ 6168966 h 6858000"/>
              <a:gd name="connsiteX487" fmla="*/ 778067 w 12199272"/>
              <a:gd name="connsiteY487" fmla="*/ 6170564 h 6858000"/>
              <a:gd name="connsiteX488" fmla="*/ 778067 w 12199272"/>
              <a:gd name="connsiteY488" fmla="*/ 6378643 h 6858000"/>
              <a:gd name="connsiteX489" fmla="*/ 778380 w 12199272"/>
              <a:gd name="connsiteY489" fmla="*/ 6380242 h 6858000"/>
              <a:gd name="connsiteX490" fmla="*/ 779232 w 12199272"/>
              <a:gd name="connsiteY490" fmla="*/ 6381547 h 6858000"/>
              <a:gd name="connsiteX491" fmla="*/ 780496 w 12199272"/>
              <a:gd name="connsiteY491" fmla="*/ 6382427 h 6858000"/>
              <a:gd name="connsiteX492" fmla="*/ 782044 w 12199272"/>
              <a:gd name="connsiteY492" fmla="*/ 6382750 h 6858000"/>
              <a:gd name="connsiteX493" fmla="*/ 907033 w 12199272"/>
              <a:gd name="connsiteY493" fmla="*/ 6382750 h 6858000"/>
              <a:gd name="connsiteX494" fmla="*/ 908581 w 12199272"/>
              <a:gd name="connsiteY494" fmla="*/ 6382427 h 6858000"/>
              <a:gd name="connsiteX495" fmla="*/ 909845 w 12199272"/>
              <a:gd name="connsiteY495" fmla="*/ 6381547 h 6858000"/>
              <a:gd name="connsiteX496" fmla="*/ 910697 w 12199272"/>
              <a:gd name="connsiteY496" fmla="*/ 6380242 h 6858000"/>
              <a:gd name="connsiteX497" fmla="*/ 911010 w 12199272"/>
              <a:gd name="connsiteY497" fmla="*/ 6378643 h 6858000"/>
              <a:gd name="connsiteX498" fmla="*/ 911010 w 12199272"/>
              <a:gd name="connsiteY498" fmla="*/ 6341097 h 6858000"/>
              <a:gd name="connsiteX499" fmla="*/ 908581 w 12199272"/>
              <a:gd name="connsiteY499" fmla="*/ 6337313 h 6858000"/>
              <a:gd name="connsiteX500" fmla="*/ 828722 w 12199272"/>
              <a:gd name="connsiteY500" fmla="*/ 6336990 h 6858000"/>
              <a:gd name="connsiteX501" fmla="*/ 827174 w 12199272"/>
              <a:gd name="connsiteY501" fmla="*/ 6336667 h 6858000"/>
              <a:gd name="connsiteX502" fmla="*/ 825910 w 12199272"/>
              <a:gd name="connsiteY502" fmla="*/ 6335787 h 6858000"/>
              <a:gd name="connsiteX503" fmla="*/ 825057 w 12199272"/>
              <a:gd name="connsiteY503" fmla="*/ 6334481 h 6858000"/>
              <a:gd name="connsiteX504" fmla="*/ 824744 w 12199272"/>
              <a:gd name="connsiteY504" fmla="*/ 6332883 h 6858000"/>
              <a:gd name="connsiteX505" fmla="*/ 824744 w 12199272"/>
              <a:gd name="connsiteY505" fmla="*/ 6299607 h 6858000"/>
              <a:gd name="connsiteX506" fmla="*/ 825057 w 12199272"/>
              <a:gd name="connsiteY506" fmla="*/ 6298009 h 6858000"/>
              <a:gd name="connsiteX507" fmla="*/ 825910 w 12199272"/>
              <a:gd name="connsiteY507" fmla="*/ 6296703 h 6858000"/>
              <a:gd name="connsiteX508" fmla="*/ 827174 w 12199272"/>
              <a:gd name="connsiteY508" fmla="*/ 6295823 h 6858000"/>
              <a:gd name="connsiteX509" fmla="*/ 828722 w 12199272"/>
              <a:gd name="connsiteY509" fmla="*/ 6295500 h 6858000"/>
              <a:gd name="connsiteX510" fmla="*/ 898759 w 12199272"/>
              <a:gd name="connsiteY510" fmla="*/ 6295500 h 6858000"/>
              <a:gd name="connsiteX511" fmla="*/ 900308 w 12199272"/>
              <a:gd name="connsiteY511" fmla="*/ 6295178 h 6858000"/>
              <a:gd name="connsiteX512" fmla="*/ 901572 w 12199272"/>
              <a:gd name="connsiteY512" fmla="*/ 6294298 h 6858000"/>
              <a:gd name="connsiteX513" fmla="*/ 902425 w 12199272"/>
              <a:gd name="connsiteY513" fmla="*/ 6292992 h 6858000"/>
              <a:gd name="connsiteX514" fmla="*/ 902738 w 12199272"/>
              <a:gd name="connsiteY514" fmla="*/ 6291393 h 6858000"/>
              <a:gd name="connsiteX515" fmla="*/ 902738 w 12199272"/>
              <a:gd name="connsiteY515" fmla="*/ 6257204 h 6858000"/>
              <a:gd name="connsiteX516" fmla="*/ 902425 w 12199272"/>
              <a:gd name="connsiteY516" fmla="*/ 6255605 h 6858000"/>
              <a:gd name="connsiteX517" fmla="*/ 901572 w 12199272"/>
              <a:gd name="connsiteY517" fmla="*/ 6254300 h 6858000"/>
              <a:gd name="connsiteX518" fmla="*/ 900308 w 12199272"/>
              <a:gd name="connsiteY518" fmla="*/ 6253419 h 6858000"/>
              <a:gd name="connsiteX519" fmla="*/ 898759 w 12199272"/>
              <a:gd name="connsiteY519" fmla="*/ 6253097 h 6858000"/>
              <a:gd name="connsiteX520" fmla="*/ 828722 w 12199272"/>
              <a:gd name="connsiteY520" fmla="*/ 6253097 h 6858000"/>
              <a:gd name="connsiteX521" fmla="*/ 827174 w 12199272"/>
              <a:gd name="connsiteY521" fmla="*/ 6252774 h 6858000"/>
              <a:gd name="connsiteX522" fmla="*/ 825910 w 12199272"/>
              <a:gd name="connsiteY522" fmla="*/ 6251894 h 6858000"/>
              <a:gd name="connsiteX523" fmla="*/ 825057 w 12199272"/>
              <a:gd name="connsiteY523" fmla="*/ 6250589 h 6858000"/>
              <a:gd name="connsiteX524" fmla="*/ 824744 w 12199272"/>
              <a:gd name="connsiteY524" fmla="*/ 6248990 h 6858000"/>
              <a:gd name="connsiteX525" fmla="*/ 824744 w 12199272"/>
              <a:gd name="connsiteY525" fmla="*/ 6216020 h 6858000"/>
              <a:gd name="connsiteX526" fmla="*/ 825057 w 12199272"/>
              <a:gd name="connsiteY526" fmla="*/ 6214421 h 6858000"/>
              <a:gd name="connsiteX527" fmla="*/ 825910 w 12199272"/>
              <a:gd name="connsiteY527" fmla="*/ 6213116 h 6858000"/>
              <a:gd name="connsiteX528" fmla="*/ 827174 w 12199272"/>
              <a:gd name="connsiteY528" fmla="*/ 6212236 h 6858000"/>
              <a:gd name="connsiteX529" fmla="*/ 828722 w 12199272"/>
              <a:gd name="connsiteY529" fmla="*/ 6211913 h 6858000"/>
              <a:gd name="connsiteX530" fmla="*/ 906737 w 12199272"/>
              <a:gd name="connsiteY530" fmla="*/ 6211913 h 6858000"/>
              <a:gd name="connsiteX531" fmla="*/ 908285 w 12199272"/>
              <a:gd name="connsiteY531" fmla="*/ 6211590 h 6858000"/>
              <a:gd name="connsiteX532" fmla="*/ 909549 w 12199272"/>
              <a:gd name="connsiteY532" fmla="*/ 6210710 h 6858000"/>
              <a:gd name="connsiteX533" fmla="*/ 910401 w 12199272"/>
              <a:gd name="connsiteY533" fmla="*/ 6209405 h 6858000"/>
              <a:gd name="connsiteX534" fmla="*/ 910714 w 12199272"/>
              <a:gd name="connsiteY534" fmla="*/ 6207806 h 6858000"/>
              <a:gd name="connsiteX535" fmla="*/ 910714 w 12199272"/>
              <a:gd name="connsiteY535" fmla="*/ 6170564 h 6858000"/>
              <a:gd name="connsiteX536" fmla="*/ 910401 w 12199272"/>
              <a:gd name="connsiteY536" fmla="*/ 6168966 h 6858000"/>
              <a:gd name="connsiteX537" fmla="*/ 909549 w 12199272"/>
              <a:gd name="connsiteY537" fmla="*/ 6167660 h 6858000"/>
              <a:gd name="connsiteX538" fmla="*/ 908285 w 12199272"/>
              <a:gd name="connsiteY538" fmla="*/ 6166780 h 6858000"/>
              <a:gd name="connsiteX539" fmla="*/ 906737 w 12199272"/>
              <a:gd name="connsiteY539" fmla="*/ 6166457 h 6858000"/>
              <a:gd name="connsiteX540" fmla="*/ 782044 w 12199272"/>
              <a:gd name="connsiteY540" fmla="*/ 6166457 h 6858000"/>
              <a:gd name="connsiteX541" fmla="*/ 1124613 w 12199272"/>
              <a:gd name="connsiteY541" fmla="*/ 6157611 h 6858000"/>
              <a:gd name="connsiteX542" fmla="*/ 1119425 w 12199272"/>
              <a:gd name="connsiteY542" fmla="*/ 6158165 h 6858000"/>
              <a:gd name="connsiteX543" fmla="*/ 1114569 w 12199272"/>
              <a:gd name="connsiteY543" fmla="*/ 6159751 h 6858000"/>
              <a:gd name="connsiteX544" fmla="*/ 1110156 w 12199272"/>
              <a:gd name="connsiteY544" fmla="*/ 6162260 h 6858000"/>
              <a:gd name="connsiteX545" fmla="*/ 1106297 w 12199272"/>
              <a:gd name="connsiteY545" fmla="*/ 6165581 h 6858000"/>
              <a:gd name="connsiteX546" fmla="*/ 1103103 w 12199272"/>
              <a:gd name="connsiteY546" fmla="*/ 6169602 h 6858000"/>
              <a:gd name="connsiteX547" fmla="*/ 1100684 w 12199272"/>
              <a:gd name="connsiteY547" fmla="*/ 6174213 h 6858000"/>
              <a:gd name="connsiteX548" fmla="*/ 1099151 w 12199272"/>
              <a:gd name="connsiteY548" fmla="*/ 6179304 h 6858000"/>
              <a:gd name="connsiteX549" fmla="*/ 1098616 w 12199272"/>
              <a:gd name="connsiteY549" fmla="*/ 6184762 h 6858000"/>
              <a:gd name="connsiteX550" fmla="*/ 1099151 w 12199272"/>
              <a:gd name="connsiteY550" fmla="*/ 6190221 h 6858000"/>
              <a:gd name="connsiteX551" fmla="*/ 1100684 w 12199272"/>
              <a:gd name="connsiteY551" fmla="*/ 6195311 h 6858000"/>
              <a:gd name="connsiteX552" fmla="*/ 1103103 w 12199272"/>
              <a:gd name="connsiteY552" fmla="*/ 6199922 h 6858000"/>
              <a:gd name="connsiteX553" fmla="*/ 1106297 w 12199272"/>
              <a:gd name="connsiteY553" fmla="*/ 6203943 h 6858000"/>
              <a:gd name="connsiteX554" fmla="*/ 1110156 w 12199272"/>
              <a:gd name="connsiteY554" fmla="*/ 6207264 h 6858000"/>
              <a:gd name="connsiteX555" fmla="*/ 1114569 w 12199272"/>
              <a:gd name="connsiteY555" fmla="*/ 6209773 h 6858000"/>
              <a:gd name="connsiteX556" fmla="*/ 1119425 w 12199272"/>
              <a:gd name="connsiteY556" fmla="*/ 6211360 h 6858000"/>
              <a:gd name="connsiteX557" fmla="*/ 1124613 w 12199272"/>
              <a:gd name="connsiteY557" fmla="*/ 6211913 h 6858000"/>
              <a:gd name="connsiteX558" fmla="*/ 1129997 w 12199272"/>
              <a:gd name="connsiteY558" fmla="*/ 6211360 h 6858000"/>
              <a:gd name="connsiteX559" fmla="*/ 1135000 w 12199272"/>
              <a:gd name="connsiteY559" fmla="*/ 6209773 h 6858000"/>
              <a:gd name="connsiteX560" fmla="*/ 1139518 w 12199272"/>
              <a:gd name="connsiteY560" fmla="*/ 6207264 h 6858000"/>
              <a:gd name="connsiteX561" fmla="*/ 1143447 w 12199272"/>
              <a:gd name="connsiteY561" fmla="*/ 6203943 h 6858000"/>
              <a:gd name="connsiteX562" fmla="*/ 1146685 w 12199272"/>
              <a:gd name="connsiteY562" fmla="*/ 6199922 h 6858000"/>
              <a:gd name="connsiteX563" fmla="*/ 1149125 w 12199272"/>
              <a:gd name="connsiteY563" fmla="*/ 6195311 h 6858000"/>
              <a:gd name="connsiteX564" fmla="*/ 1150666 w 12199272"/>
              <a:gd name="connsiteY564" fmla="*/ 6190221 h 6858000"/>
              <a:gd name="connsiteX565" fmla="*/ 1151203 w 12199272"/>
              <a:gd name="connsiteY565" fmla="*/ 6184762 h 6858000"/>
              <a:gd name="connsiteX566" fmla="*/ 1150666 w 12199272"/>
              <a:gd name="connsiteY566" fmla="*/ 6179304 h 6858000"/>
              <a:gd name="connsiteX567" fmla="*/ 1149125 w 12199272"/>
              <a:gd name="connsiteY567" fmla="*/ 6174213 h 6858000"/>
              <a:gd name="connsiteX568" fmla="*/ 1146685 w 12199272"/>
              <a:gd name="connsiteY568" fmla="*/ 6169602 h 6858000"/>
              <a:gd name="connsiteX569" fmla="*/ 1143447 w 12199272"/>
              <a:gd name="connsiteY569" fmla="*/ 6165581 h 6858000"/>
              <a:gd name="connsiteX570" fmla="*/ 1139518 w 12199272"/>
              <a:gd name="connsiteY570" fmla="*/ 6162260 h 6858000"/>
              <a:gd name="connsiteX571" fmla="*/ 1135000 w 12199272"/>
              <a:gd name="connsiteY571" fmla="*/ 6159751 h 6858000"/>
              <a:gd name="connsiteX572" fmla="*/ 1129997 w 12199272"/>
              <a:gd name="connsiteY572" fmla="*/ 6158165 h 6858000"/>
              <a:gd name="connsiteX573" fmla="*/ 1124613 w 12199272"/>
              <a:gd name="connsiteY573" fmla="*/ 6157611 h 6858000"/>
              <a:gd name="connsiteX574" fmla="*/ 581250 w 12199272"/>
              <a:gd name="connsiteY574" fmla="*/ 6120863 h 6858000"/>
              <a:gd name="connsiteX575" fmla="*/ 575834 w 12199272"/>
              <a:gd name="connsiteY575" fmla="*/ 6121606 h 6858000"/>
              <a:gd name="connsiteX576" fmla="*/ 570703 w 12199272"/>
              <a:gd name="connsiteY576" fmla="*/ 6123833 h 6858000"/>
              <a:gd name="connsiteX577" fmla="*/ 468377 w 12199272"/>
              <a:gd name="connsiteY577" fmla="*/ 6185889 h 6858000"/>
              <a:gd name="connsiteX578" fmla="*/ 463977 w 12199272"/>
              <a:gd name="connsiteY578" fmla="*/ 6189443 h 6858000"/>
              <a:gd name="connsiteX579" fmla="*/ 460658 w 12199272"/>
              <a:gd name="connsiteY579" fmla="*/ 6193998 h 6858000"/>
              <a:gd name="connsiteX580" fmla="*/ 458562 w 12199272"/>
              <a:gd name="connsiteY580" fmla="*/ 6199295 h 6858000"/>
              <a:gd name="connsiteX581" fmla="*/ 457832 w 12199272"/>
              <a:gd name="connsiteY581" fmla="*/ 6205076 h 6858000"/>
              <a:gd name="connsiteX582" fmla="*/ 457832 w 12199272"/>
              <a:gd name="connsiteY582" fmla="*/ 6329188 h 6858000"/>
              <a:gd name="connsiteX583" fmla="*/ 458562 w 12199272"/>
              <a:gd name="connsiteY583" fmla="*/ 6334969 h 6858000"/>
              <a:gd name="connsiteX584" fmla="*/ 460658 w 12199272"/>
              <a:gd name="connsiteY584" fmla="*/ 6340266 h 6858000"/>
              <a:gd name="connsiteX585" fmla="*/ 463977 w 12199272"/>
              <a:gd name="connsiteY585" fmla="*/ 6344822 h 6858000"/>
              <a:gd name="connsiteX586" fmla="*/ 468378 w 12199272"/>
              <a:gd name="connsiteY586" fmla="*/ 6348377 h 6858000"/>
              <a:gd name="connsiteX587" fmla="*/ 570703 w 12199272"/>
              <a:gd name="connsiteY587" fmla="*/ 6410433 h 6858000"/>
              <a:gd name="connsiteX588" fmla="*/ 575834 w 12199272"/>
              <a:gd name="connsiteY588" fmla="*/ 6412659 h 6858000"/>
              <a:gd name="connsiteX589" fmla="*/ 581250 w 12199272"/>
              <a:gd name="connsiteY589" fmla="*/ 6413401 h 6858000"/>
              <a:gd name="connsiteX590" fmla="*/ 586665 w 12199272"/>
              <a:gd name="connsiteY590" fmla="*/ 6412659 h 6858000"/>
              <a:gd name="connsiteX591" fmla="*/ 591796 w 12199272"/>
              <a:gd name="connsiteY591" fmla="*/ 6410433 h 6858000"/>
              <a:gd name="connsiteX592" fmla="*/ 687555 w 12199272"/>
              <a:gd name="connsiteY592" fmla="*/ 6352359 h 6858000"/>
              <a:gd name="connsiteX593" fmla="*/ 694122 w 12199272"/>
              <a:gd name="connsiteY593" fmla="*/ 6348377 h 6858000"/>
              <a:gd name="connsiteX594" fmla="*/ 698523 w 12199272"/>
              <a:gd name="connsiteY594" fmla="*/ 6344822 h 6858000"/>
              <a:gd name="connsiteX595" fmla="*/ 701842 w 12199272"/>
              <a:gd name="connsiteY595" fmla="*/ 6340266 h 6858000"/>
              <a:gd name="connsiteX596" fmla="*/ 703937 w 12199272"/>
              <a:gd name="connsiteY596" fmla="*/ 6334969 h 6858000"/>
              <a:gd name="connsiteX597" fmla="*/ 704667 w 12199272"/>
              <a:gd name="connsiteY597" fmla="*/ 6329188 h 6858000"/>
              <a:gd name="connsiteX598" fmla="*/ 704667 w 12199272"/>
              <a:gd name="connsiteY598" fmla="*/ 6277512 h 6858000"/>
              <a:gd name="connsiteX599" fmla="*/ 581250 w 12199272"/>
              <a:gd name="connsiteY599" fmla="*/ 6352359 h 6858000"/>
              <a:gd name="connsiteX600" fmla="*/ 512614 w 12199272"/>
              <a:gd name="connsiteY600" fmla="*/ 6310735 h 6858000"/>
              <a:gd name="connsiteX601" fmla="*/ 512651 w 12199272"/>
              <a:gd name="connsiteY601" fmla="*/ 6225511 h 6858000"/>
              <a:gd name="connsiteX602" fmla="*/ 576185 w 12199272"/>
              <a:gd name="connsiteY602" fmla="*/ 6186958 h 6858000"/>
              <a:gd name="connsiteX603" fmla="*/ 578647 w 12199272"/>
              <a:gd name="connsiteY603" fmla="*/ 6185889 h 6858000"/>
              <a:gd name="connsiteX604" fmla="*/ 581250 w 12199272"/>
              <a:gd name="connsiteY604" fmla="*/ 6185532 h 6858000"/>
              <a:gd name="connsiteX605" fmla="*/ 583855 w 12199272"/>
              <a:gd name="connsiteY605" fmla="*/ 6185889 h 6858000"/>
              <a:gd name="connsiteX606" fmla="*/ 586321 w 12199272"/>
              <a:gd name="connsiteY606" fmla="*/ 6186960 h 6858000"/>
              <a:gd name="connsiteX607" fmla="*/ 649885 w 12199272"/>
              <a:gd name="connsiteY607" fmla="*/ 6225509 h 6858000"/>
              <a:gd name="connsiteX608" fmla="*/ 589785 w 12199272"/>
              <a:gd name="connsiteY608" fmla="*/ 6261958 h 6858000"/>
              <a:gd name="connsiteX609" fmla="*/ 585633 w 12199272"/>
              <a:gd name="connsiteY609" fmla="*/ 6263759 h 6858000"/>
              <a:gd name="connsiteX610" fmla="*/ 581250 w 12199272"/>
              <a:gd name="connsiteY610" fmla="*/ 6264359 h 6858000"/>
              <a:gd name="connsiteX611" fmla="*/ 576868 w 12199272"/>
              <a:gd name="connsiteY611" fmla="*/ 6263758 h 6858000"/>
              <a:gd name="connsiteX612" fmla="*/ 572716 w 12199272"/>
              <a:gd name="connsiteY612" fmla="*/ 6261956 h 6858000"/>
              <a:gd name="connsiteX613" fmla="*/ 529723 w 12199272"/>
              <a:gd name="connsiteY613" fmla="*/ 6235870 h 6858000"/>
              <a:gd name="connsiteX614" fmla="*/ 529693 w 12199272"/>
              <a:gd name="connsiteY614" fmla="*/ 6300334 h 6858000"/>
              <a:gd name="connsiteX615" fmla="*/ 581250 w 12199272"/>
              <a:gd name="connsiteY615" fmla="*/ 6331602 h 6858000"/>
              <a:gd name="connsiteX616" fmla="*/ 692128 w 12199272"/>
              <a:gd name="connsiteY616" fmla="*/ 6264359 h 6858000"/>
              <a:gd name="connsiteX617" fmla="*/ 704667 w 12199272"/>
              <a:gd name="connsiteY617" fmla="*/ 6256755 h 6858000"/>
              <a:gd name="connsiteX618" fmla="*/ 704667 w 12199272"/>
              <a:gd name="connsiteY618" fmla="*/ 6205076 h 6858000"/>
              <a:gd name="connsiteX619" fmla="*/ 703937 w 12199272"/>
              <a:gd name="connsiteY619" fmla="*/ 6199295 h 6858000"/>
              <a:gd name="connsiteX620" fmla="*/ 701842 w 12199272"/>
              <a:gd name="connsiteY620" fmla="*/ 6193998 h 6858000"/>
              <a:gd name="connsiteX621" fmla="*/ 698523 w 12199272"/>
              <a:gd name="connsiteY621" fmla="*/ 6189443 h 6858000"/>
              <a:gd name="connsiteX622" fmla="*/ 694122 w 12199272"/>
              <a:gd name="connsiteY622" fmla="*/ 6185888 h 6858000"/>
              <a:gd name="connsiteX623" fmla="*/ 693534 w 12199272"/>
              <a:gd name="connsiteY623" fmla="*/ 6185532 h 6858000"/>
              <a:gd name="connsiteX624" fmla="*/ 591796 w 12199272"/>
              <a:gd name="connsiteY624" fmla="*/ 6123833 h 6858000"/>
              <a:gd name="connsiteX625" fmla="*/ 586665 w 12199272"/>
              <a:gd name="connsiteY625" fmla="*/ 6121606 h 6858000"/>
              <a:gd name="connsiteX626" fmla="*/ 581250 w 12199272"/>
              <a:gd name="connsiteY626" fmla="*/ 6120863 h 6858000"/>
              <a:gd name="connsiteX627" fmla="*/ 0 w 12199272"/>
              <a:gd name="connsiteY627" fmla="*/ 0 h 6858000"/>
              <a:gd name="connsiteX628" fmla="*/ 12198355 w 12199272"/>
              <a:gd name="connsiteY628" fmla="*/ 3175 h 6858000"/>
              <a:gd name="connsiteX629" fmla="*/ 12198355 w 12199272"/>
              <a:gd name="connsiteY629" fmla="*/ 6858000 h 6858000"/>
              <a:gd name="connsiteX630" fmla="*/ 0 w 12199272"/>
              <a:gd name="connsiteY630" fmla="*/ 6858000 h 6858000"/>
              <a:gd name="connsiteX631" fmla="*/ 0 w 12199272"/>
              <a:gd name="connsiteY631" fmla="*/ 0 h 6858000"/>
              <a:gd name="connsiteX0" fmla="*/ 1007893 w 12199272"/>
              <a:gd name="connsiteY0" fmla="*/ 6278790 h 6867525"/>
              <a:gd name="connsiteX1" fmla="*/ 1012666 w 12199272"/>
              <a:gd name="connsiteY1" fmla="*/ 6279093 h 6867525"/>
              <a:gd name="connsiteX2" fmla="*/ 1017275 w 12199272"/>
              <a:gd name="connsiteY2" fmla="*/ 6280006 h 6867525"/>
              <a:gd name="connsiteX3" fmla="*/ 1021659 w 12199272"/>
              <a:gd name="connsiteY3" fmla="*/ 6281532 h 6867525"/>
              <a:gd name="connsiteX4" fmla="*/ 1025757 w 12199272"/>
              <a:gd name="connsiteY4" fmla="*/ 6283675 h 6867525"/>
              <a:gd name="connsiteX5" fmla="*/ 1029507 w 12199272"/>
              <a:gd name="connsiteY5" fmla="*/ 6286440 h 6867525"/>
              <a:gd name="connsiteX6" fmla="*/ 1032848 w 12199272"/>
              <a:gd name="connsiteY6" fmla="*/ 6289831 h 6867525"/>
              <a:gd name="connsiteX7" fmla="*/ 1035719 w 12199272"/>
              <a:gd name="connsiteY7" fmla="*/ 6293851 h 6867525"/>
              <a:gd name="connsiteX8" fmla="*/ 1038059 w 12199272"/>
              <a:gd name="connsiteY8" fmla="*/ 6298506 h 6867525"/>
              <a:gd name="connsiteX9" fmla="*/ 1039806 w 12199272"/>
              <a:gd name="connsiteY9" fmla="*/ 6303798 h 6867525"/>
              <a:gd name="connsiteX10" fmla="*/ 1040899 w 12199272"/>
              <a:gd name="connsiteY10" fmla="*/ 6309733 h 6867525"/>
              <a:gd name="connsiteX11" fmla="*/ 1041277 w 12199272"/>
              <a:gd name="connsiteY11" fmla="*/ 6316313 h 6867525"/>
              <a:gd name="connsiteX12" fmla="*/ 1040899 w 12199272"/>
              <a:gd name="connsiteY12" fmla="*/ 6322901 h 6867525"/>
              <a:gd name="connsiteX13" fmla="*/ 1039806 w 12199272"/>
              <a:gd name="connsiteY13" fmla="*/ 6328855 h 6867525"/>
              <a:gd name="connsiteX14" fmla="*/ 1038059 w 12199272"/>
              <a:gd name="connsiteY14" fmla="*/ 6334177 h 6867525"/>
              <a:gd name="connsiteX15" fmla="*/ 1035719 w 12199272"/>
              <a:gd name="connsiteY15" fmla="*/ 6338867 h 6867525"/>
              <a:gd name="connsiteX16" fmla="*/ 1032848 w 12199272"/>
              <a:gd name="connsiteY16" fmla="*/ 6342928 h 6867525"/>
              <a:gd name="connsiteX17" fmla="*/ 1029507 w 12199272"/>
              <a:gd name="connsiteY17" fmla="*/ 6346360 h 6867525"/>
              <a:gd name="connsiteX18" fmla="*/ 1025757 w 12199272"/>
              <a:gd name="connsiteY18" fmla="*/ 6349166 h 6867525"/>
              <a:gd name="connsiteX19" fmla="*/ 1021659 w 12199272"/>
              <a:gd name="connsiteY19" fmla="*/ 6351345 h 6867525"/>
              <a:gd name="connsiteX20" fmla="*/ 1017275 w 12199272"/>
              <a:gd name="connsiteY20" fmla="*/ 6352900 h 6867525"/>
              <a:gd name="connsiteX21" fmla="*/ 1012666 w 12199272"/>
              <a:gd name="connsiteY21" fmla="*/ 6353832 h 6867525"/>
              <a:gd name="connsiteX22" fmla="*/ 1007893 w 12199272"/>
              <a:gd name="connsiteY22" fmla="*/ 6354143 h 6867525"/>
              <a:gd name="connsiteX23" fmla="*/ 1003193 w 12199272"/>
              <a:gd name="connsiteY23" fmla="*/ 6353825 h 6867525"/>
              <a:gd name="connsiteX24" fmla="*/ 998645 w 12199272"/>
              <a:gd name="connsiteY24" fmla="*/ 6352875 h 6867525"/>
              <a:gd name="connsiteX25" fmla="*/ 994309 w 12199272"/>
              <a:gd name="connsiteY25" fmla="*/ 6351296 h 6867525"/>
              <a:gd name="connsiteX26" fmla="*/ 990249 w 12199272"/>
              <a:gd name="connsiteY26" fmla="*/ 6349089 h 6867525"/>
              <a:gd name="connsiteX27" fmla="*/ 986527 w 12199272"/>
              <a:gd name="connsiteY27" fmla="*/ 6346257 h 6867525"/>
              <a:gd name="connsiteX28" fmla="*/ 983207 w 12199272"/>
              <a:gd name="connsiteY28" fmla="*/ 6342805 h 6867525"/>
              <a:gd name="connsiteX29" fmla="*/ 980349 w 12199272"/>
              <a:gd name="connsiteY29" fmla="*/ 6338733 h 6867525"/>
              <a:gd name="connsiteX30" fmla="*/ 978018 w 12199272"/>
              <a:gd name="connsiteY30" fmla="*/ 6334045 h 6867525"/>
              <a:gd name="connsiteX31" fmla="*/ 976275 w 12199272"/>
              <a:gd name="connsiteY31" fmla="*/ 6328744 h 6867525"/>
              <a:gd name="connsiteX32" fmla="*/ 975184 w 12199272"/>
              <a:gd name="connsiteY32" fmla="*/ 6322833 h 6867525"/>
              <a:gd name="connsiteX33" fmla="*/ 974806 w 12199272"/>
              <a:gd name="connsiteY33" fmla="*/ 6316313 h 6867525"/>
              <a:gd name="connsiteX34" fmla="*/ 975184 w 12199272"/>
              <a:gd name="connsiteY34" fmla="*/ 6309733 h 6867525"/>
              <a:gd name="connsiteX35" fmla="*/ 976275 w 12199272"/>
              <a:gd name="connsiteY35" fmla="*/ 6303798 h 6867525"/>
              <a:gd name="connsiteX36" fmla="*/ 978018 w 12199272"/>
              <a:gd name="connsiteY36" fmla="*/ 6298506 h 6867525"/>
              <a:gd name="connsiteX37" fmla="*/ 980349 w 12199272"/>
              <a:gd name="connsiteY37" fmla="*/ 6293851 h 6867525"/>
              <a:gd name="connsiteX38" fmla="*/ 983207 w 12199272"/>
              <a:gd name="connsiteY38" fmla="*/ 6289831 h 6867525"/>
              <a:gd name="connsiteX39" fmla="*/ 986527 w 12199272"/>
              <a:gd name="connsiteY39" fmla="*/ 6286440 h 6867525"/>
              <a:gd name="connsiteX40" fmla="*/ 990249 w 12199272"/>
              <a:gd name="connsiteY40" fmla="*/ 6283675 h 6867525"/>
              <a:gd name="connsiteX41" fmla="*/ 994309 w 12199272"/>
              <a:gd name="connsiteY41" fmla="*/ 6281532 h 6867525"/>
              <a:gd name="connsiteX42" fmla="*/ 998645 w 12199272"/>
              <a:gd name="connsiteY42" fmla="*/ 6280006 h 6867525"/>
              <a:gd name="connsiteX43" fmla="*/ 1003193 w 12199272"/>
              <a:gd name="connsiteY43" fmla="*/ 6279093 h 6867525"/>
              <a:gd name="connsiteX44" fmla="*/ 1007893 w 12199272"/>
              <a:gd name="connsiteY44" fmla="*/ 6278790 h 6867525"/>
              <a:gd name="connsiteX45" fmla="*/ 1349948 w 12199272"/>
              <a:gd name="connsiteY45" fmla="*/ 6278789 h 6867525"/>
              <a:gd name="connsiteX46" fmla="*/ 1354581 w 12199272"/>
              <a:gd name="connsiteY46" fmla="*/ 6279086 h 6867525"/>
              <a:gd name="connsiteX47" fmla="*/ 1359089 w 12199272"/>
              <a:gd name="connsiteY47" fmla="*/ 6279980 h 6867525"/>
              <a:gd name="connsiteX48" fmla="*/ 1363405 w 12199272"/>
              <a:gd name="connsiteY48" fmla="*/ 6281481 h 6867525"/>
              <a:gd name="connsiteX49" fmla="*/ 1367462 w 12199272"/>
              <a:gd name="connsiteY49" fmla="*/ 6283597 h 6867525"/>
              <a:gd name="connsiteX50" fmla="*/ 1371195 w 12199272"/>
              <a:gd name="connsiteY50" fmla="*/ 6286336 h 6867525"/>
              <a:gd name="connsiteX51" fmla="*/ 1374536 w 12199272"/>
              <a:gd name="connsiteY51" fmla="*/ 6289706 h 6867525"/>
              <a:gd name="connsiteX52" fmla="*/ 1377418 w 12199272"/>
              <a:gd name="connsiteY52" fmla="*/ 6293715 h 6867525"/>
              <a:gd name="connsiteX53" fmla="*/ 1379777 w 12199272"/>
              <a:gd name="connsiteY53" fmla="*/ 6298373 h 6867525"/>
              <a:gd name="connsiteX54" fmla="*/ 1381543 w 12199272"/>
              <a:gd name="connsiteY54" fmla="*/ 6303686 h 6867525"/>
              <a:gd name="connsiteX55" fmla="*/ 1382652 w 12199272"/>
              <a:gd name="connsiteY55" fmla="*/ 6309663 h 6867525"/>
              <a:gd name="connsiteX56" fmla="*/ 1383037 w 12199272"/>
              <a:gd name="connsiteY56" fmla="*/ 6316313 h 6867525"/>
              <a:gd name="connsiteX57" fmla="*/ 1382652 w 12199272"/>
              <a:gd name="connsiteY57" fmla="*/ 6322970 h 6867525"/>
              <a:gd name="connsiteX58" fmla="*/ 1381543 w 12199272"/>
              <a:gd name="connsiteY58" fmla="*/ 6328967 h 6867525"/>
              <a:gd name="connsiteX59" fmla="*/ 1379777 w 12199272"/>
              <a:gd name="connsiteY59" fmla="*/ 6334309 h 6867525"/>
              <a:gd name="connsiteX60" fmla="*/ 1377418 w 12199272"/>
              <a:gd name="connsiteY60" fmla="*/ 6339003 h 6867525"/>
              <a:gd name="connsiteX61" fmla="*/ 1374536 w 12199272"/>
              <a:gd name="connsiteY61" fmla="*/ 6343052 h 6867525"/>
              <a:gd name="connsiteX62" fmla="*/ 1371195 w 12199272"/>
              <a:gd name="connsiteY62" fmla="*/ 6346464 h 6867525"/>
              <a:gd name="connsiteX63" fmla="*/ 1367462 w 12199272"/>
              <a:gd name="connsiteY63" fmla="*/ 6349243 h 6867525"/>
              <a:gd name="connsiteX64" fmla="*/ 1363405 w 12199272"/>
              <a:gd name="connsiteY64" fmla="*/ 6351394 h 6867525"/>
              <a:gd name="connsiteX65" fmla="*/ 1359089 w 12199272"/>
              <a:gd name="connsiteY65" fmla="*/ 6352925 h 6867525"/>
              <a:gd name="connsiteX66" fmla="*/ 1354581 w 12199272"/>
              <a:gd name="connsiteY66" fmla="*/ 6353839 h 6867525"/>
              <a:gd name="connsiteX67" fmla="*/ 1349948 w 12199272"/>
              <a:gd name="connsiteY67" fmla="*/ 6354142 h 6867525"/>
              <a:gd name="connsiteX68" fmla="*/ 1345382 w 12199272"/>
              <a:gd name="connsiteY68" fmla="*/ 6353832 h 6867525"/>
              <a:gd name="connsiteX69" fmla="*/ 1340916 w 12199272"/>
              <a:gd name="connsiteY69" fmla="*/ 6352900 h 6867525"/>
              <a:gd name="connsiteX70" fmla="*/ 1336620 w 12199272"/>
              <a:gd name="connsiteY70" fmla="*/ 6351345 h 6867525"/>
              <a:gd name="connsiteX71" fmla="*/ 1332565 w 12199272"/>
              <a:gd name="connsiteY71" fmla="*/ 6349165 h 6867525"/>
              <a:gd name="connsiteX72" fmla="*/ 1328822 w 12199272"/>
              <a:gd name="connsiteY72" fmla="*/ 6346360 h 6867525"/>
              <a:gd name="connsiteX73" fmla="*/ 1325461 w 12199272"/>
              <a:gd name="connsiteY73" fmla="*/ 6342928 h 6867525"/>
              <a:gd name="connsiteX74" fmla="*/ 1322553 w 12199272"/>
              <a:gd name="connsiteY74" fmla="*/ 6338868 h 6867525"/>
              <a:gd name="connsiteX75" fmla="*/ 1320168 w 12199272"/>
              <a:gd name="connsiteY75" fmla="*/ 6334177 h 6867525"/>
              <a:gd name="connsiteX76" fmla="*/ 1318378 w 12199272"/>
              <a:gd name="connsiteY76" fmla="*/ 6328855 h 6867525"/>
              <a:gd name="connsiteX77" fmla="*/ 1317251 w 12199272"/>
              <a:gd name="connsiteY77" fmla="*/ 6322901 h 6867525"/>
              <a:gd name="connsiteX78" fmla="*/ 1316860 w 12199272"/>
              <a:gd name="connsiteY78" fmla="*/ 6316313 h 6867525"/>
              <a:gd name="connsiteX79" fmla="*/ 1317251 w 12199272"/>
              <a:gd name="connsiteY79" fmla="*/ 6309663 h 6867525"/>
              <a:gd name="connsiteX80" fmla="*/ 1318378 w 12199272"/>
              <a:gd name="connsiteY80" fmla="*/ 6303686 h 6867525"/>
              <a:gd name="connsiteX81" fmla="*/ 1320168 w 12199272"/>
              <a:gd name="connsiteY81" fmla="*/ 6298373 h 6867525"/>
              <a:gd name="connsiteX82" fmla="*/ 1322553 w 12199272"/>
              <a:gd name="connsiteY82" fmla="*/ 6293715 h 6867525"/>
              <a:gd name="connsiteX83" fmla="*/ 1325461 w 12199272"/>
              <a:gd name="connsiteY83" fmla="*/ 6289706 h 6867525"/>
              <a:gd name="connsiteX84" fmla="*/ 1328822 w 12199272"/>
              <a:gd name="connsiteY84" fmla="*/ 6286336 h 6867525"/>
              <a:gd name="connsiteX85" fmla="*/ 1332565 w 12199272"/>
              <a:gd name="connsiteY85" fmla="*/ 6283597 h 6867525"/>
              <a:gd name="connsiteX86" fmla="*/ 1336620 w 12199272"/>
              <a:gd name="connsiteY86" fmla="*/ 6281481 h 6867525"/>
              <a:gd name="connsiteX87" fmla="*/ 1340916 w 12199272"/>
              <a:gd name="connsiteY87" fmla="*/ 6279980 h 6867525"/>
              <a:gd name="connsiteX88" fmla="*/ 1345382 w 12199272"/>
              <a:gd name="connsiteY88" fmla="*/ 6279086 h 6867525"/>
              <a:gd name="connsiteX89" fmla="*/ 1349948 w 12199272"/>
              <a:gd name="connsiteY89" fmla="*/ 6278789 h 6867525"/>
              <a:gd name="connsiteX90" fmla="*/ 1106434 w 12199272"/>
              <a:gd name="connsiteY90" fmla="*/ 6240657 h 6867525"/>
              <a:gd name="connsiteX91" fmla="*/ 1104886 w 12199272"/>
              <a:gd name="connsiteY91" fmla="*/ 6240980 h 6867525"/>
              <a:gd name="connsiteX92" fmla="*/ 1103622 w 12199272"/>
              <a:gd name="connsiteY92" fmla="*/ 6241860 h 6867525"/>
              <a:gd name="connsiteX93" fmla="*/ 1102769 w 12199272"/>
              <a:gd name="connsiteY93" fmla="*/ 6243166 h 6867525"/>
              <a:gd name="connsiteX94" fmla="*/ 1102457 w 12199272"/>
              <a:gd name="connsiteY94" fmla="*/ 6244764 h 6867525"/>
              <a:gd name="connsiteX95" fmla="*/ 1102457 w 12199272"/>
              <a:gd name="connsiteY95" fmla="*/ 6388168 h 6867525"/>
              <a:gd name="connsiteX96" fmla="*/ 1102769 w 12199272"/>
              <a:gd name="connsiteY96" fmla="*/ 6389767 h 6867525"/>
              <a:gd name="connsiteX97" fmla="*/ 1103622 w 12199272"/>
              <a:gd name="connsiteY97" fmla="*/ 6391072 h 6867525"/>
              <a:gd name="connsiteX98" fmla="*/ 1104886 w 12199272"/>
              <a:gd name="connsiteY98" fmla="*/ 6391952 h 6867525"/>
              <a:gd name="connsiteX99" fmla="*/ 1106434 w 12199272"/>
              <a:gd name="connsiteY99" fmla="*/ 6392275 h 6867525"/>
              <a:gd name="connsiteX100" fmla="*/ 1143384 w 12199272"/>
              <a:gd name="connsiteY100" fmla="*/ 6392275 h 6867525"/>
              <a:gd name="connsiteX101" fmla="*/ 1144932 w 12199272"/>
              <a:gd name="connsiteY101" fmla="*/ 6391952 h 6867525"/>
              <a:gd name="connsiteX102" fmla="*/ 1146197 w 12199272"/>
              <a:gd name="connsiteY102" fmla="*/ 6391072 h 6867525"/>
              <a:gd name="connsiteX103" fmla="*/ 1147050 w 12199272"/>
              <a:gd name="connsiteY103" fmla="*/ 6389767 h 6867525"/>
              <a:gd name="connsiteX104" fmla="*/ 1147362 w 12199272"/>
              <a:gd name="connsiteY104" fmla="*/ 6388168 h 6867525"/>
              <a:gd name="connsiteX105" fmla="*/ 1147362 w 12199272"/>
              <a:gd name="connsiteY105" fmla="*/ 6244764 h 6867525"/>
              <a:gd name="connsiteX106" fmla="*/ 1147050 w 12199272"/>
              <a:gd name="connsiteY106" fmla="*/ 6243166 h 6867525"/>
              <a:gd name="connsiteX107" fmla="*/ 1146197 w 12199272"/>
              <a:gd name="connsiteY107" fmla="*/ 6241860 h 6867525"/>
              <a:gd name="connsiteX108" fmla="*/ 1144932 w 12199272"/>
              <a:gd name="connsiteY108" fmla="*/ 6240980 h 6867525"/>
              <a:gd name="connsiteX109" fmla="*/ 1143384 w 12199272"/>
              <a:gd name="connsiteY109" fmla="*/ 6240657 h 6867525"/>
              <a:gd name="connsiteX110" fmla="*/ 1106434 w 12199272"/>
              <a:gd name="connsiteY110" fmla="*/ 6240657 h 6867525"/>
              <a:gd name="connsiteX111" fmla="*/ 1254739 w 12199272"/>
              <a:gd name="connsiteY111" fmla="*/ 6239132 h 6867525"/>
              <a:gd name="connsiteX112" fmla="*/ 1250024 w 12199272"/>
              <a:gd name="connsiteY112" fmla="*/ 6239375 h 6867525"/>
              <a:gd name="connsiteX113" fmla="*/ 1244879 w 12199272"/>
              <a:gd name="connsiteY113" fmla="*/ 6240162 h 6867525"/>
              <a:gd name="connsiteX114" fmla="*/ 1239513 w 12199272"/>
              <a:gd name="connsiteY114" fmla="*/ 6241577 h 6867525"/>
              <a:gd name="connsiteX115" fmla="*/ 1234133 w 12199272"/>
              <a:gd name="connsiteY115" fmla="*/ 6243708 h 6867525"/>
              <a:gd name="connsiteX116" fmla="*/ 1228947 w 12199272"/>
              <a:gd name="connsiteY116" fmla="*/ 6246639 h 6867525"/>
              <a:gd name="connsiteX117" fmla="*/ 1224162 w 12199272"/>
              <a:gd name="connsiteY117" fmla="*/ 6250458 h 6867525"/>
              <a:gd name="connsiteX118" fmla="*/ 1219987 w 12199272"/>
              <a:gd name="connsiteY118" fmla="*/ 6255248 h 6867525"/>
              <a:gd name="connsiteX119" fmla="*/ 1216628 w 12199272"/>
              <a:gd name="connsiteY119" fmla="*/ 6261097 h 6867525"/>
              <a:gd name="connsiteX120" fmla="*/ 1216628 w 12199272"/>
              <a:gd name="connsiteY120" fmla="*/ 6244763 h 6867525"/>
              <a:gd name="connsiteX121" fmla="*/ 1216316 w 12199272"/>
              <a:gd name="connsiteY121" fmla="*/ 6243165 h 6867525"/>
              <a:gd name="connsiteX122" fmla="*/ 1215463 w 12199272"/>
              <a:gd name="connsiteY122" fmla="*/ 6241860 h 6867525"/>
              <a:gd name="connsiteX123" fmla="*/ 1214199 w 12199272"/>
              <a:gd name="connsiteY123" fmla="*/ 6240979 h 6867525"/>
              <a:gd name="connsiteX124" fmla="*/ 1212650 w 12199272"/>
              <a:gd name="connsiteY124" fmla="*/ 6240657 h 6867525"/>
              <a:gd name="connsiteX125" fmla="*/ 1177178 w 12199272"/>
              <a:gd name="connsiteY125" fmla="*/ 6240657 h 6867525"/>
              <a:gd name="connsiteX126" fmla="*/ 1175630 w 12199272"/>
              <a:gd name="connsiteY126" fmla="*/ 6240979 h 6867525"/>
              <a:gd name="connsiteX127" fmla="*/ 1174366 w 12199272"/>
              <a:gd name="connsiteY127" fmla="*/ 6241860 h 6867525"/>
              <a:gd name="connsiteX128" fmla="*/ 1173513 w 12199272"/>
              <a:gd name="connsiteY128" fmla="*/ 6243165 h 6867525"/>
              <a:gd name="connsiteX129" fmla="*/ 1173201 w 12199272"/>
              <a:gd name="connsiteY129" fmla="*/ 6244763 h 6867525"/>
              <a:gd name="connsiteX130" fmla="*/ 1173201 w 12199272"/>
              <a:gd name="connsiteY130" fmla="*/ 6388167 h 6867525"/>
              <a:gd name="connsiteX131" fmla="*/ 1173513 w 12199272"/>
              <a:gd name="connsiteY131" fmla="*/ 6389767 h 6867525"/>
              <a:gd name="connsiteX132" fmla="*/ 1174366 w 12199272"/>
              <a:gd name="connsiteY132" fmla="*/ 6391073 h 6867525"/>
              <a:gd name="connsiteX133" fmla="*/ 1175630 w 12199272"/>
              <a:gd name="connsiteY133" fmla="*/ 6391953 h 6867525"/>
              <a:gd name="connsiteX134" fmla="*/ 1177178 w 12199272"/>
              <a:gd name="connsiteY134" fmla="*/ 6392276 h 6867525"/>
              <a:gd name="connsiteX135" fmla="*/ 1214127 w 12199272"/>
              <a:gd name="connsiteY135" fmla="*/ 6392276 h 6867525"/>
              <a:gd name="connsiteX136" fmla="*/ 1215676 w 12199272"/>
              <a:gd name="connsiteY136" fmla="*/ 6391953 h 6867525"/>
              <a:gd name="connsiteX137" fmla="*/ 1216940 w 12199272"/>
              <a:gd name="connsiteY137" fmla="*/ 6391073 h 6867525"/>
              <a:gd name="connsiteX138" fmla="*/ 1217792 w 12199272"/>
              <a:gd name="connsiteY138" fmla="*/ 6389767 h 6867525"/>
              <a:gd name="connsiteX139" fmla="*/ 1218105 w 12199272"/>
              <a:gd name="connsiteY139" fmla="*/ 6388167 h 6867525"/>
              <a:gd name="connsiteX140" fmla="*/ 1218105 w 12199272"/>
              <a:gd name="connsiteY140" fmla="*/ 6326074 h 6867525"/>
              <a:gd name="connsiteX141" fmla="*/ 1218497 w 12199272"/>
              <a:gd name="connsiteY141" fmla="*/ 6318306 h 6867525"/>
              <a:gd name="connsiteX142" fmla="*/ 1219630 w 12199272"/>
              <a:gd name="connsiteY142" fmla="*/ 6311451 h 6867525"/>
              <a:gd name="connsiteX143" fmla="*/ 1221437 w 12199272"/>
              <a:gd name="connsiteY143" fmla="*/ 6305471 h 6867525"/>
              <a:gd name="connsiteX144" fmla="*/ 1223855 w 12199272"/>
              <a:gd name="connsiteY144" fmla="*/ 6300332 h 6867525"/>
              <a:gd name="connsiteX145" fmla="*/ 1226817 w 12199272"/>
              <a:gd name="connsiteY145" fmla="*/ 6295995 h 6867525"/>
              <a:gd name="connsiteX146" fmla="*/ 1230259 w 12199272"/>
              <a:gd name="connsiteY146" fmla="*/ 6292426 h 6867525"/>
              <a:gd name="connsiteX147" fmla="*/ 1234115 w 12199272"/>
              <a:gd name="connsiteY147" fmla="*/ 6289587 h 6867525"/>
              <a:gd name="connsiteX148" fmla="*/ 1238320 w 12199272"/>
              <a:gd name="connsiteY148" fmla="*/ 6287442 h 6867525"/>
              <a:gd name="connsiteX149" fmla="*/ 1242809 w 12199272"/>
              <a:gd name="connsiteY149" fmla="*/ 6285955 h 6867525"/>
              <a:gd name="connsiteX150" fmla="*/ 1247516 w 12199272"/>
              <a:gd name="connsiteY150" fmla="*/ 6285090 h 6867525"/>
              <a:gd name="connsiteX151" fmla="*/ 1252376 w 12199272"/>
              <a:gd name="connsiteY151" fmla="*/ 6284809 h 6867525"/>
              <a:gd name="connsiteX152" fmla="*/ 1254599 w 12199272"/>
              <a:gd name="connsiteY152" fmla="*/ 6284837 h 6867525"/>
              <a:gd name="connsiteX153" fmla="*/ 1256730 w 12199272"/>
              <a:gd name="connsiteY153" fmla="*/ 6284927 h 6867525"/>
              <a:gd name="connsiteX154" fmla="*/ 1258821 w 12199272"/>
              <a:gd name="connsiteY154" fmla="*/ 6285090 h 6867525"/>
              <a:gd name="connsiteX155" fmla="*/ 1260894 w 12199272"/>
              <a:gd name="connsiteY155" fmla="*/ 6285334 h 6867525"/>
              <a:gd name="connsiteX156" fmla="*/ 1262471 w 12199272"/>
              <a:gd name="connsiteY156" fmla="*/ 6285238 h 6867525"/>
              <a:gd name="connsiteX157" fmla="*/ 1263347 w 12199272"/>
              <a:gd name="connsiteY157" fmla="*/ 6284809 h 6867525"/>
              <a:gd name="connsiteX158" fmla="*/ 1263848 w 12199272"/>
              <a:gd name="connsiteY158" fmla="*/ 6284564 h 6867525"/>
              <a:gd name="connsiteX159" fmla="*/ 1264877 w 12199272"/>
              <a:gd name="connsiteY159" fmla="*/ 6283414 h 6867525"/>
              <a:gd name="connsiteX160" fmla="*/ 1265415 w 12199272"/>
              <a:gd name="connsiteY160" fmla="*/ 6281888 h 6867525"/>
              <a:gd name="connsiteX161" fmla="*/ 1268444 w 12199272"/>
              <a:gd name="connsiteY161" fmla="*/ 6261097 h 6867525"/>
              <a:gd name="connsiteX162" fmla="*/ 1270750 w 12199272"/>
              <a:gd name="connsiteY162" fmla="*/ 6245263 h 6867525"/>
              <a:gd name="connsiteX163" fmla="*/ 1270687 w 12199272"/>
              <a:gd name="connsiteY163" fmla="*/ 6243692 h 6867525"/>
              <a:gd name="connsiteX164" fmla="*/ 1264312 w 12199272"/>
              <a:gd name="connsiteY164" fmla="*/ 6240006 h 6867525"/>
              <a:gd name="connsiteX165" fmla="*/ 1257574 w 12199272"/>
              <a:gd name="connsiteY165" fmla="*/ 6239237 h 6867525"/>
              <a:gd name="connsiteX166" fmla="*/ 1254739 w 12199272"/>
              <a:gd name="connsiteY166" fmla="*/ 6239132 h 6867525"/>
              <a:gd name="connsiteX167" fmla="*/ 1017052 w 12199272"/>
              <a:gd name="connsiteY167" fmla="*/ 6236996 h 6867525"/>
              <a:gd name="connsiteX168" fmla="*/ 1010253 w 12199272"/>
              <a:gd name="connsiteY168" fmla="*/ 6237334 h 6867525"/>
              <a:gd name="connsiteX169" fmla="*/ 1003864 w 12199272"/>
              <a:gd name="connsiteY169" fmla="*/ 6238297 h 6867525"/>
              <a:gd name="connsiteX170" fmla="*/ 997926 w 12199272"/>
              <a:gd name="connsiteY170" fmla="*/ 6239809 h 6867525"/>
              <a:gd name="connsiteX171" fmla="*/ 992476 w 12199272"/>
              <a:gd name="connsiteY171" fmla="*/ 6241797 h 6867525"/>
              <a:gd name="connsiteX172" fmla="*/ 987553 w 12199272"/>
              <a:gd name="connsiteY172" fmla="*/ 6244183 h 6867525"/>
              <a:gd name="connsiteX173" fmla="*/ 983198 w 12199272"/>
              <a:gd name="connsiteY173" fmla="*/ 6246894 h 6867525"/>
              <a:gd name="connsiteX174" fmla="*/ 979447 w 12199272"/>
              <a:gd name="connsiteY174" fmla="*/ 6249853 h 6867525"/>
              <a:gd name="connsiteX175" fmla="*/ 973919 w 12199272"/>
              <a:gd name="connsiteY175" fmla="*/ 6256215 h 6867525"/>
              <a:gd name="connsiteX176" fmla="*/ 973919 w 12199272"/>
              <a:gd name="connsiteY176" fmla="*/ 6244763 h 6867525"/>
              <a:gd name="connsiteX177" fmla="*/ 973606 w 12199272"/>
              <a:gd name="connsiteY177" fmla="*/ 6243165 h 6867525"/>
              <a:gd name="connsiteX178" fmla="*/ 972754 w 12199272"/>
              <a:gd name="connsiteY178" fmla="*/ 6241860 h 6867525"/>
              <a:gd name="connsiteX179" fmla="*/ 971489 w 12199272"/>
              <a:gd name="connsiteY179" fmla="*/ 6240979 h 6867525"/>
              <a:gd name="connsiteX180" fmla="*/ 969940 w 12199272"/>
              <a:gd name="connsiteY180" fmla="*/ 6240657 h 6867525"/>
              <a:gd name="connsiteX181" fmla="*/ 934469 w 12199272"/>
              <a:gd name="connsiteY181" fmla="*/ 6240657 h 6867525"/>
              <a:gd name="connsiteX182" fmla="*/ 932920 w 12199272"/>
              <a:gd name="connsiteY182" fmla="*/ 6240979 h 6867525"/>
              <a:gd name="connsiteX183" fmla="*/ 931655 w 12199272"/>
              <a:gd name="connsiteY183" fmla="*/ 6241860 h 6867525"/>
              <a:gd name="connsiteX184" fmla="*/ 930803 w 12199272"/>
              <a:gd name="connsiteY184" fmla="*/ 6243165 h 6867525"/>
              <a:gd name="connsiteX185" fmla="*/ 930490 w 12199272"/>
              <a:gd name="connsiteY185" fmla="*/ 6244763 h 6867525"/>
              <a:gd name="connsiteX186" fmla="*/ 930490 w 12199272"/>
              <a:gd name="connsiteY186" fmla="*/ 6446130 h 6867525"/>
              <a:gd name="connsiteX187" fmla="*/ 930803 w 12199272"/>
              <a:gd name="connsiteY187" fmla="*/ 6447729 h 6867525"/>
              <a:gd name="connsiteX188" fmla="*/ 931655 w 12199272"/>
              <a:gd name="connsiteY188" fmla="*/ 6449034 h 6867525"/>
              <a:gd name="connsiteX189" fmla="*/ 932920 w 12199272"/>
              <a:gd name="connsiteY189" fmla="*/ 6449914 h 6867525"/>
              <a:gd name="connsiteX190" fmla="*/ 934469 w 12199272"/>
              <a:gd name="connsiteY190" fmla="*/ 6450237 h 6867525"/>
              <a:gd name="connsiteX191" fmla="*/ 971418 w 12199272"/>
              <a:gd name="connsiteY191" fmla="*/ 6450237 h 6867525"/>
              <a:gd name="connsiteX192" fmla="*/ 972966 w 12199272"/>
              <a:gd name="connsiteY192" fmla="*/ 6449914 h 6867525"/>
              <a:gd name="connsiteX193" fmla="*/ 974230 w 12199272"/>
              <a:gd name="connsiteY193" fmla="*/ 6449034 h 6867525"/>
              <a:gd name="connsiteX194" fmla="*/ 975083 w 12199272"/>
              <a:gd name="connsiteY194" fmla="*/ 6447729 h 6867525"/>
              <a:gd name="connsiteX195" fmla="*/ 975395 w 12199272"/>
              <a:gd name="connsiteY195" fmla="*/ 6446130 h 6867525"/>
              <a:gd name="connsiteX196" fmla="*/ 975395 w 12199272"/>
              <a:gd name="connsiteY196" fmla="*/ 6380378 h 6867525"/>
              <a:gd name="connsiteX197" fmla="*/ 978285 w 12199272"/>
              <a:gd name="connsiteY197" fmla="*/ 6383485 h 6867525"/>
              <a:gd name="connsiteX198" fmla="*/ 981835 w 12199272"/>
              <a:gd name="connsiteY198" fmla="*/ 6386364 h 6867525"/>
              <a:gd name="connsiteX199" fmla="*/ 986016 w 12199272"/>
              <a:gd name="connsiteY199" fmla="*/ 6388958 h 6867525"/>
              <a:gd name="connsiteX200" fmla="*/ 990795 w 12199272"/>
              <a:gd name="connsiteY200" fmla="*/ 6391208 h 6867525"/>
              <a:gd name="connsiteX201" fmla="*/ 996142 w 12199272"/>
              <a:gd name="connsiteY201" fmla="*/ 6393057 h 6867525"/>
              <a:gd name="connsiteX202" fmla="*/ 1002026 w 12199272"/>
              <a:gd name="connsiteY202" fmla="*/ 6394450 h 6867525"/>
              <a:gd name="connsiteX203" fmla="*/ 1008415 w 12199272"/>
              <a:gd name="connsiteY203" fmla="*/ 6395327 h 6867525"/>
              <a:gd name="connsiteX204" fmla="*/ 1015278 w 12199272"/>
              <a:gd name="connsiteY204" fmla="*/ 6395632 h 6867525"/>
              <a:gd name="connsiteX205" fmla="*/ 1020801 w 12199272"/>
              <a:gd name="connsiteY205" fmla="*/ 6395428 h 6867525"/>
              <a:gd name="connsiteX206" fmla="*/ 1026165 w 12199272"/>
              <a:gd name="connsiteY206" fmla="*/ 6394823 h 6867525"/>
              <a:gd name="connsiteX207" fmla="*/ 1031359 w 12199272"/>
              <a:gd name="connsiteY207" fmla="*/ 6393828 h 6867525"/>
              <a:gd name="connsiteX208" fmla="*/ 1036375 w 12199272"/>
              <a:gd name="connsiteY208" fmla="*/ 6392455 h 6867525"/>
              <a:gd name="connsiteX209" fmla="*/ 1041203 w 12199272"/>
              <a:gd name="connsiteY209" fmla="*/ 6390715 h 6867525"/>
              <a:gd name="connsiteX210" fmla="*/ 1045833 w 12199272"/>
              <a:gd name="connsiteY210" fmla="*/ 6388620 h 6867525"/>
              <a:gd name="connsiteX211" fmla="*/ 1050256 w 12199272"/>
              <a:gd name="connsiteY211" fmla="*/ 6386181 h 6867525"/>
              <a:gd name="connsiteX212" fmla="*/ 1054462 w 12199272"/>
              <a:gd name="connsiteY212" fmla="*/ 6383409 h 6867525"/>
              <a:gd name="connsiteX213" fmla="*/ 1058363 w 12199272"/>
              <a:gd name="connsiteY213" fmla="*/ 6380378 h 6867525"/>
              <a:gd name="connsiteX214" fmla="*/ 1062187 w 12199272"/>
              <a:gd name="connsiteY214" fmla="*/ 6376912 h 6867525"/>
              <a:gd name="connsiteX215" fmla="*/ 1065687 w 12199272"/>
              <a:gd name="connsiteY215" fmla="*/ 6373209 h 6867525"/>
              <a:gd name="connsiteX216" fmla="*/ 1068932 w 12199272"/>
              <a:gd name="connsiteY216" fmla="*/ 6369219 h 6867525"/>
              <a:gd name="connsiteX217" fmla="*/ 1071913 w 12199272"/>
              <a:gd name="connsiteY217" fmla="*/ 6364953 h 6867525"/>
              <a:gd name="connsiteX218" fmla="*/ 1074621 w 12199272"/>
              <a:gd name="connsiteY218" fmla="*/ 6360423 h 6867525"/>
              <a:gd name="connsiteX219" fmla="*/ 1077046 w 12199272"/>
              <a:gd name="connsiteY219" fmla="*/ 6355639 h 6867525"/>
              <a:gd name="connsiteX220" fmla="*/ 1077680 w 12199272"/>
              <a:gd name="connsiteY220" fmla="*/ 6354143 h 6867525"/>
              <a:gd name="connsiteX221" fmla="*/ 1081008 w 12199272"/>
              <a:gd name="connsiteY221" fmla="*/ 6345356 h 6867525"/>
              <a:gd name="connsiteX222" fmla="*/ 1082527 w 12199272"/>
              <a:gd name="connsiteY222" fmla="*/ 6339880 h 6867525"/>
              <a:gd name="connsiteX223" fmla="*/ 1083727 w 12199272"/>
              <a:gd name="connsiteY223" fmla="*/ 6334177 h 6867525"/>
              <a:gd name="connsiteX224" fmla="*/ 1084591 w 12199272"/>
              <a:gd name="connsiteY224" fmla="*/ 6328315 h 6867525"/>
              <a:gd name="connsiteX225" fmla="*/ 1085119 w 12199272"/>
              <a:gd name="connsiteY225" fmla="*/ 6322249 h 6867525"/>
              <a:gd name="connsiteX226" fmla="*/ 1085297 w 12199272"/>
              <a:gd name="connsiteY226" fmla="*/ 6316009 h 6867525"/>
              <a:gd name="connsiteX227" fmla="*/ 1085138 w 12199272"/>
              <a:gd name="connsiteY227" fmla="*/ 6309886 h 6867525"/>
              <a:gd name="connsiteX228" fmla="*/ 1084666 w 12199272"/>
              <a:gd name="connsiteY228" fmla="*/ 6303923 h 6867525"/>
              <a:gd name="connsiteX229" fmla="*/ 1083885 w 12199272"/>
              <a:gd name="connsiteY229" fmla="*/ 6298132 h 6867525"/>
              <a:gd name="connsiteX230" fmla="*/ 1082801 w 12199272"/>
              <a:gd name="connsiteY230" fmla="*/ 6292525 h 6867525"/>
              <a:gd name="connsiteX231" fmla="*/ 1081418 w 12199272"/>
              <a:gd name="connsiteY231" fmla="*/ 6287115 h 6867525"/>
              <a:gd name="connsiteX232" fmla="*/ 1079741 w 12199272"/>
              <a:gd name="connsiteY232" fmla="*/ 6281913 h 6867525"/>
              <a:gd name="connsiteX233" fmla="*/ 1078509 w 12199272"/>
              <a:gd name="connsiteY233" fmla="*/ 6278790 h 6867525"/>
              <a:gd name="connsiteX234" fmla="*/ 1077776 w 12199272"/>
              <a:gd name="connsiteY234" fmla="*/ 6276931 h 6867525"/>
              <a:gd name="connsiteX235" fmla="*/ 1075527 w 12199272"/>
              <a:gd name="connsiteY235" fmla="*/ 6272183 h 6867525"/>
              <a:gd name="connsiteX236" fmla="*/ 1072999 w 12199272"/>
              <a:gd name="connsiteY236" fmla="*/ 6267679 h 6867525"/>
              <a:gd name="connsiteX237" fmla="*/ 1070198 w 12199272"/>
              <a:gd name="connsiteY237" fmla="*/ 6263433 h 6867525"/>
              <a:gd name="connsiteX238" fmla="*/ 1067128 w 12199272"/>
              <a:gd name="connsiteY238" fmla="*/ 6259457 h 6867525"/>
              <a:gd name="connsiteX239" fmla="*/ 1064203 w 12199272"/>
              <a:gd name="connsiteY239" fmla="*/ 6256215 h 6867525"/>
              <a:gd name="connsiteX240" fmla="*/ 1060201 w 12199272"/>
              <a:gd name="connsiteY240" fmla="*/ 6252361 h 6867525"/>
              <a:gd name="connsiteX241" fmla="*/ 1056355 w 12199272"/>
              <a:gd name="connsiteY241" fmla="*/ 6249267 h 6867525"/>
              <a:gd name="connsiteX242" fmla="*/ 1052260 w 12199272"/>
              <a:gd name="connsiteY242" fmla="*/ 6246491 h 6867525"/>
              <a:gd name="connsiteX243" fmla="*/ 1047922 w 12199272"/>
              <a:gd name="connsiteY243" fmla="*/ 6244045 h 6867525"/>
              <a:gd name="connsiteX244" fmla="*/ 1043344 w 12199272"/>
              <a:gd name="connsiteY244" fmla="*/ 6241942 h 6867525"/>
              <a:gd name="connsiteX245" fmla="*/ 1038533 w 12199272"/>
              <a:gd name="connsiteY245" fmla="*/ 6240194 h 6867525"/>
              <a:gd name="connsiteX246" fmla="*/ 1033494 w 12199272"/>
              <a:gd name="connsiteY246" fmla="*/ 6238813 h 6867525"/>
              <a:gd name="connsiteX247" fmla="*/ 1028230 w 12199272"/>
              <a:gd name="connsiteY247" fmla="*/ 6237812 h 6867525"/>
              <a:gd name="connsiteX248" fmla="*/ 1022748 w 12199272"/>
              <a:gd name="connsiteY248" fmla="*/ 6237202 h 6867525"/>
              <a:gd name="connsiteX249" fmla="*/ 1017052 w 12199272"/>
              <a:gd name="connsiteY249" fmla="*/ 6236996 h 6867525"/>
              <a:gd name="connsiteX250" fmla="*/ 1518121 w 12199272"/>
              <a:gd name="connsiteY250" fmla="*/ 6236081 h 6867525"/>
              <a:gd name="connsiteX251" fmla="*/ 1512547 w 12199272"/>
              <a:gd name="connsiteY251" fmla="*/ 6236268 h 6867525"/>
              <a:gd name="connsiteX252" fmla="*/ 1507086 w 12199272"/>
              <a:gd name="connsiteY252" fmla="*/ 6236823 h 6867525"/>
              <a:gd name="connsiteX253" fmla="*/ 1501751 w 12199272"/>
              <a:gd name="connsiteY253" fmla="*/ 6237736 h 6867525"/>
              <a:gd name="connsiteX254" fmla="*/ 1496554 w 12199272"/>
              <a:gd name="connsiteY254" fmla="*/ 6238997 h 6867525"/>
              <a:gd name="connsiteX255" fmla="*/ 1491508 w 12199272"/>
              <a:gd name="connsiteY255" fmla="*/ 6240598 h 6867525"/>
              <a:gd name="connsiteX256" fmla="*/ 1486625 w 12199272"/>
              <a:gd name="connsiteY256" fmla="*/ 6242529 h 6867525"/>
              <a:gd name="connsiteX257" fmla="*/ 1481918 w 12199272"/>
              <a:gd name="connsiteY257" fmla="*/ 6244779 h 6867525"/>
              <a:gd name="connsiteX258" fmla="*/ 1477398 w 12199272"/>
              <a:gd name="connsiteY258" fmla="*/ 6247341 h 6867525"/>
              <a:gd name="connsiteX259" fmla="*/ 1473080 w 12199272"/>
              <a:gd name="connsiteY259" fmla="*/ 6250204 h 6867525"/>
              <a:gd name="connsiteX260" fmla="*/ 1468975 w 12199272"/>
              <a:gd name="connsiteY260" fmla="*/ 6253359 h 6867525"/>
              <a:gd name="connsiteX261" fmla="*/ 1465095 w 12199272"/>
              <a:gd name="connsiteY261" fmla="*/ 6256796 h 6867525"/>
              <a:gd name="connsiteX262" fmla="*/ 1461455 w 12199272"/>
              <a:gd name="connsiteY262" fmla="*/ 6260506 h 6867525"/>
              <a:gd name="connsiteX263" fmla="*/ 1458064 w 12199272"/>
              <a:gd name="connsiteY263" fmla="*/ 6264480 h 6867525"/>
              <a:gd name="connsiteX264" fmla="*/ 1454938 w 12199272"/>
              <a:gd name="connsiteY264" fmla="*/ 6268707 h 6867525"/>
              <a:gd name="connsiteX265" fmla="*/ 1452087 w 12199272"/>
              <a:gd name="connsiteY265" fmla="*/ 6273179 h 6867525"/>
              <a:gd name="connsiteX266" fmla="*/ 1449525 w 12199272"/>
              <a:gd name="connsiteY266" fmla="*/ 6277886 h 6867525"/>
              <a:gd name="connsiteX267" fmla="*/ 1447263 w 12199272"/>
              <a:gd name="connsiteY267" fmla="*/ 6282819 h 6867525"/>
              <a:gd name="connsiteX268" fmla="*/ 1445310 w 12199272"/>
              <a:gd name="connsiteY268" fmla="*/ 6287986 h 6867525"/>
              <a:gd name="connsiteX269" fmla="*/ 1443694 w 12199272"/>
              <a:gd name="connsiteY269" fmla="*/ 6293322 h 6867525"/>
              <a:gd name="connsiteX270" fmla="*/ 1442411 w 12199272"/>
              <a:gd name="connsiteY270" fmla="*/ 6298874 h 6867525"/>
              <a:gd name="connsiteX271" fmla="*/ 1441479 w 12199272"/>
              <a:gd name="connsiteY271" fmla="*/ 6304614 h 6867525"/>
              <a:gd name="connsiteX272" fmla="*/ 1440910 w 12199272"/>
              <a:gd name="connsiteY272" fmla="*/ 6310532 h 6867525"/>
              <a:gd name="connsiteX273" fmla="*/ 1440718 w 12199272"/>
              <a:gd name="connsiteY273" fmla="*/ 6316619 h 6867525"/>
              <a:gd name="connsiteX274" fmla="*/ 1440899 w 12199272"/>
              <a:gd name="connsiteY274" fmla="*/ 6322418 h 6867525"/>
              <a:gd name="connsiteX275" fmla="*/ 1441435 w 12199272"/>
              <a:gd name="connsiteY275" fmla="*/ 6328066 h 6867525"/>
              <a:gd name="connsiteX276" fmla="*/ 1442314 w 12199272"/>
              <a:gd name="connsiteY276" fmla="*/ 6333554 h 6867525"/>
              <a:gd name="connsiteX277" fmla="*/ 1443524 w 12199272"/>
              <a:gd name="connsiteY277" fmla="*/ 6338874 h 6867525"/>
              <a:gd name="connsiteX278" fmla="*/ 1445055 w 12199272"/>
              <a:gd name="connsiteY278" fmla="*/ 6344017 h 6867525"/>
              <a:gd name="connsiteX279" fmla="*/ 1446894 w 12199272"/>
              <a:gd name="connsiteY279" fmla="*/ 6348975 h 6867525"/>
              <a:gd name="connsiteX280" fmla="*/ 1449030 w 12199272"/>
              <a:gd name="connsiteY280" fmla="*/ 6353738 h 6867525"/>
              <a:gd name="connsiteX281" fmla="*/ 1451452 w 12199272"/>
              <a:gd name="connsiteY281" fmla="*/ 6358299 h 6867525"/>
              <a:gd name="connsiteX282" fmla="*/ 1454147 w 12199272"/>
              <a:gd name="connsiteY282" fmla="*/ 6362650 h 6867525"/>
              <a:gd name="connsiteX283" fmla="*/ 1457105 w 12199272"/>
              <a:gd name="connsiteY283" fmla="*/ 6366781 h 6867525"/>
              <a:gd name="connsiteX284" fmla="*/ 1460313 w 12199272"/>
              <a:gd name="connsiteY284" fmla="*/ 6370685 h 6867525"/>
              <a:gd name="connsiteX285" fmla="*/ 1463761 w 12199272"/>
              <a:gd name="connsiteY285" fmla="*/ 6374352 h 6867525"/>
              <a:gd name="connsiteX286" fmla="*/ 1467436 w 12199272"/>
              <a:gd name="connsiteY286" fmla="*/ 6377775 h 6867525"/>
              <a:gd name="connsiteX287" fmla="*/ 1471328 w 12199272"/>
              <a:gd name="connsiteY287" fmla="*/ 6380944 h 6867525"/>
              <a:gd name="connsiteX288" fmla="*/ 1475425 w 12199272"/>
              <a:gd name="connsiteY288" fmla="*/ 6383852 h 6867525"/>
              <a:gd name="connsiteX289" fmla="*/ 1479714 w 12199272"/>
              <a:gd name="connsiteY289" fmla="*/ 6386489 h 6867525"/>
              <a:gd name="connsiteX290" fmla="*/ 1484185 w 12199272"/>
              <a:gd name="connsiteY290" fmla="*/ 6388849 h 6867525"/>
              <a:gd name="connsiteX291" fmla="*/ 1488826 w 12199272"/>
              <a:gd name="connsiteY291" fmla="*/ 6390921 h 6867525"/>
              <a:gd name="connsiteX292" fmla="*/ 1493626 w 12199272"/>
              <a:gd name="connsiteY292" fmla="*/ 6392697 h 6867525"/>
              <a:gd name="connsiteX293" fmla="*/ 1498572 w 12199272"/>
              <a:gd name="connsiteY293" fmla="*/ 6394170 h 6867525"/>
              <a:gd name="connsiteX294" fmla="*/ 1503654 w 12199272"/>
              <a:gd name="connsiteY294" fmla="*/ 6395330 h 6867525"/>
              <a:gd name="connsiteX295" fmla="*/ 1508860 w 12199272"/>
              <a:gd name="connsiteY295" fmla="*/ 6396169 h 6867525"/>
              <a:gd name="connsiteX296" fmla="*/ 1514178 w 12199272"/>
              <a:gd name="connsiteY296" fmla="*/ 6396678 h 6867525"/>
              <a:gd name="connsiteX297" fmla="*/ 1519597 w 12199272"/>
              <a:gd name="connsiteY297" fmla="*/ 6396850 h 6867525"/>
              <a:gd name="connsiteX298" fmla="*/ 1526428 w 12199272"/>
              <a:gd name="connsiteY298" fmla="*/ 6396579 h 6867525"/>
              <a:gd name="connsiteX299" fmla="*/ 1532938 w 12199272"/>
              <a:gd name="connsiteY299" fmla="*/ 6395786 h 6867525"/>
              <a:gd name="connsiteX300" fmla="*/ 1539123 w 12199272"/>
              <a:gd name="connsiteY300" fmla="*/ 6394505 h 6867525"/>
              <a:gd name="connsiteX301" fmla="*/ 1544980 w 12199272"/>
              <a:gd name="connsiteY301" fmla="*/ 6392768 h 6867525"/>
              <a:gd name="connsiteX302" fmla="*/ 1550506 w 12199272"/>
              <a:gd name="connsiteY302" fmla="*/ 6390607 h 6867525"/>
              <a:gd name="connsiteX303" fmla="*/ 1555698 w 12199272"/>
              <a:gd name="connsiteY303" fmla="*/ 6388054 h 6867525"/>
              <a:gd name="connsiteX304" fmla="*/ 1560552 w 12199272"/>
              <a:gd name="connsiteY304" fmla="*/ 6385143 h 6867525"/>
              <a:gd name="connsiteX305" fmla="*/ 1565064 w 12199272"/>
              <a:gd name="connsiteY305" fmla="*/ 6381905 h 6867525"/>
              <a:gd name="connsiteX306" fmla="*/ 1569232 w 12199272"/>
              <a:gd name="connsiteY306" fmla="*/ 6378373 h 6867525"/>
              <a:gd name="connsiteX307" fmla="*/ 1573052 w 12199272"/>
              <a:gd name="connsiteY307" fmla="*/ 6374579 h 6867525"/>
              <a:gd name="connsiteX308" fmla="*/ 1576520 w 12199272"/>
              <a:gd name="connsiteY308" fmla="*/ 6370556 h 6867525"/>
              <a:gd name="connsiteX309" fmla="*/ 1579635 w 12199272"/>
              <a:gd name="connsiteY309" fmla="*/ 6366337 h 6867525"/>
              <a:gd name="connsiteX310" fmla="*/ 1582391 w 12199272"/>
              <a:gd name="connsiteY310" fmla="*/ 6361953 h 6867525"/>
              <a:gd name="connsiteX311" fmla="*/ 1584786 w 12199272"/>
              <a:gd name="connsiteY311" fmla="*/ 6357438 h 6867525"/>
              <a:gd name="connsiteX312" fmla="*/ 1586236 w 12199272"/>
              <a:gd name="connsiteY312" fmla="*/ 6354142 h 6867525"/>
              <a:gd name="connsiteX313" fmla="*/ 1586816 w 12199272"/>
              <a:gd name="connsiteY313" fmla="*/ 6352822 h 6867525"/>
              <a:gd name="connsiteX314" fmla="*/ 1588479 w 12199272"/>
              <a:gd name="connsiteY314" fmla="*/ 6348140 h 6867525"/>
              <a:gd name="connsiteX315" fmla="*/ 1588664 w 12199272"/>
              <a:gd name="connsiteY315" fmla="*/ 6346485 h 6867525"/>
              <a:gd name="connsiteX316" fmla="*/ 1588235 w 12199272"/>
              <a:gd name="connsiteY316" fmla="*/ 6344942 h 6867525"/>
              <a:gd name="connsiteX317" fmla="*/ 1587274 w 12199272"/>
              <a:gd name="connsiteY317" fmla="*/ 6343685 h 6867525"/>
              <a:gd name="connsiteX318" fmla="*/ 1585862 w 12199272"/>
              <a:gd name="connsiteY318" fmla="*/ 6342887 h 6867525"/>
              <a:gd name="connsiteX319" fmla="*/ 1553627 w 12199272"/>
              <a:gd name="connsiteY319" fmla="*/ 6332703 h 6867525"/>
              <a:gd name="connsiteX320" fmla="*/ 1552160 w 12199272"/>
              <a:gd name="connsiteY320" fmla="*/ 6332537 h 6867525"/>
              <a:gd name="connsiteX321" fmla="*/ 1550782 w 12199272"/>
              <a:gd name="connsiteY321" fmla="*/ 6332922 h 6867525"/>
              <a:gd name="connsiteX322" fmla="*/ 1549622 w 12199272"/>
              <a:gd name="connsiteY322" fmla="*/ 6333788 h 6867525"/>
              <a:gd name="connsiteX323" fmla="*/ 1548805 w 12199272"/>
              <a:gd name="connsiteY323" fmla="*/ 6335066 h 6867525"/>
              <a:gd name="connsiteX324" fmla="*/ 1546706 w 12199272"/>
              <a:gd name="connsiteY324" fmla="*/ 6339274 h 6867525"/>
              <a:gd name="connsiteX325" fmla="*/ 1543941 w 12199272"/>
              <a:gd name="connsiteY325" fmla="*/ 6343224 h 6867525"/>
              <a:gd name="connsiteX326" fmla="*/ 1540495 w 12199272"/>
              <a:gd name="connsiteY326" fmla="*/ 6346776 h 6867525"/>
              <a:gd name="connsiteX327" fmla="*/ 1536352 w 12199272"/>
              <a:gd name="connsiteY327" fmla="*/ 6349785 h 6867525"/>
              <a:gd name="connsiteX328" fmla="*/ 1531498 w 12199272"/>
              <a:gd name="connsiteY328" fmla="*/ 6352111 h 6867525"/>
              <a:gd name="connsiteX329" fmla="*/ 1525918 w 12199272"/>
              <a:gd name="connsiteY329" fmla="*/ 6353611 h 6867525"/>
              <a:gd name="connsiteX330" fmla="*/ 1519597 w 12199272"/>
              <a:gd name="connsiteY330" fmla="*/ 6354142 h 6867525"/>
              <a:gd name="connsiteX331" fmla="*/ 1514604 w 12199272"/>
              <a:gd name="connsiteY331" fmla="*/ 6353811 h 6867525"/>
              <a:gd name="connsiteX332" fmla="*/ 1509815 w 12199272"/>
              <a:gd name="connsiteY332" fmla="*/ 6352827 h 6867525"/>
              <a:gd name="connsiteX333" fmla="*/ 1505287 w 12199272"/>
              <a:gd name="connsiteY333" fmla="*/ 6351203 h 6867525"/>
              <a:gd name="connsiteX334" fmla="*/ 1501076 w 12199272"/>
              <a:gd name="connsiteY334" fmla="*/ 6348949 h 6867525"/>
              <a:gd name="connsiteX335" fmla="*/ 1497242 w 12199272"/>
              <a:gd name="connsiteY335" fmla="*/ 6346080 h 6867525"/>
              <a:gd name="connsiteX336" fmla="*/ 1493840 w 12199272"/>
              <a:gd name="connsiteY336" fmla="*/ 6342607 h 6867525"/>
              <a:gd name="connsiteX337" fmla="*/ 1490928 w 12199272"/>
              <a:gd name="connsiteY337" fmla="*/ 6338542 h 6867525"/>
              <a:gd name="connsiteX338" fmla="*/ 1488564 w 12199272"/>
              <a:gd name="connsiteY338" fmla="*/ 6333899 h 6867525"/>
              <a:gd name="connsiteX339" fmla="*/ 1486804 w 12199272"/>
              <a:gd name="connsiteY339" fmla="*/ 6328689 h 6867525"/>
              <a:gd name="connsiteX340" fmla="*/ 1485706 w 12199272"/>
              <a:gd name="connsiteY340" fmla="*/ 6322925 h 6867525"/>
              <a:gd name="connsiteX341" fmla="*/ 1485327 w 12199272"/>
              <a:gd name="connsiteY341" fmla="*/ 6316619 h 6867525"/>
              <a:gd name="connsiteX342" fmla="*/ 1485692 w 12199272"/>
              <a:gd name="connsiteY342" fmla="*/ 6310236 h 6867525"/>
              <a:gd name="connsiteX343" fmla="*/ 1486752 w 12199272"/>
              <a:gd name="connsiteY343" fmla="*/ 6304410 h 6867525"/>
              <a:gd name="connsiteX344" fmla="*/ 1488456 w 12199272"/>
              <a:gd name="connsiteY344" fmla="*/ 6299150 h 6867525"/>
              <a:gd name="connsiteX345" fmla="*/ 1490750 w 12199272"/>
              <a:gd name="connsiteY345" fmla="*/ 6294468 h 6867525"/>
              <a:gd name="connsiteX346" fmla="*/ 1493584 w 12199272"/>
              <a:gd name="connsiteY346" fmla="*/ 6290374 h 6867525"/>
              <a:gd name="connsiteX347" fmla="*/ 1496906 w 12199272"/>
              <a:gd name="connsiteY347" fmla="*/ 6286880 h 6867525"/>
              <a:gd name="connsiteX348" fmla="*/ 1500663 w 12199272"/>
              <a:gd name="connsiteY348" fmla="*/ 6283997 h 6867525"/>
              <a:gd name="connsiteX349" fmla="*/ 1504804 w 12199272"/>
              <a:gd name="connsiteY349" fmla="*/ 6281735 h 6867525"/>
              <a:gd name="connsiteX350" fmla="*/ 1509276 w 12199272"/>
              <a:gd name="connsiteY350" fmla="*/ 6280106 h 6867525"/>
              <a:gd name="connsiteX351" fmla="*/ 1514028 w 12199272"/>
              <a:gd name="connsiteY351" fmla="*/ 6279120 h 6867525"/>
              <a:gd name="connsiteX352" fmla="*/ 1519008 w 12199272"/>
              <a:gd name="connsiteY352" fmla="*/ 6278789 h 6867525"/>
              <a:gd name="connsiteX353" fmla="*/ 1525289 w 12199272"/>
              <a:gd name="connsiteY353" fmla="*/ 6279308 h 6867525"/>
              <a:gd name="connsiteX354" fmla="*/ 1530765 w 12199272"/>
              <a:gd name="connsiteY354" fmla="*/ 6280776 h 6867525"/>
              <a:gd name="connsiteX355" fmla="*/ 1535471 w 12199272"/>
              <a:gd name="connsiteY355" fmla="*/ 6283064 h 6867525"/>
              <a:gd name="connsiteX356" fmla="*/ 1539447 w 12199272"/>
              <a:gd name="connsiteY356" fmla="*/ 6286041 h 6867525"/>
              <a:gd name="connsiteX357" fmla="*/ 1542728 w 12199272"/>
              <a:gd name="connsiteY357" fmla="*/ 6289575 h 6867525"/>
              <a:gd name="connsiteX358" fmla="*/ 1545352 w 12199272"/>
              <a:gd name="connsiteY358" fmla="*/ 6293537 h 6867525"/>
              <a:gd name="connsiteX359" fmla="*/ 1547356 w 12199272"/>
              <a:gd name="connsiteY359" fmla="*/ 6297795 h 6867525"/>
              <a:gd name="connsiteX360" fmla="*/ 1548161 w 12199272"/>
              <a:gd name="connsiteY360" fmla="*/ 6299099 h 6867525"/>
              <a:gd name="connsiteX361" fmla="*/ 1549322 w 12199272"/>
              <a:gd name="connsiteY361" fmla="*/ 6299988 h 6867525"/>
              <a:gd name="connsiteX362" fmla="*/ 1550709 w 12199272"/>
              <a:gd name="connsiteY362" fmla="*/ 6300390 h 6867525"/>
              <a:gd name="connsiteX363" fmla="*/ 1552192 w 12199272"/>
              <a:gd name="connsiteY363" fmla="*/ 6300231 h 6867525"/>
              <a:gd name="connsiteX364" fmla="*/ 1584982 w 12199272"/>
              <a:gd name="connsiteY364" fmla="*/ 6290024 h 6867525"/>
              <a:gd name="connsiteX365" fmla="*/ 1586395 w 12199272"/>
              <a:gd name="connsiteY365" fmla="*/ 6289235 h 6867525"/>
              <a:gd name="connsiteX366" fmla="*/ 1587360 w 12199272"/>
              <a:gd name="connsiteY366" fmla="*/ 6287986 h 6867525"/>
              <a:gd name="connsiteX367" fmla="*/ 1587797 w 12199272"/>
              <a:gd name="connsiteY367" fmla="*/ 6286448 h 6867525"/>
              <a:gd name="connsiteX368" fmla="*/ 1587624 w 12199272"/>
              <a:gd name="connsiteY368" fmla="*/ 6284794 h 6867525"/>
              <a:gd name="connsiteX369" fmla="*/ 1586087 w 12199272"/>
              <a:gd name="connsiteY369" fmla="*/ 6280308 h 6867525"/>
              <a:gd name="connsiteX370" fmla="*/ 1585447 w 12199272"/>
              <a:gd name="connsiteY370" fmla="*/ 6278789 h 6867525"/>
              <a:gd name="connsiteX371" fmla="*/ 1584229 w 12199272"/>
              <a:gd name="connsiteY371" fmla="*/ 6275899 h 6867525"/>
              <a:gd name="connsiteX372" fmla="*/ 1582051 w 12199272"/>
              <a:gd name="connsiteY372" fmla="*/ 6271591 h 6867525"/>
              <a:gd name="connsiteX373" fmla="*/ 1579553 w 12199272"/>
              <a:gd name="connsiteY373" fmla="*/ 6267410 h 6867525"/>
              <a:gd name="connsiteX374" fmla="*/ 1576736 w 12199272"/>
              <a:gd name="connsiteY374" fmla="*/ 6263381 h 6867525"/>
              <a:gd name="connsiteX375" fmla="*/ 1573599 w 12199272"/>
              <a:gd name="connsiteY375" fmla="*/ 6259529 h 6867525"/>
              <a:gd name="connsiteX376" fmla="*/ 1570144 w 12199272"/>
              <a:gd name="connsiteY376" fmla="*/ 6255880 h 6867525"/>
              <a:gd name="connsiteX377" fmla="*/ 1566370 w 12199272"/>
              <a:gd name="connsiteY377" fmla="*/ 6252459 h 6867525"/>
              <a:gd name="connsiteX378" fmla="*/ 1562278 w 12199272"/>
              <a:gd name="connsiteY378" fmla="*/ 6249291 h 6867525"/>
              <a:gd name="connsiteX379" fmla="*/ 1557868 w 12199272"/>
              <a:gd name="connsiteY379" fmla="*/ 6246401 h 6867525"/>
              <a:gd name="connsiteX380" fmla="*/ 1553140 w 12199272"/>
              <a:gd name="connsiteY380" fmla="*/ 6243814 h 6867525"/>
              <a:gd name="connsiteX381" fmla="*/ 1548095 w 12199272"/>
              <a:gd name="connsiteY381" fmla="*/ 6241556 h 6867525"/>
              <a:gd name="connsiteX382" fmla="*/ 1542733 w 12199272"/>
              <a:gd name="connsiteY382" fmla="*/ 6239653 h 6867525"/>
              <a:gd name="connsiteX383" fmla="*/ 1537054 w 12199272"/>
              <a:gd name="connsiteY383" fmla="*/ 6238128 h 6867525"/>
              <a:gd name="connsiteX384" fmla="*/ 1531059 w 12199272"/>
              <a:gd name="connsiteY384" fmla="*/ 6237008 h 6867525"/>
              <a:gd name="connsiteX385" fmla="*/ 1524748 w 12199272"/>
              <a:gd name="connsiteY385" fmla="*/ 6236317 h 6867525"/>
              <a:gd name="connsiteX386" fmla="*/ 1518121 w 12199272"/>
              <a:gd name="connsiteY386" fmla="*/ 6236081 h 6867525"/>
              <a:gd name="connsiteX387" fmla="*/ 1349948 w 12199272"/>
              <a:gd name="connsiteY387" fmla="*/ 6236081 h 6867525"/>
              <a:gd name="connsiteX388" fmla="*/ 1344301 w 12199272"/>
              <a:gd name="connsiteY388" fmla="*/ 6236268 h 6867525"/>
              <a:gd name="connsiteX389" fmla="*/ 1338773 w 12199272"/>
              <a:gd name="connsiteY389" fmla="*/ 6236823 h 6867525"/>
              <a:gd name="connsiteX390" fmla="*/ 1333377 w 12199272"/>
              <a:gd name="connsiteY390" fmla="*/ 6237735 h 6867525"/>
              <a:gd name="connsiteX391" fmla="*/ 1328124 w 12199272"/>
              <a:gd name="connsiteY391" fmla="*/ 6238996 h 6867525"/>
              <a:gd name="connsiteX392" fmla="*/ 1323028 w 12199272"/>
              <a:gd name="connsiteY392" fmla="*/ 6240595 h 6867525"/>
              <a:gd name="connsiteX393" fmla="*/ 1318101 w 12199272"/>
              <a:gd name="connsiteY393" fmla="*/ 6242523 h 6867525"/>
              <a:gd name="connsiteX394" fmla="*/ 1313353 w 12199272"/>
              <a:gd name="connsiteY394" fmla="*/ 6244771 h 6867525"/>
              <a:gd name="connsiteX395" fmla="*/ 1308799 w 12199272"/>
              <a:gd name="connsiteY395" fmla="*/ 6247328 h 6867525"/>
              <a:gd name="connsiteX396" fmla="*/ 1304450 w 12199272"/>
              <a:gd name="connsiteY396" fmla="*/ 6250186 h 6867525"/>
              <a:gd name="connsiteX397" fmla="*/ 1300319 w 12199272"/>
              <a:gd name="connsiteY397" fmla="*/ 6253334 h 6867525"/>
              <a:gd name="connsiteX398" fmla="*/ 1296416 w 12199272"/>
              <a:gd name="connsiteY398" fmla="*/ 6256763 h 6867525"/>
              <a:gd name="connsiteX399" fmla="*/ 1292756 w 12199272"/>
              <a:gd name="connsiteY399" fmla="*/ 6260463 h 6867525"/>
              <a:gd name="connsiteX400" fmla="*/ 1289350 w 12199272"/>
              <a:gd name="connsiteY400" fmla="*/ 6264425 h 6867525"/>
              <a:gd name="connsiteX401" fmla="*/ 1286210 w 12199272"/>
              <a:gd name="connsiteY401" fmla="*/ 6268638 h 6867525"/>
              <a:gd name="connsiteX402" fmla="*/ 1283349 w 12199272"/>
              <a:gd name="connsiteY402" fmla="*/ 6273094 h 6867525"/>
              <a:gd name="connsiteX403" fmla="*/ 1280778 w 12199272"/>
              <a:gd name="connsiteY403" fmla="*/ 6277783 h 6867525"/>
              <a:gd name="connsiteX404" fmla="*/ 1278511 w 12199272"/>
              <a:gd name="connsiteY404" fmla="*/ 6282695 h 6867525"/>
              <a:gd name="connsiteX405" fmla="*/ 1276559 w 12199272"/>
              <a:gd name="connsiteY405" fmla="*/ 6287821 h 6867525"/>
              <a:gd name="connsiteX406" fmla="*/ 1274934 w 12199272"/>
              <a:gd name="connsiteY406" fmla="*/ 6293150 h 6867525"/>
              <a:gd name="connsiteX407" fmla="*/ 1273649 w 12199272"/>
              <a:gd name="connsiteY407" fmla="*/ 6298673 h 6867525"/>
              <a:gd name="connsiteX408" fmla="*/ 1272716 w 12199272"/>
              <a:gd name="connsiteY408" fmla="*/ 6304381 h 6867525"/>
              <a:gd name="connsiteX409" fmla="*/ 1272147 w 12199272"/>
              <a:gd name="connsiteY409" fmla="*/ 6310264 h 6867525"/>
              <a:gd name="connsiteX410" fmla="*/ 1271955 w 12199272"/>
              <a:gd name="connsiteY410" fmla="*/ 6316313 h 6867525"/>
              <a:gd name="connsiteX411" fmla="*/ 1272132 w 12199272"/>
              <a:gd name="connsiteY411" fmla="*/ 6322114 h 6867525"/>
              <a:gd name="connsiteX412" fmla="*/ 1272655 w 12199272"/>
              <a:gd name="connsiteY412" fmla="*/ 6327767 h 6867525"/>
              <a:gd name="connsiteX413" fmla="*/ 1273513 w 12199272"/>
              <a:gd name="connsiteY413" fmla="*/ 6333262 h 6867525"/>
              <a:gd name="connsiteX414" fmla="*/ 1274696 w 12199272"/>
              <a:gd name="connsiteY414" fmla="*/ 6338592 h 6867525"/>
              <a:gd name="connsiteX415" fmla="*/ 1276193 w 12199272"/>
              <a:gd name="connsiteY415" fmla="*/ 6343746 h 6867525"/>
              <a:gd name="connsiteX416" fmla="*/ 1277993 w 12199272"/>
              <a:gd name="connsiteY416" fmla="*/ 6348717 h 6867525"/>
              <a:gd name="connsiteX417" fmla="*/ 1280085 w 12199272"/>
              <a:gd name="connsiteY417" fmla="*/ 6353496 h 6867525"/>
              <a:gd name="connsiteX418" fmla="*/ 1282459 w 12199272"/>
              <a:gd name="connsiteY418" fmla="*/ 6358074 h 6867525"/>
              <a:gd name="connsiteX419" fmla="*/ 1285104 w 12199272"/>
              <a:gd name="connsiteY419" fmla="*/ 6362441 h 6867525"/>
              <a:gd name="connsiteX420" fmla="*/ 1288009 w 12199272"/>
              <a:gd name="connsiteY420" fmla="*/ 6366591 h 6867525"/>
              <a:gd name="connsiteX421" fmla="*/ 1291163 w 12199272"/>
              <a:gd name="connsiteY421" fmla="*/ 6370513 h 6867525"/>
              <a:gd name="connsiteX422" fmla="*/ 1294555 w 12199272"/>
              <a:gd name="connsiteY422" fmla="*/ 6374200 h 6867525"/>
              <a:gd name="connsiteX423" fmla="*/ 1298175 w 12199272"/>
              <a:gd name="connsiteY423" fmla="*/ 6377641 h 6867525"/>
              <a:gd name="connsiteX424" fmla="*/ 1302013 w 12199272"/>
              <a:gd name="connsiteY424" fmla="*/ 6380829 h 6867525"/>
              <a:gd name="connsiteX425" fmla="*/ 1306056 w 12199272"/>
              <a:gd name="connsiteY425" fmla="*/ 6383755 h 6867525"/>
              <a:gd name="connsiteX426" fmla="*/ 1310295 w 12199272"/>
              <a:gd name="connsiteY426" fmla="*/ 6386411 h 6867525"/>
              <a:gd name="connsiteX427" fmla="*/ 1314719 w 12199272"/>
              <a:gd name="connsiteY427" fmla="*/ 6388786 h 6867525"/>
              <a:gd name="connsiteX428" fmla="*/ 1319316 w 12199272"/>
              <a:gd name="connsiteY428" fmla="*/ 6390873 h 6867525"/>
              <a:gd name="connsiteX429" fmla="*/ 1324077 w 12199272"/>
              <a:gd name="connsiteY429" fmla="*/ 6392663 h 6867525"/>
              <a:gd name="connsiteX430" fmla="*/ 1328989 w 12199272"/>
              <a:gd name="connsiteY430" fmla="*/ 6394147 h 6867525"/>
              <a:gd name="connsiteX431" fmla="*/ 1334044 w 12199272"/>
              <a:gd name="connsiteY431" fmla="*/ 6395317 h 6867525"/>
              <a:gd name="connsiteX432" fmla="*/ 1339229 w 12199272"/>
              <a:gd name="connsiteY432" fmla="*/ 6396163 h 6867525"/>
              <a:gd name="connsiteX433" fmla="*/ 1344534 w 12199272"/>
              <a:gd name="connsiteY433" fmla="*/ 6396677 h 6867525"/>
              <a:gd name="connsiteX434" fmla="*/ 1349948 w 12199272"/>
              <a:gd name="connsiteY434" fmla="*/ 6396850 h 6867525"/>
              <a:gd name="connsiteX435" fmla="*/ 1355397 w 12199272"/>
              <a:gd name="connsiteY435" fmla="*/ 6396677 h 6867525"/>
              <a:gd name="connsiteX436" fmla="*/ 1360730 w 12199272"/>
              <a:gd name="connsiteY436" fmla="*/ 6396163 h 6867525"/>
              <a:gd name="connsiteX437" fmla="*/ 1365938 w 12199272"/>
              <a:gd name="connsiteY437" fmla="*/ 6395317 h 6867525"/>
              <a:gd name="connsiteX438" fmla="*/ 1371010 w 12199272"/>
              <a:gd name="connsiteY438" fmla="*/ 6394147 h 6867525"/>
              <a:gd name="connsiteX439" fmla="*/ 1375936 w 12199272"/>
              <a:gd name="connsiteY439" fmla="*/ 6392663 h 6867525"/>
              <a:gd name="connsiteX440" fmla="*/ 1380706 w 12199272"/>
              <a:gd name="connsiteY440" fmla="*/ 6390873 h 6867525"/>
              <a:gd name="connsiteX441" fmla="*/ 1385308 w 12199272"/>
              <a:gd name="connsiteY441" fmla="*/ 6388786 h 6867525"/>
              <a:gd name="connsiteX442" fmla="*/ 1389734 w 12199272"/>
              <a:gd name="connsiteY442" fmla="*/ 6386411 h 6867525"/>
              <a:gd name="connsiteX443" fmla="*/ 1393971 w 12199272"/>
              <a:gd name="connsiteY443" fmla="*/ 6383755 h 6867525"/>
              <a:gd name="connsiteX444" fmla="*/ 1398010 w 12199272"/>
              <a:gd name="connsiteY444" fmla="*/ 6380829 h 6867525"/>
              <a:gd name="connsiteX445" fmla="*/ 1401841 w 12199272"/>
              <a:gd name="connsiteY445" fmla="*/ 6377641 h 6867525"/>
              <a:gd name="connsiteX446" fmla="*/ 1405453 w 12199272"/>
              <a:gd name="connsiteY446" fmla="*/ 6374200 h 6867525"/>
              <a:gd name="connsiteX447" fmla="*/ 1408836 w 12199272"/>
              <a:gd name="connsiteY447" fmla="*/ 6370513 h 6867525"/>
              <a:gd name="connsiteX448" fmla="*/ 1411979 w 12199272"/>
              <a:gd name="connsiteY448" fmla="*/ 6366591 h 6867525"/>
              <a:gd name="connsiteX449" fmla="*/ 1414872 w 12199272"/>
              <a:gd name="connsiteY449" fmla="*/ 6362441 h 6867525"/>
              <a:gd name="connsiteX450" fmla="*/ 1417504 w 12199272"/>
              <a:gd name="connsiteY450" fmla="*/ 6358074 h 6867525"/>
              <a:gd name="connsiteX451" fmla="*/ 1419533 w 12199272"/>
              <a:gd name="connsiteY451" fmla="*/ 6354142 h 6867525"/>
              <a:gd name="connsiteX452" fmla="*/ 1421947 w 12199272"/>
              <a:gd name="connsiteY452" fmla="*/ 6348717 h 6867525"/>
              <a:gd name="connsiteX453" fmla="*/ 1423736 w 12199272"/>
              <a:gd name="connsiteY453" fmla="*/ 6343746 h 6867525"/>
              <a:gd name="connsiteX454" fmla="*/ 1425223 w 12199272"/>
              <a:gd name="connsiteY454" fmla="*/ 6338592 h 6867525"/>
              <a:gd name="connsiteX455" fmla="*/ 1426398 w 12199272"/>
              <a:gd name="connsiteY455" fmla="*/ 6333262 h 6867525"/>
              <a:gd name="connsiteX456" fmla="*/ 1427249 w 12199272"/>
              <a:gd name="connsiteY456" fmla="*/ 6327767 h 6867525"/>
              <a:gd name="connsiteX457" fmla="*/ 1427768 w 12199272"/>
              <a:gd name="connsiteY457" fmla="*/ 6322114 h 6867525"/>
              <a:gd name="connsiteX458" fmla="*/ 1427943 w 12199272"/>
              <a:gd name="connsiteY458" fmla="*/ 6316313 h 6867525"/>
              <a:gd name="connsiteX459" fmla="*/ 1427753 w 12199272"/>
              <a:gd name="connsiteY459" fmla="*/ 6310264 h 6867525"/>
              <a:gd name="connsiteX460" fmla="*/ 1427188 w 12199272"/>
              <a:gd name="connsiteY460" fmla="*/ 6304381 h 6867525"/>
              <a:gd name="connsiteX461" fmla="*/ 1426262 w 12199272"/>
              <a:gd name="connsiteY461" fmla="*/ 6298673 h 6867525"/>
              <a:gd name="connsiteX462" fmla="*/ 1424986 w 12199272"/>
              <a:gd name="connsiteY462" fmla="*/ 6293150 h 6867525"/>
              <a:gd name="connsiteX463" fmla="*/ 1423372 w 12199272"/>
              <a:gd name="connsiteY463" fmla="*/ 6287821 h 6867525"/>
              <a:gd name="connsiteX464" fmla="*/ 1421432 w 12199272"/>
              <a:gd name="connsiteY464" fmla="*/ 6282695 h 6867525"/>
              <a:gd name="connsiteX465" fmla="*/ 1419639 w 12199272"/>
              <a:gd name="connsiteY465" fmla="*/ 6278789 h 6867525"/>
              <a:gd name="connsiteX466" fmla="*/ 1419177 w 12199272"/>
              <a:gd name="connsiteY466" fmla="*/ 6277783 h 6867525"/>
              <a:gd name="connsiteX467" fmla="*/ 1416619 w 12199272"/>
              <a:gd name="connsiteY467" fmla="*/ 6273094 h 6867525"/>
              <a:gd name="connsiteX468" fmla="*/ 1413770 w 12199272"/>
              <a:gd name="connsiteY468" fmla="*/ 6268638 h 6867525"/>
              <a:gd name="connsiteX469" fmla="*/ 1410643 w 12199272"/>
              <a:gd name="connsiteY469" fmla="*/ 6264425 h 6867525"/>
              <a:gd name="connsiteX470" fmla="*/ 1407247 w 12199272"/>
              <a:gd name="connsiteY470" fmla="*/ 6260463 h 6867525"/>
              <a:gd name="connsiteX471" fmla="*/ 1403597 w 12199272"/>
              <a:gd name="connsiteY471" fmla="*/ 6256763 h 6867525"/>
              <a:gd name="connsiteX472" fmla="*/ 1399702 w 12199272"/>
              <a:gd name="connsiteY472" fmla="*/ 6253334 h 6867525"/>
              <a:gd name="connsiteX473" fmla="*/ 1395576 w 12199272"/>
              <a:gd name="connsiteY473" fmla="*/ 6250186 h 6867525"/>
              <a:gd name="connsiteX474" fmla="*/ 1391230 w 12199272"/>
              <a:gd name="connsiteY474" fmla="*/ 6247328 h 6867525"/>
              <a:gd name="connsiteX475" fmla="*/ 1386675 w 12199272"/>
              <a:gd name="connsiteY475" fmla="*/ 6244771 h 6867525"/>
              <a:gd name="connsiteX476" fmla="*/ 1381923 w 12199272"/>
              <a:gd name="connsiteY476" fmla="*/ 6242523 h 6867525"/>
              <a:gd name="connsiteX477" fmla="*/ 1376987 w 12199272"/>
              <a:gd name="connsiteY477" fmla="*/ 6240595 h 6867525"/>
              <a:gd name="connsiteX478" fmla="*/ 1371878 w 12199272"/>
              <a:gd name="connsiteY478" fmla="*/ 6238996 h 6867525"/>
              <a:gd name="connsiteX479" fmla="*/ 1366608 w 12199272"/>
              <a:gd name="connsiteY479" fmla="*/ 6237735 h 6867525"/>
              <a:gd name="connsiteX480" fmla="*/ 1361188 w 12199272"/>
              <a:gd name="connsiteY480" fmla="*/ 6236823 h 6867525"/>
              <a:gd name="connsiteX481" fmla="*/ 1355631 w 12199272"/>
              <a:gd name="connsiteY481" fmla="*/ 6236268 h 6867525"/>
              <a:gd name="connsiteX482" fmla="*/ 1349948 w 12199272"/>
              <a:gd name="connsiteY482" fmla="*/ 6236081 h 6867525"/>
              <a:gd name="connsiteX483" fmla="*/ 782044 w 12199272"/>
              <a:gd name="connsiteY483" fmla="*/ 6175982 h 6867525"/>
              <a:gd name="connsiteX484" fmla="*/ 780496 w 12199272"/>
              <a:gd name="connsiteY484" fmla="*/ 6176305 h 6867525"/>
              <a:gd name="connsiteX485" fmla="*/ 779232 w 12199272"/>
              <a:gd name="connsiteY485" fmla="*/ 6177185 h 6867525"/>
              <a:gd name="connsiteX486" fmla="*/ 778380 w 12199272"/>
              <a:gd name="connsiteY486" fmla="*/ 6178491 h 6867525"/>
              <a:gd name="connsiteX487" fmla="*/ 778067 w 12199272"/>
              <a:gd name="connsiteY487" fmla="*/ 6180089 h 6867525"/>
              <a:gd name="connsiteX488" fmla="*/ 778067 w 12199272"/>
              <a:gd name="connsiteY488" fmla="*/ 6388168 h 6867525"/>
              <a:gd name="connsiteX489" fmla="*/ 778380 w 12199272"/>
              <a:gd name="connsiteY489" fmla="*/ 6389767 h 6867525"/>
              <a:gd name="connsiteX490" fmla="*/ 779232 w 12199272"/>
              <a:gd name="connsiteY490" fmla="*/ 6391072 h 6867525"/>
              <a:gd name="connsiteX491" fmla="*/ 780496 w 12199272"/>
              <a:gd name="connsiteY491" fmla="*/ 6391952 h 6867525"/>
              <a:gd name="connsiteX492" fmla="*/ 782044 w 12199272"/>
              <a:gd name="connsiteY492" fmla="*/ 6392275 h 6867525"/>
              <a:gd name="connsiteX493" fmla="*/ 907033 w 12199272"/>
              <a:gd name="connsiteY493" fmla="*/ 6392275 h 6867525"/>
              <a:gd name="connsiteX494" fmla="*/ 908581 w 12199272"/>
              <a:gd name="connsiteY494" fmla="*/ 6391952 h 6867525"/>
              <a:gd name="connsiteX495" fmla="*/ 909845 w 12199272"/>
              <a:gd name="connsiteY495" fmla="*/ 6391072 h 6867525"/>
              <a:gd name="connsiteX496" fmla="*/ 910697 w 12199272"/>
              <a:gd name="connsiteY496" fmla="*/ 6389767 h 6867525"/>
              <a:gd name="connsiteX497" fmla="*/ 911010 w 12199272"/>
              <a:gd name="connsiteY497" fmla="*/ 6388168 h 6867525"/>
              <a:gd name="connsiteX498" fmla="*/ 911010 w 12199272"/>
              <a:gd name="connsiteY498" fmla="*/ 6350622 h 6867525"/>
              <a:gd name="connsiteX499" fmla="*/ 908581 w 12199272"/>
              <a:gd name="connsiteY499" fmla="*/ 6346838 h 6867525"/>
              <a:gd name="connsiteX500" fmla="*/ 828722 w 12199272"/>
              <a:gd name="connsiteY500" fmla="*/ 6346515 h 6867525"/>
              <a:gd name="connsiteX501" fmla="*/ 827174 w 12199272"/>
              <a:gd name="connsiteY501" fmla="*/ 6346192 h 6867525"/>
              <a:gd name="connsiteX502" fmla="*/ 825910 w 12199272"/>
              <a:gd name="connsiteY502" fmla="*/ 6345312 h 6867525"/>
              <a:gd name="connsiteX503" fmla="*/ 825057 w 12199272"/>
              <a:gd name="connsiteY503" fmla="*/ 6344006 h 6867525"/>
              <a:gd name="connsiteX504" fmla="*/ 824744 w 12199272"/>
              <a:gd name="connsiteY504" fmla="*/ 6342408 h 6867525"/>
              <a:gd name="connsiteX505" fmla="*/ 824744 w 12199272"/>
              <a:gd name="connsiteY505" fmla="*/ 6309132 h 6867525"/>
              <a:gd name="connsiteX506" fmla="*/ 825057 w 12199272"/>
              <a:gd name="connsiteY506" fmla="*/ 6307534 h 6867525"/>
              <a:gd name="connsiteX507" fmla="*/ 825910 w 12199272"/>
              <a:gd name="connsiteY507" fmla="*/ 6306228 h 6867525"/>
              <a:gd name="connsiteX508" fmla="*/ 827174 w 12199272"/>
              <a:gd name="connsiteY508" fmla="*/ 6305348 h 6867525"/>
              <a:gd name="connsiteX509" fmla="*/ 828722 w 12199272"/>
              <a:gd name="connsiteY509" fmla="*/ 6305025 h 6867525"/>
              <a:gd name="connsiteX510" fmla="*/ 898759 w 12199272"/>
              <a:gd name="connsiteY510" fmla="*/ 6305025 h 6867525"/>
              <a:gd name="connsiteX511" fmla="*/ 900308 w 12199272"/>
              <a:gd name="connsiteY511" fmla="*/ 6304703 h 6867525"/>
              <a:gd name="connsiteX512" fmla="*/ 901572 w 12199272"/>
              <a:gd name="connsiteY512" fmla="*/ 6303823 h 6867525"/>
              <a:gd name="connsiteX513" fmla="*/ 902425 w 12199272"/>
              <a:gd name="connsiteY513" fmla="*/ 6302517 h 6867525"/>
              <a:gd name="connsiteX514" fmla="*/ 902738 w 12199272"/>
              <a:gd name="connsiteY514" fmla="*/ 6300918 h 6867525"/>
              <a:gd name="connsiteX515" fmla="*/ 902738 w 12199272"/>
              <a:gd name="connsiteY515" fmla="*/ 6266729 h 6867525"/>
              <a:gd name="connsiteX516" fmla="*/ 902425 w 12199272"/>
              <a:gd name="connsiteY516" fmla="*/ 6265130 h 6867525"/>
              <a:gd name="connsiteX517" fmla="*/ 901572 w 12199272"/>
              <a:gd name="connsiteY517" fmla="*/ 6263825 h 6867525"/>
              <a:gd name="connsiteX518" fmla="*/ 900308 w 12199272"/>
              <a:gd name="connsiteY518" fmla="*/ 6262944 h 6867525"/>
              <a:gd name="connsiteX519" fmla="*/ 898759 w 12199272"/>
              <a:gd name="connsiteY519" fmla="*/ 6262622 h 6867525"/>
              <a:gd name="connsiteX520" fmla="*/ 828722 w 12199272"/>
              <a:gd name="connsiteY520" fmla="*/ 6262622 h 6867525"/>
              <a:gd name="connsiteX521" fmla="*/ 827174 w 12199272"/>
              <a:gd name="connsiteY521" fmla="*/ 6262299 h 6867525"/>
              <a:gd name="connsiteX522" fmla="*/ 825910 w 12199272"/>
              <a:gd name="connsiteY522" fmla="*/ 6261419 h 6867525"/>
              <a:gd name="connsiteX523" fmla="*/ 825057 w 12199272"/>
              <a:gd name="connsiteY523" fmla="*/ 6260114 h 6867525"/>
              <a:gd name="connsiteX524" fmla="*/ 824744 w 12199272"/>
              <a:gd name="connsiteY524" fmla="*/ 6258515 h 6867525"/>
              <a:gd name="connsiteX525" fmla="*/ 824744 w 12199272"/>
              <a:gd name="connsiteY525" fmla="*/ 6225545 h 6867525"/>
              <a:gd name="connsiteX526" fmla="*/ 825057 w 12199272"/>
              <a:gd name="connsiteY526" fmla="*/ 6223946 h 6867525"/>
              <a:gd name="connsiteX527" fmla="*/ 825910 w 12199272"/>
              <a:gd name="connsiteY527" fmla="*/ 6222641 h 6867525"/>
              <a:gd name="connsiteX528" fmla="*/ 827174 w 12199272"/>
              <a:gd name="connsiteY528" fmla="*/ 6221761 h 6867525"/>
              <a:gd name="connsiteX529" fmla="*/ 828722 w 12199272"/>
              <a:gd name="connsiteY529" fmla="*/ 6221438 h 6867525"/>
              <a:gd name="connsiteX530" fmla="*/ 906737 w 12199272"/>
              <a:gd name="connsiteY530" fmla="*/ 6221438 h 6867525"/>
              <a:gd name="connsiteX531" fmla="*/ 908285 w 12199272"/>
              <a:gd name="connsiteY531" fmla="*/ 6221115 h 6867525"/>
              <a:gd name="connsiteX532" fmla="*/ 909549 w 12199272"/>
              <a:gd name="connsiteY532" fmla="*/ 6220235 h 6867525"/>
              <a:gd name="connsiteX533" fmla="*/ 910401 w 12199272"/>
              <a:gd name="connsiteY533" fmla="*/ 6218930 h 6867525"/>
              <a:gd name="connsiteX534" fmla="*/ 910714 w 12199272"/>
              <a:gd name="connsiteY534" fmla="*/ 6217331 h 6867525"/>
              <a:gd name="connsiteX535" fmla="*/ 910714 w 12199272"/>
              <a:gd name="connsiteY535" fmla="*/ 6180089 h 6867525"/>
              <a:gd name="connsiteX536" fmla="*/ 910401 w 12199272"/>
              <a:gd name="connsiteY536" fmla="*/ 6178491 h 6867525"/>
              <a:gd name="connsiteX537" fmla="*/ 909549 w 12199272"/>
              <a:gd name="connsiteY537" fmla="*/ 6177185 h 6867525"/>
              <a:gd name="connsiteX538" fmla="*/ 908285 w 12199272"/>
              <a:gd name="connsiteY538" fmla="*/ 6176305 h 6867525"/>
              <a:gd name="connsiteX539" fmla="*/ 906737 w 12199272"/>
              <a:gd name="connsiteY539" fmla="*/ 6175982 h 6867525"/>
              <a:gd name="connsiteX540" fmla="*/ 782044 w 12199272"/>
              <a:gd name="connsiteY540" fmla="*/ 6175982 h 6867525"/>
              <a:gd name="connsiteX541" fmla="*/ 1124613 w 12199272"/>
              <a:gd name="connsiteY541" fmla="*/ 6167136 h 6867525"/>
              <a:gd name="connsiteX542" fmla="*/ 1119425 w 12199272"/>
              <a:gd name="connsiteY542" fmla="*/ 6167690 h 6867525"/>
              <a:gd name="connsiteX543" fmla="*/ 1114569 w 12199272"/>
              <a:gd name="connsiteY543" fmla="*/ 6169276 h 6867525"/>
              <a:gd name="connsiteX544" fmla="*/ 1110156 w 12199272"/>
              <a:gd name="connsiteY544" fmla="*/ 6171785 h 6867525"/>
              <a:gd name="connsiteX545" fmla="*/ 1106297 w 12199272"/>
              <a:gd name="connsiteY545" fmla="*/ 6175106 h 6867525"/>
              <a:gd name="connsiteX546" fmla="*/ 1103103 w 12199272"/>
              <a:gd name="connsiteY546" fmla="*/ 6179127 h 6867525"/>
              <a:gd name="connsiteX547" fmla="*/ 1100684 w 12199272"/>
              <a:gd name="connsiteY547" fmla="*/ 6183738 h 6867525"/>
              <a:gd name="connsiteX548" fmla="*/ 1099151 w 12199272"/>
              <a:gd name="connsiteY548" fmla="*/ 6188829 h 6867525"/>
              <a:gd name="connsiteX549" fmla="*/ 1098616 w 12199272"/>
              <a:gd name="connsiteY549" fmla="*/ 6194287 h 6867525"/>
              <a:gd name="connsiteX550" fmla="*/ 1099151 w 12199272"/>
              <a:gd name="connsiteY550" fmla="*/ 6199746 h 6867525"/>
              <a:gd name="connsiteX551" fmla="*/ 1100684 w 12199272"/>
              <a:gd name="connsiteY551" fmla="*/ 6204836 h 6867525"/>
              <a:gd name="connsiteX552" fmla="*/ 1103103 w 12199272"/>
              <a:gd name="connsiteY552" fmla="*/ 6209447 h 6867525"/>
              <a:gd name="connsiteX553" fmla="*/ 1106297 w 12199272"/>
              <a:gd name="connsiteY553" fmla="*/ 6213468 h 6867525"/>
              <a:gd name="connsiteX554" fmla="*/ 1110156 w 12199272"/>
              <a:gd name="connsiteY554" fmla="*/ 6216789 h 6867525"/>
              <a:gd name="connsiteX555" fmla="*/ 1114569 w 12199272"/>
              <a:gd name="connsiteY555" fmla="*/ 6219298 h 6867525"/>
              <a:gd name="connsiteX556" fmla="*/ 1119425 w 12199272"/>
              <a:gd name="connsiteY556" fmla="*/ 6220885 h 6867525"/>
              <a:gd name="connsiteX557" fmla="*/ 1124613 w 12199272"/>
              <a:gd name="connsiteY557" fmla="*/ 6221438 h 6867525"/>
              <a:gd name="connsiteX558" fmla="*/ 1129997 w 12199272"/>
              <a:gd name="connsiteY558" fmla="*/ 6220885 h 6867525"/>
              <a:gd name="connsiteX559" fmla="*/ 1135000 w 12199272"/>
              <a:gd name="connsiteY559" fmla="*/ 6219298 h 6867525"/>
              <a:gd name="connsiteX560" fmla="*/ 1139518 w 12199272"/>
              <a:gd name="connsiteY560" fmla="*/ 6216789 h 6867525"/>
              <a:gd name="connsiteX561" fmla="*/ 1143447 w 12199272"/>
              <a:gd name="connsiteY561" fmla="*/ 6213468 h 6867525"/>
              <a:gd name="connsiteX562" fmla="*/ 1146685 w 12199272"/>
              <a:gd name="connsiteY562" fmla="*/ 6209447 h 6867525"/>
              <a:gd name="connsiteX563" fmla="*/ 1149125 w 12199272"/>
              <a:gd name="connsiteY563" fmla="*/ 6204836 h 6867525"/>
              <a:gd name="connsiteX564" fmla="*/ 1150666 w 12199272"/>
              <a:gd name="connsiteY564" fmla="*/ 6199746 h 6867525"/>
              <a:gd name="connsiteX565" fmla="*/ 1151203 w 12199272"/>
              <a:gd name="connsiteY565" fmla="*/ 6194287 h 6867525"/>
              <a:gd name="connsiteX566" fmla="*/ 1150666 w 12199272"/>
              <a:gd name="connsiteY566" fmla="*/ 6188829 h 6867525"/>
              <a:gd name="connsiteX567" fmla="*/ 1149125 w 12199272"/>
              <a:gd name="connsiteY567" fmla="*/ 6183738 h 6867525"/>
              <a:gd name="connsiteX568" fmla="*/ 1146685 w 12199272"/>
              <a:gd name="connsiteY568" fmla="*/ 6179127 h 6867525"/>
              <a:gd name="connsiteX569" fmla="*/ 1143447 w 12199272"/>
              <a:gd name="connsiteY569" fmla="*/ 6175106 h 6867525"/>
              <a:gd name="connsiteX570" fmla="*/ 1139518 w 12199272"/>
              <a:gd name="connsiteY570" fmla="*/ 6171785 h 6867525"/>
              <a:gd name="connsiteX571" fmla="*/ 1135000 w 12199272"/>
              <a:gd name="connsiteY571" fmla="*/ 6169276 h 6867525"/>
              <a:gd name="connsiteX572" fmla="*/ 1129997 w 12199272"/>
              <a:gd name="connsiteY572" fmla="*/ 6167690 h 6867525"/>
              <a:gd name="connsiteX573" fmla="*/ 1124613 w 12199272"/>
              <a:gd name="connsiteY573" fmla="*/ 6167136 h 6867525"/>
              <a:gd name="connsiteX574" fmla="*/ 581250 w 12199272"/>
              <a:gd name="connsiteY574" fmla="*/ 6130388 h 6867525"/>
              <a:gd name="connsiteX575" fmla="*/ 575834 w 12199272"/>
              <a:gd name="connsiteY575" fmla="*/ 6131131 h 6867525"/>
              <a:gd name="connsiteX576" fmla="*/ 570703 w 12199272"/>
              <a:gd name="connsiteY576" fmla="*/ 6133358 h 6867525"/>
              <a:gd name="connsiteX577" fmla="*/ 468377 w 12199272"/>
              <a:gd name="connsiteY577" fmla="*/ 6195414 h 6867525"/>
              <a:gd name="connsiteX578" fmla="*/ 463977 w 12199272"/>
              <a:gd name="connsiteY578" fmla="*/ 6198968 h 6867525"/>
              <a:gd name="connsiteX579" fmla="*/ 460658 w 12199272"/>
              <a:gd name="connsiteY579" fmla="*/ 6203523 h 6867525"/>
              <a:gd name="connsiteX580" fmla="*/ 458562 w 12199272"/>
              <a:gd name="connsiteY580" fmla="*/ 6208820 h 6867525"/>
              <a:gd name="connsiteX581" fmla="*/ 457832 w 12199272"/>
              <a:gd name="connsiteY581" fmla="*/ 6214601 h 6867525"/>
              <a:gd name="connsiteX582" fmla="*/ 457832 w 12199272"/>
              <a:gd name="connsiteY582" fmla="*/ 6338713 h 6867525"/>
              <a:gd name="connsiteX583" fmla="*/ 458562 w 12199272"/>
              <a:gd name="connsiteY583" fmla="*/ 6344494 h 6867525"/>
              <a:gd name="connsiteX584" fmla="*/ 460658 w 12199272"/>
              <a:gd name="connsiteY584" fmla="*/ 6349791 h 6867525"/>
              <a:gd name="connsiteX585" fmla="*/ 463977 w 12199272"/>
              <a:gd name="connsiteY585" fmla="*/ 6354347 h 6867525"/>
              <a:gd name="connsiteX586" fmla="*/ 468378 w 12199272"/>
              <a:gd name="connsiteY586" fmla="*/ 6357902 h 6867525"/>
              <a:gd name="connsiteX587" fmla="*/ 570703 w 12199272"/>
              <a:gd name="connsiteY587" fmla="*/ 6419958 h 6867525"/>
              <a:gd name="connsiteX588" fmla="*/ 575834 w 12199272"/>
              <a:gd name="connsiteY588" fmla="*/ 6422184 h 6867525"/>
              <a:gd name="connsiteX589" fmla="*/ 581250 w 12199272"/>
              <a:gd name="connsiteY589" fmla="*/ 6422926 h 6867525"/>
              <a:gd name="connsiteX590" fmla="*/ 586665 w 12199272"/>
              <a:gd name="connsiteY590" fmla="*/ 6422184 h 6867525"/>
              <a:gd name="connsiteX591" fmla="*/ 591796 w 12199272"/>
              <a:gd name="connsiteY591" fmla="*/ 6419958 h 6867525"/>
              <a:gd name="connsiteX592" fmla="*/ 687555 w 12199272"/>
              <a:gd name="connsiteY592" fmla="*/ 6361884 h 6867525"/>
              <a:gd name="connsiteX593" fmla="*/ 694122 w 12199272"/>
              <a:gd name="connsiteY593" fmla="*/ 6357902 h 6867525"/>
              <a:gd name="connsiteX594" fmla="*/ 698523 w 12199272"/>
              <a:gd name="connsiteY594" fmla="*/ 6354347 h 6867525"/>
              <a:gd name="connsiteX595" fmla="*/ 701842 w 12199272"/>
              <a:gd name="connsiteY595" fmla="*/ 6349791 h 6867525"/>
              <a:gd name="connsiteX596" fmla="*/ 703937 w 12199272"/>
              <a:gd name="connsiteY596" fmla="*/ 6344494 h 6867525"/>
              <a:gd name="connsiteX597" fmla="*/ 704667 w 12199272"/>
              <a:gd name="connsiteY597" fmla="*/ 6338713 h 6867525"/>
              <a:gd name="connsiteX598" fmla="*/ 704667 w 12199272"/>
              <a:gd name="connsiteY598" fmla="*/ 6287037 h 6867525"/>
              <a:gd name="connsiteX599" fmla="*/ 581250 w 12199272"/>
              <a:gd name="connsiteY599" fmla="*/ 6361884 h 6867525"/>
              <a:gd name="connsiteX600" fmla="*/ 512614 w 12199272"/>
              <a:gd name="connsiteY600" fmla="*/ 6320260 h 6867525"/>
              <a:gd name="connsiteX601" fmla="*/ 512651 w 12199272"/>
              <a:gd name="connsiteY601" fmla="*/ 6235036 h 6867525"/>
              <a:gd name="connsiteX602" fmla="*/ 576185 w 12199272"/>
              <a:gd name="connsiteY602" fmla="*/ 6196483 h 6867525"/>
              <a:gd name="connsiteX603" fmla="*/ 578647 w 12199272"/>
              <a:gd name="connsiteY603" fmla="*/ 6195414 h 6867525"/>
              <a:gd name="connsiteX604" fmla="*/ 581250 w 12199272"/>
              <a:gd name="connsiteY604" fmla="*/ 6195057 h 6867525"/>
              <a:gd name="connsiteX605" fmla="*/ 583855 w 12199272"/>
              <a:gd name="connsiteY605" fmla="*/ 6195414 h 6867525"/>
              <a:gd name="connsiteX606" fmla="*/ 586321 w 12199272"/>
              <a:gd name="connsiteY606" fmla="*/ 6196485 h 6867525"/>
              <a:gd name="connsiteX607" fmla="*/ 649885 w 12199272"/>
              <a:gd name="connsiteY607" fmla="*/ 6235034 h 6867525"/>
              <a:gd name="connsiteX608" fmla="*/ 589785 w 12199272"/>
              <a:gd name="connsiteY608" fmla="*/ 6271483 h 6867525"/>
              <a:gd name="connsiteX609" fmla="*/ 585633 w 12199272"/>
              <a:gd name="connsiteY609" fmla="*/ 6273284 h 6867525"/>
              <a:gd name="connsiteX610" fmla="*/ 581250 w 12199272"/>
              <a:gd name="connsiteY610" fmla="*/ 6273884 h 6867525"/>
              <a:gd name="connsiteX611" fmla="*/ 576868 w 12199272"/>
              <a:gd name="connsiteY611" fmla="*/ 6273283 h 6867525"/>
              <a:gd name="connsiteX612" fmla="*/ 572716 w 12199272"/>
              <a:gd name="connsiteY612" fmla="*/ 6271481 h 6867525"/>
              <a:gd name="connsiteX613" fmla="*/ 529723 w 12199272"/>
              <a:gd name="connsiteY613" fmla="*/ 6245395 h 6867525"/>
              <a:gd name="connsiteX614" fmla="*/ 529693 w 12199272"/>
              <a:gd name="connsiteY614" fmla="*/ 6309859 h 6867525"/>
              <a:gd name="connsiteX615" fmla="*/ 581250 w 12199272"/>
              <a:gd name="connsiteY615" fmla="*/ 6341127 h 6867525"/>
              <a:gd name="connsiteX616" fmla="*/ 692128 w 12199272"/>
              <a:gd name="connsiteY616" fmla="*/ 6273884 h 6867525"/>
              <a:gd name="connsiteX617" fmla="*/ 704667 w 12199272"/>
              <a:gd name="connsiteY617" fmla="*/ 6266280 h 6867525"/>
              <a:gd name="connsiteX618" fmla="*/ 704667 w 12199272"/>
              <a:gd name="connsiteY618" fmla="*/ 6214601 h 6867525"/>
              <a:gd name="connsiteX619" fmla="*/ 703937 w 12199272"/>
              <a:gd name="connsiteY619" fmla="*/ 6208820 h 6867525"/>
              <a:gd name="connsiteX620" fmla="*/ 701842 w 12199272"/>
              <a:gd name="connsiteY620" fmla="*/ 6203523 h 6867525"/>
              <a:gd name="connsiteX621" fmla="*/ 698523 w 12199272"/>
              <a:gd name="connsiteY621" fmla="*/ 6198968 h 6867525"/>
              <a:gd name="connsiteX622" fmla="*/ 694122 w 12199272"/>
              <a:gd name="connsiteY622" fmla="*/ 6195413 h 6867525"/>
              <a:gd name="connsiteX623" fmla="*/ 693534 w 12199272"/>
              <a:gd name="connsiteY623" fmla="*/ 6195057 h 6867525"/>
              <a:gd name="connsiteX624" fmla="*/ 591796 w 12199272"/>
              <a:gd name="connsiteY624" fmla="*/ 6133358 h 6867525"/>
              <a:gd name="connsiteX625" fmla="*/ 586665 w 12199272"/>
              <a:gd name="connsiteY625" fmla="*/ 6131131 h 6867525"/>
              <a:gd name="connsiteX626" fmla="*/ 581250 w 12199272"/>
              <a:gd name="connsiteY626" fmla="*/ 6130388 h 6867525"/>
              <a:gd name="connsiteX627" fmla="*/ 0 w 12199272"/>
              <a:gd name="connsiteY627" fmla="*/ 9525 h 6867525"/>
              <a:gd name="connsiteX628" fmla="*/ 12198355 w 12199272"/>
              <a:gd name="connsiteY628" fmla="*/ 0 h 6867525"/>
              <a:gd name="connsiteX629" fmla="*/ 12198355 w 12199272"/>
              <a:gd name="connsiteY629" fmla="*/ 6867525 h 6867525"/>
              <a:gd name="connsiteX630" fmla="*/ 0 w 12199272"/>
              <a:gd name="connsiteY630" fmla="*/ 6867525 h 6867525"/>
              <a:gd name="connsiteX631" fmla="*/ 0 w 12199272"/>
              <a:gd name="connsiteY631" fmla="*/ 9525 h 6867525"/>
              <a:gd name="connsiteX0" fmla="*/ 1014246 w 12205625"/>
              <a:gd name="connsiteY0" fmla="*/ 6278790 h 6867525"/>
              <a:gd name="connsiteX1" fmla="*/ 1019019 w 12205625"/>
              <a:gd name="connsiteY1" fmla="*/ 6279093 h 6867525"/>
              <a:gd name="connsiteX2" fmla="*/ 1023628 w 12205625"/>
              <a:gd name="connsiteY2" fmla="*/ 6280006 h 6867525"/>
              <a:gd name="connsiteX3" fmla="*/ 1028012 w 12205625"/>
              <a:gd name="connsiteY3" fmla="*/ 6281532 h 6867525"/>
              <a:gd name="connsiteX4" fmla="*/ 1032110 w 12205625"/>
              <a:gd name="connsiteY4" fmla="*/ 6283675 h 6867525"/>
              <a:gd name="connsiteX5" fmla="*/ 1035860 w 12205625"/>
              <a:gd name="connsiteY5" fmla="*/ 6286440 h 6867525"/>
              <a:gd name="connsiteX6" fmla="*/ 1039201 w 12205625"/>
              <a:gd name="connsiteY6" fmla="*/ 6289831 h 6867525"/>
              <a:gd name="connsiteX7" fmla="*/ 1042072 w 12205625"/>
              <a:gd name="connsiteY7" fmla="*/ 6293851 h 6867525"/>
              <a:gd name="connsiteX8" fmla="*/ 1044412 w 12205625"/>
              <a:gd name="connsiteY8" fmla="*/ 6298506 h 6867525"/>
              <a:gd name="connsiteX9" fmla="*/ 1046159 w 12205625"/>
              <a:gd name="connsiteY9" fmla="*/ 6303798 h 6867525"/>
              <a:gd name="connsiteX10" fmla="*/ 1047252 w 12205625"/>
              <a:gd name="connsiteY10" fmla="*/ 6309733 h 6867525"/>
              <a:gd name="connsiteX11" fmla="*/ 1047630 w 12205625"/>
              <a:gd name="connsiteY11" fmla="*/ 6316313 h 6867525"/>
              <a:gd name="connsiteX12" fmla="*/ 1047252 w 12205625"/>
              <a:gd name="connsiteY12" fmla="*/ 6322901 h 6867525"/>
              <a:gd name="connsiteX13" fmla="*/ 1046159 w 12205625"/>
              <a:gd name="connsiteY13" fmla="*/ 6328855 h 6867525"/>
              <a:gd name="connsiteX14" fmla="*/ 1044412 w 12205625"/>
              <a:gd name="connsiteY14" fmla="*/ 6334177 h 6867525"/>
              <a:gd name="connsiteX15" fmla="*/ 1042072 w 12205625"/>
              <a:gd name="connsiteY15" fmla="*/ 6338867 h 6867525"/>
              <a:gd name="connsiteX16" fmla="*/ 1039201 w 12205625"/>
              <a:gd name="connsiteY16" fmla="*/ 6342928 h 6867525"/>
              <a:gd name="connsiteX17" fmla="*/ 1035860 w 12205625"/>
              <a:gd name="connsiteY17" fmla="*/ 6346360 h 6867525"/>
              <a:gd name="connsiteX18" fmla="*/ 1032110 w 12205625"/>
              <a:gd name="connsiteY18" fmla="*/ 6349166 h 6867525"/>
              <a:gd name="connsiteX19" fmla="*/ 1028012 w 12205625"/>
              <a:gd name="connsiteY19" fmla="*/ 6351345 h 6867525"/>
              <a:gd name="connsiteX20" fmla="*/ 1023628 w 12205625"/>
              <a:gd name="connsiteY20" fmla="*/ 6352900 h 6867525"/>
              <a:gd name="connsiteX21" fmla="*/ 1019019 w 12205625"/>
              <a:gd name="connsiteY21" fmla="*/ 6353832 h 6867525"/>
              <a:gd name="connsiteX22" fmla="*/ 1014246 w 12205625"/>
              <a:gd name="connsiteY22" fmla="*/ 6354143 h 6867525"/>
              <a:gd name="connsiteX23" fmla="*/ 1009546 w 12205625"/>
              <a:gd name="connsiteY23" fmla="*/ 6353825 h 6867525"/>
              <a:gd name="connsiteX24" fmla="*/ 1004998 w 12205625"/>
              <a:gd name="connsiteY24" fmla="*/ 6352875 h 6867525"/>
              <a:gd name="connsiteX25" fmla="*/ 1000662 w 12205625"/>
              <a:gd name="connsiteY25" fmla="*/ 6351296 h 6867525"/>
              <a:gd name="connsiteX26" fmla="*/ 996602 w 12205625"/>
              <a:gd name="connsiteY26" fmla="*/ 6349089 h 6867525"/>
              <a:gd name="connsiteX27" fmla="*/ 992880 w 12205625"/>
              <a:gd name="connsiteY27" fmla="*/ 6346257 h 6867525"/>
              <a:gd name="connsiteX28" fmla="*/ 989560 w 12205625"/>
              <a:gd name="connsiteY28" fmla="*/ 6342805 h 6867525"/>
              <a:gd name="connsiteX29" fmla="*/ 986702 w 12205625"/>
              <a:gd name="connsiteY29" fmla="*/ 6338733 h 6867525"/>
              <a:gd name="connsiteX30" fmla="*/ 984371 w 12205625"/>
              <a:gd name="connsiteY30" fmla="*/ 6334045 h 6867525"/>
              <a:gd name="connsiteX31" fmla="*/ 982628 w 12205625"/>
              <a:gd name="connsiteY31" fmla="*/ 6328744 h 6867525"/>
              <a:gd name="connsiteX32" fmla="*/ 981537 w 12205625"/>
              <a:gd name="connsiteY32" fmla="*/ 6322833 h 6867525"/>
              <a:gd name="connsiteX33" fmla="*/ 981159 w 12205625"/>
              <a:gd name="connsiteY33" fmla="*/ 6316313 h 6867525"/>
              <a:gd name="connsiteX34" fmla="*/ 981537 w 12205625"/>
              <a:gd name="connsiteY34" fmla="*/ 6309733 h 6867525"/>
              <a:gd name="connsiteX35" fmla="*/ 982628 w 12205625"/>
              <a:gd name="connsiteY35" fmla="*/ 6303798 h 6867525"/>
              <a:gd name="connsiteX36" fmla="*/ 984371 w 12205625"/>
              <a:gd name="connsiteY36" fmla="*/ 6298506 h 6867525"/>
              <a:gd name="connsiteX37" fmla="*/ 986702 w 12205625"/>
              <a:gd name="connsiteY37" fmla="*/ 6293851 h 6867525"/>
              <a:gd name="connsiteX38" fmla="*/ 989560 w 12205625"/>
              <a:gd name="connsiteY38" fmla="*/ 6289831 h 6867525"/>
              <a:gd name="connsiteX39" fmla="*/ 992880 w 12205625"/>
              <a:gd name="connsiteY39" fmla="*/ 6286440 h 6867525"/>
              <a:gd name="connsiteX40" fmla="*/ 996602 w 12205625"/>
              <a:gd name="connsiteY40" fmla="*/ 6283675 h 6867525"/>
              <a:gd name="connsiteX41" fmla="*/ 1000662 w 12205625"/>
              <a:gd name="connsiteY41" fmla="*/ 6281532 h 6867525"/>
              <a:gd name="connsiteX42" fmla="*/ 1004998 w 12205625"/>
              <a:gd name="connsiteY42" fmla="*/ 6280006 h 6867525"/>
              <a:gd name="connsiteX43" fmla="*/ 1009546 w 12205625"/>
              <a:gd name="connsiteY43" fmla="*/ 6279093 h 6867525"/>
              <a:gd name="connsiteX44" fmla="*/ 1014246 w 12205625"/>
              <a:gd name="connsiteY44" fmla="*/ 6278790 h 6867525"/>
              <a:gd name="connsiteX45" fmla="*/ 1356301 w 12205625"/>
              <a:gd name="connsiteY45" fmla="*/ 6278789 h 6867525"/>
              <a:gd name="connsiteX46" fmla="*/ 1360934 w 12205625"/>
              <a:gd name="connsiteY46" fmla="*/ 6279086 h 6867525"/>
              <a:gd name="connsiteX47" fmla="*/ 1365442 w 12205625"/>
              <a:gd name="connsiteY47" fmla="*/ 6279980 h 6867525"/>
              <a:gd name="connsiteX48" fmla="*/ 1369758 w 12205625"/>
              <a:gd name="connsiteY48" fmla="*/ 6281481 h 6867525"/>
              <a:gd name="connsiteX49" fmla="*/ 1373815 w 12205625"/>
              <a:gd name="connsiteY49" fmla="*/ 6283597 h 6867525"/>
              <a:gd name="connsiteX50" fmla="*/ 1377548 w 12205625"/>
              <a:gd name="connsiteY50" fmla="*/ 6286336 h 6867525"/>
              <a:gd name="connsiteX51" fmla="*/ 1380889 w 12205625"/>
              <a:gd name="connsiteY51" fmla="*/ 6289706 h 6867525"/>
              <a:gd name="connsiteX52" fmla="*/ 1383771 w 12205625"/>
              <a:gd name="connsiteY52" fmla="*/ 6293715 h 6867525"/>
              <a:gd name="connsiteX53" fmla="*/ 1386130 w 12205625"/>
              <a:gd name="connsiteY53" fmla="*/ 6298373 h 6867525"/>
              <a:gd name="connsiteX54" fmla="*/ 1387896 w 12205625"/>
              <a:gd name="connsiteY54" fmla="*/ 6303686 h 6867525"/>
              <a:gd name="connsiteX55" fmla="*/ 1389005 w 12205625"/>
              <a:gd name="connsiteY55" fmla="*/ 6309663 h 6867525"/>
              <a:gd name="connsiteX56" fmla="*/ 1389390 w 12205625"/>
              <a:gd name="connsiteY56" fmla="*/ 6316313 h 6867525"/>
              <a:gd name="connsiteX57" fmla="*/ 1389005 w 12205625"/>
              <a:gd name="connsiteY57" fmla="*/ 6322970 h 6867525"/>
              <a:gd name="connsiteX58" fmla="*/ 1387896 w 12205625"/>
              <a:gd name="connsiteY58" fmla="*/ 6328967 h 6867525"/>
              <a:gd name="connsiteX59" fmla="*/ 1386130 w 12205625"/>
              <a:gd name="connsiteY59" fmla="*/ 6334309 h 6867525"/>
              <a:gd name="connsiteX60" fmla="*/ 1383771 w 12205625"/>
              <a:gd name="connsiteY60" fmla="*/ 6339003 h 6867525"/>
              <a:gd name="connsiteX61" fmla="*/ 1380889 w 12205625"/>
              <a:gd name="connsiteY61" fmla="*/ 6343052 h 6867525"/>
              <a:gd name="connsiteX62" fmla="*/ 1377548 w 12205625"/>
              <a:gd name="connsiteY62" fmla="*/ 6346464 h 6867525"/>
              <a:gd name="connsiteX63" fmla="*/ 1373815 w 12205625"/>
              <a:gd name="connsiteY63" fmla="*/ 6349243 h 6867525"/>
              <a:gd name="connsiteX64" fmla="*/ 1369758 w 12205625"/>
              <a:gd name="connsiteY64" fmla="*/ 6351394 h 6867525"/>
              <a:gd name="connsiteX65" fmla="*/ 1365442 w 12205625"/>
              <a:gd name="connsiteY65" fmla="*/ 6352925 h 6867525"/>
              <a:gd name="connsiteX66" fmla="*/ 1360934 w 12205625"/>
              <a:gd name="connsiteY66" fmla="*/ 6353839 h 6867525"/>
              <a:gd name="connsiteX67" fmla="*/ 1356301 w 12205625"/>
              <a:gd name="connsiteY67" fmla="*/ 6354142 h 6867525"/>
              <a:gd name="connsiteX68" fmla="*/ 1351735 w 12205625"/>
              <a:gd name="connsiteY68" fmla="*/ 6353832 h 6867525"/>
              <a:gd name="connsiteX69" fmla="*/ 1347269 w 12205625"/>
              <a:gd name="connsiteY69" fmla="*/ 6352900 h 6867525"/>
              <a:gd name="connsiteX70" fmla="*/ 1342973 w 12205625"/>
              <a:gd name="connsiteY70" fmla="*/ 6351345 h 6867525"/>
              <a:gd name="connsiteX71" fmla="*/ 1338918 w 12205625"/>
              <a:gd name="connsiteY71" fmla="*/ 6349165 h 6867525"/>
              <a:gd name="connsiteX72" fmla="*/ 1335175 w 12205625"/>
              <a:gd name="connsiteY72" fmla="*/ 6346360 h 6867525"/>
              <a:gd name="connsiteX73" fmla="*/ 1331814 w 12205625"/>
              <a:gd name="connsiteY73" fmla="*/ 6342928 h 6867525"/>
              <a:gd name="connsiteX74" fmla="*/ 1328906 w 12205625"/>
              <a:gd name="connsiteY74" fmla="*/ 6338868 h 6867525"/>
              <a:gd name="connsiteX75" fmla="*/ 1326521 w 12205625"/>
              <a:gd name="connsiteY75" fmla="*/ 6334177 h 6867525"/>
              <a:gd name="connsiteX76" fmla="*/ 1324731 w 12205625"/>
              <a:gd name="connsiteY76" fmla="*/ 6328855 h 6867525"/>
              <a:gd name="connsiteX77" fmla="*/ 1323604 w 12205625"/>
              <a:gd name="connsiteY77" fmla="*/ 6322901 h 6867525"/>
              <a:gd name="connsiteX78" fmla="*/ 1323213 w 12205625"/>
              <a:gd name="connsiteY78" fmla="*/ 6316313 h 6867525"/>
              <a:gd name="connsiteX79" fmla="*/ 1323604 w 12205625"/>
              <a:gd name="connsiteY79" fmla="*/ 6309663 h 6867525"/>
              <a:gd name="connsiteX80" fmla="*/ 1324731 w 12205625"/>
              <a:gd name="connsiteY80" fmla="*/ 6303686 h 6867525"/>
              <a:gd name="connsiteX81" fmla="*/ 1326521 w 12205625"/>
              <a:gd name="connsiteY81" fmla="*/ 6298373 h 6867525"/>
              <a:gd name="connsiteX82" fmla="*/ 1328906 w 12205625"/>
              <a:gd name="connsiteY82" fmla="*/ 6293715 h 6867525"/>
              <a:gd name="connsiteX83" fmla="*/ 1331814 w 12205625"/>
              <a:gd name="connsiteY83" fmla="*/ 6289706 h 6867525"/>
              <a:gd name="connsiteX84" fmla="*/ 1335175 w 12205625"/>
              <a:gd name="connsiteY84" fmla="*/ 6286336 h 6867525"/>
              <a:gd name="connsiteX85" fmla="*/ 1338918 w 12205625"/>
              <a:gd name="connsiteY85" fmla="*/ 6283597 h 6867525"/>
              <a:gd name="connsiteX86" fmla="*/ 1342973 w 12205625"/>
              <a:gd name="connsiteY86" fmla="*/ 6281481 h 6867525"/>
              <a:gd name="connsiteX87" fmla="*/ 1347269 w 12205625"/>
              <a:gd name="connsiteY87" fmla="*/ 6279980 h 6867525"/>
              <a:gd name="connsiteX88" fmla="*/ 1351735 w 12205625"/>
              <a:gd name="connsiteY88" fmla="*/ 6279086 h 6867525"/>
              <a:gd name="connsiteX89" fmla="*/ 1356301 w 12205625"/>
              <a:gd name="connsiteY89" fmla="*/ 6278789 h 6867525"/>
              <a:gd name="connsiteX90" fmla="*/ 1112787 w 12205625"/>
              <a:gd name="connsiteY90" fmla="*/ 6240657 h 6867525"/>
              <a:gd name="connsiteX91" fmla="*/ 1111239 w 12205625"/>
              <a:gd name="connsiteY91" fmla="*/ 6240980 h 6867525"/>
              <a:gd name="connsiteX92" fmla="*/ 1109975 w 12205625"/>
              <a:gd name="connsiteY92" fmla="*/ 6241860 h 6867525"/>
              <a:gd name="connsiteX93" fmla="*/ 1109122 w 12205625"/>
              <a:gd name="connsiteY93" fmla="*/ 6243166 h 6867525"/>
              <a:gd name="connsiteX94" fmla="*/ 1108810 w 12205625"/>
              <a:gd name="connsiteY94" fmla="*/ 6244764 h 6867525"/>
              <a:gd name="connsiteX95" fmla="*/ 1108810 w 12205625"/>
              <a:gd name="connsiteY95" fmla="*/ 6388168 h 6867525"/>
              <a:gd name="connsiteX96" fmla="*/ 1109122 w 12205625"/>
              <a:gd name="connsiteY96" fmla="*/ 6389767 h 6867525"/>
              <a:gd name="connsiteX97" fmla="*/ 1109975 w 12205625"/>
              <a:gd name="connsiteY97" fmla="*/ 6391072 h 6867525"/>
              <a:gd name="connsiteX98" fmla="*/ 1111239 w 12205625"/>
              <a:gd name="connsiteY98" fmla="*/ 6391952 h 6867525"/>
              <a:gd name="connsiteX99" fmla="*/ 1112787 w 12205625"/>
              <a:gd name="connsiteY99" fmla="*/ 6392275 h 6867525"/>
              <a:gd name="connsiteX100" fmla="*/ 1149737 w 12205625"/>
              <a:gd name="connsiteY100" fmla="*/ 6392275 h 6867525"/>
              <a:gd name="connsiteX101" fmla="*/ 1151285 w 12205625"/>
              <a:gd name="connsiteY101" fmla="*/ 6391952 h 6867525"/>
              <a:gd name="connsiteX102" fmla="*/ 1152550 w 12205625"/>
              <a:gd name="connsiteY102" fmla="*/ 6391072 h 6867525"/>
              <a:gd name="connsiteX103" fmla="*/ 1153403 w 12205625"/>
              <a:gd name="connsiteY103" fmla="*/ 6389767 h 6867525"/>
              <a:gd name="connsiteX104" fmla="*/ 1153715 w 12205625"/>
              <a:gd name="connsiteY104" fmla="*/ 6388168 h 6867525"/>
              <a:gd name="connsiteX105" fmla="*/ 1153715 w 12205625"/>
              <a:gd name="connsiteY105" fmla="*/ 6244764 h 6867525"/>
              <a:gd name="connsiteX106" fmla="*/ 1153403 w 12205625"/>
              <a:gd name="connsiteY106" fmla="*/ 6243166 h 6867525"/>
              <a:gd name="connsiteX107" fmla="*/ 1152550 w 12205625"/>
              <a:gd name="connsiteY107" fmla="*/ 6241860 h 6867525"/>
              <a:gd name="connsiteX108" fmla="*/ 1151285 w 12205625"/>
              <a:gd name="connsiteY108" fmla="*/ 6240980 h 6867525"/>
              <a:gd name="connsiteX109" fmla="*/ 1149737 w 12205625"/>
              <a:gd name="connsiteY109" fmla="*/ 6240657 h 6867525"/>
              <a:gd name="connsiteX110" fmla="*/ 1112787 w 12205625"/>
              <a:gd name="connsiteY110" fmla="*/ 6240657 h 6867525"/>
              <a:gd name="connsiteX111" fmla="*/ 1261092 w 12205625"/>
              <a:gd name="connsiteY111" fmla="*/ 6239132 h 6867525"/>
              <a:gd name="connsiteX112" fmla="*/ 1256377 w 12205625"/>
              <a:gd name="connsiteY112" fmla="*/ 6239375 h 6867525"/>
              <a:gd name="connsiteX113" fmla="*/ 1251232 w 12205625"/>
              <a:gd name="connsiteY113" fmla="*/ 6240162 h 6867525"/>
              <a:gd name="connsiteX114" fmla="*/ 1245866 w 12205625"/>
              <a:gd name="connsiteY114" fmla="*/ 6241577 h 6867525"/>
              <a:gd name="connsiteX115" fmla="*/ 1240486 w 12205625"/>
              <a:gd name="connsiteY115" fmla="*/ 6243708 h 6867525"/>
              <a:gd name="connsiteX116" fmla="*/ 1235300 w 12205625"/>
              <a:gd name="connsiteY116" fmla="*/ 6246639 h 6867525"/>
              <a:gd name="connsiteX117" fmla="*/ 1230515 w 12205625"/>
              <a:gd name="connsiteY117" fmla="*/ 6250458 h 6867525"/>
              <a:gd name="connsiteX118" fmla="*/ 1226340 w 12205625"/>
              <a:gd name="connsiteY118" fmla="*/ 6255248 h 6867525"/>
              <a:gd name="connsiteX119" fmla="*/ 1222981 w 12205625"/>
              <a:gd name="connsiteY119" fmla="*/ 6261097 h 6867525"/>
              <a:gd name="connsiteX120" fmla="*/ 1222981 w 12205625"/>
              <a:gd name="connsiteY120" fmla="*/ 6244763 h 6867525"/>
              <a:gd name="connsiteX121" fmla="*/ 1222669 w 12205625"/>
              <a:gd name="connsiteY121" fmla="*/ 6243165 h 6867525"/>
              <a:gd name="connsiteX122" fmla="*/ 1221816 w 12205625"/>
              <a:gd name="connsiteY122" fmla="*/ 6241860 h 6867525"/>
              <a:gd name="connsiteX123" fmla="*/ 1220552 w 12205625"/>
              <a:gd name="connsiteY123" fmla="*/ 6240979 h 6867525"/>
              <a:gd name="connsiteX124" fmla="*/ 1219003 w 12205625"/>
              <a:gd name="connsiteY124" fmla="*/ 6240657 h 6867525"/>
              <a:gd name="connsiteX125" fmla="*/ 1183531 w 12205625"/>
              <a:gd name="connsiteY125" fmla="*/ 6240657 h 6867525"/>
              <a:gd name="connsiteX126" fmla="*/ 1181983 w 12205625"/>
              <a:gd name="connsiteY126" fmla="*/ 6240979 h 6867525"/>
              <a:gd name="connsiteX127" fmla="*/ 1180719 w 12205625"/>
              <a:gd name="connsiteY127" fmla="*/ 6241860 h 6867525"/>
              <a:gd name="connsiteX128" fmla="*/ 1179866 w 12205625"/>
              <a:gd name="connsiteY128" fmla="*/ 6243165 h 6867525"/>
              <a:gd name="connsiteX129" fmla="*/ 1179554 w 12205625"/>
              <a:gd name="connsiteY129" fmla="*/ 6244763 h 6867525"/>
              <a:gd name="connsiteX130" fmla="*/ 1179554 w 12205625"/>
              <a:gd name="connsiteY130" fmla="*/ 6388167 h 6867525"/>
              <a:gd name="connsiteX131" fmla="*/ 1179866 w 12205625"/>
              <a:gd name="connsiteY131" fmla="*/ 6389767 h 6867525"/>
              <a:gd name="connsiteX132" fmla="*/ 1180719 w 12205625"/>
              <a:gd name="connsiteY132" fmla="*/ 6391073 h 6867525"/>
              <a:gd name="connsiteX133" fmla="*/ 1181983 w 12205625"/>
              <a:gd name="connsiteY133" fmla="*/ 6391953 h 6867525"/>
              <a:gd name="connsiteX134" fmla="*/ 1183531 w 12205625"/>
              <a:gd name="connsiteY134" fmla="*/ 6392276 h 6867525"/>
              <a:gd name="connsiteX135" fmla="*/ 1220480 w 12205625"/>
              <a:gd name="connsiteY135" fmla="*/ 6392276 h 6867525"/>
              <a:gd name="connsiteX136" fmla="*/ 1222029 w 12205625"/>
              <a:gd name="connsiteY136" fmla="*/ 6391953 h 6867525"/>
              <a:gd name="connsiteX137" fmla="*/ 1223293 w 12205625"/>
              <a:gd name="connsiteY137" fmla="*/ 6391073 h 6867525"/>
              <a:gd name="connsiteX138" fmla="*/ 1224145 w 12205625"/>
              <a:gd name="connsiteY138" fmla="*/ 6389767 h 6867525"/>
              <a:gd name="connsiteX139" fmla="*/ 1224458 w 12205625"/>
              <a:gd name="connsiteY139" fmla="*/ 6388167 h 6867525"/>
              <a:gd name="connsiteX140" fmla="*/ 1224458 w 12205625"/>
              <a:gd name="connsiteY140" fmla="*/ 6326074 h 6867525"/>
              <a:gd name="connsiteX141" fmla="*/ 1224850 w 12205625"/>
              <a:gd name="connsiteY141" fmla="*/ 6318306 h 6867525"/>
              <a:gd name="connsiteX142" fmla="*/ 1225983 w 12205625"/>
              <a:gd name="connsiteY142" fmla="*/ 6311451 h 6867525"/>
              <a:gd name="connsiteX143" fmla="*/ 1227790 w 12205625"/>
              <a:gd name="connsiteY143" fmla="*/ 6305471 h 6867525"/>
              <a:gd name="connsiteX144" fmla="*/ 1230208 w 12205625"/>
              <a:gd name="connsiteY144" fmla="*/ 6300332 h 6867525"/>
              <a:gd name="connsiteX145" fmla="*/ 1233170 w 12205625"/>
              <a:gd name="connsiteY145" fmla="*/ 6295995 h 6867525"/>
              <a:gd name="connsiteX146" fmla="*/ 1236612 w 12205625"/>
              <a:gd name="connsiteY146" fmla="*/ 6292426 h 6867525"/>
              <a:gd name="connsiteX147" fmla="*/ 1240468 w 12205625"/>
              <a:gd name="connsiteY147" fmla="*/ 6289587 h 6867525"/>
              <a:gd name="connsiteX148" fmla="*/ 1244673 w 12205625"/>
              <a:gd name="connsiteY148" fmla="*/ 6287442 h 6867525"/>
              <a:gd name="connsiteX149" fmla="*/ 1249162 w 12205625"/>
              <a:gd name="connsiteY149" fmla="*/ 6285955 h 6867525"/>
              <a:gd name="connsiteX150" fmla="*/ 1253869 w 12205625"/>
              <a:gd name="connsiteY150" fmla="*/ 6285090 h 6867525"/>
              <a:gd name="connsiteX151" fmla="*/ 1258729 w 12205625"/>
              <a:gd name="connsiteY151" fmla="*/ 6284809 h 6867525"/>
              <a:gd name="connsiteX152" fmla="*/ 1260952 w 12205625"/>
              <a:gd name="connsiteY152" fmla="*/ 6284837 h 6867525"/>
              <a:gd name="connsiteX153" fmla="*/ 1263083 w 12205625"/>
              <a:gd name="connsiteY153" fmla="*/ 6284927 h 6867525"/>
              <a:gd name="connsiteX154" fmla="*/ 1265174 w 12205625"/>
              <a:gd name="connsiteY154" fmla="*/ 6285090 h 6867525"/>
              <a:gd name="connsiteX155" fmla="*/ 1267247 w 12205625"/>
              <a:gd name="connsiteY155" fmla="*/ 6285334 h 6867525"/>
              <a:gd name="connsiteX156" fmla="*/ 1268824 w 12205625"/>
              <a:gd name="connsiteY156" fmla="*/ 6285238 h 6867525"/>
              <a:gd name="connsiteX157" fmla="*/ 1269700 w 12205625"/>
              <a:gd name="connsiteY157" fmla="*/ 6284809 h 6867525"/>
              <a:gd name="connsiteX158" fmla="*/ 1270201 w 12205625"/>
              <a:gd name="connsiteY158" fmla="*/ 6284564 h 6867525"/>
              <a:gd name="connsiteX159" fmla="*/ 1271230 w 12205625"/>
              <a:gd name="connsiteY159" fmla="*/ 6283414 h 6867525"/>
              <a:gd name="connsiteX160" fmla="*/ 1271768 w 12205625"/>
              <a:gd name="connsiteY160" fmla="*/ 6281888 h 6867525"/>
              <a:gd name="connsiteX161" fmla="*/ 1274797 w 12205625"/>
              <a:gd name="connsiteY161" fmla="*/ 6261097 h 6867525"/>
              <a:gd name="connsiteX162" fmla="*/ 1277103 w 12205625"/>
              <a:gd name="connsiteY162" fmla="*/ 6245263 h 6867525"/>
              <a:gd name="connsiteX163" fmla="*/ 1277040 w 12205625"/>
              <a:gd name="connsiteY163" fmla="*/ 6243692 h 6867525"/>
              <a:gd name="connsiteX164" fmla="*/ 1270665 w 12205625"/>
              <a:gd name="connsiteY164" fmla="*/ 6240006 h 6867525"/>
              <a:gd name="connsiteX165" fmla="*/ 1263927 w 12205625"/>
              <a:gd name="connsiteY165" fmla="*/ 6239237 h 6867525"/>
              <a:gd name="connsiteX166" fmla="*/ 1261092 w 12205625"/>
              <a:gd name="connsiteY166" fmla="*/ 6239132 h 6867525"/>
              <a:gd name="connsiteX167" fmla="*/ 1023405 w 12205625"/>
              <a:gd name="connsiteY167" fmla="*/ 6236996 h 6867525"/>
              <a:gd name="connsiteX168" fmla="*/ 1016606 w 12205625"/>
              <a:gd name="connsiteY168" fmla="*/ 6237334 h 6867525"/>
              <a:gd name="connsiteX169" fmla="*/ 1010217 w 12205625"/>
              <a:gd name="connsiteY169" fmla="*/ 6238297 h 6867525"/>
              <a:gd name="connsiteX170" fmla="*/ 1004279 w 12205625"/>
              <a:gd name="connsiteY170" fmla="*/ 6239809 h 6867525"/>
              <a:gd name="connsiteX171" fmla="*/ 998829 w 12205625"/>
              <a:gd name="connsiteY171" fmla="*/ 6241797 h 6867525"/>
              <a:gd name="connsiteX172" fmla="*/ 993906 w 12205625"/>
              <a:gd name="connsiteY172" fmla="*/ 6244183 h 6867525"/>
              <a:gd name="connsiteX173" fmla="*/ 989551 w 12205625"/>
              <a:gd name="connsiteY173" fmla="*/ 6246894 h 6867525"/>
              <a:gd name="connsiteX174" fmla="*/ 985800 w 12205625"/>
              <a:gd name="connsiteY174" fmla="*/ 6249853 h 6867525"/>
              <a:gd name="connsiteX175" fmla="*/ 980272 w 12205625"/>
              <a:gd name="connsiteY175" fmla="*/ 6256215 h 6867525"/>
              <a:gd name="connsiteX176" fmla="*/ 980272 w 12205625"/>
              <a:gd name="connsiteY176" fmla="*/ 6244763 h 6867525"/>
              <a:gd name="connsiteX177" fmla="*/ 979959 w 12205625"/>
              <a:gd name="connsiteY177" fmla="*/ 6243165 h 6867525"/>
              <a:gd name="connsiteX178" fmla="*/ 979107 w 12205625"/>
              <a:gd name="connsiteY178" fmla="*/ 6241860 h 6867525"/>
              <a:gd name="connsiteX179" fmla="*/ 977842 w 12205625"/>
              <a:gd name="connsiteY179" fmla="*/ 6240979 h 6867525"/>
              <a:gd name="connsiteX180" fmla="*/ 976293 w 12205625"/>
              <a:gd name="connsiteY180" fmla="*/ 6240657 h 6867525"/>
              <a:gd name="connsiteX181" fmla="*/ 940822 w 12205625"/>
              <a:gd name="connsiteY181" fmla="*/ 6240657 h 6867525"/>
              <a:gd name="connsiteX182" fmla="*/ 939273 w 12205625"/>
              <a:gd name="connsiteY182" fmla="*/ 6240979 h 6867525"/>
              <a:gd name="connsiteX183" fmla="*/ 938008 w 12205625"/>
              <a:gd name="connsiteY183" fmla="*/ 6241860 h 6867525"/>
              <a:gd name="connsiteX184" fmla="*/ 937156 w 12205625"/>
              <a:gd name="connsiteY184" fmla="*/ 6243165 h 6867525"/>
              <a:gd name="connsiteX185" fmla="*/ 936843 w 12205625"/>
              <a:gd name="connsiteY185" fmla="*/ 6244763 h 6867525"/>
              <a:gd name="connsiteX186" fmla="*/ 936843 w 12205625"/>
              <a:gd name="connsiteY186" fmla="*/ 6446130 h 6867525"/>
              <a:gd name="connsiteX187" fmla="*/ 937156 w 12205625"/>
              <a:gd name="connsiteY187" fmla="*/ 6447729 h 6867525"/>
              <a:gd name="connsiteX188" fmla="*/ 938008 w 12205625"/>
              <a:gd name="connsiteY188" fmla="*/ 6449034 h 6867525"/>
              <a:gd name="connsiteX189" fmla="*/ 939273 w 12205625"/>
              <a:gd name="connsiteY189" fmla="*/ 6449914 h 6867525"/>
              <a:gd name="connsiteX190" fmla="*/ 940822 w 12205625"/>
              <a:gd name="connsiteY190" fmla="*/ 6450237 h 6867525"/>
              <a:gd name="connsiteX191" fmla="*/ 977771 w 12205625"/>
              <a:gd name="connsiteY191" fmla="*/ 6450237 h 6867525"/>
              <a:gd name="connsiteX192" fmla="*/ 979319 w 12205625"/>
              <a:gd name="connsiteY192" fmla="*/ 6449914 h 6867525"/>
              <a:gd name="connsiteX193" fmla="*/ 980583 w 12205625"/>
              <a:gd name="connsiteY193" fmla="*/ 6449034 h 6867525"/>
              <a:gd name="connsiteX194" fmla="*/ 981436 w 12205625"/>
              <a:gd name="connsiteY194" fmla="*/ 6447729 h 6867525"/>
              <a:gd name="connsiteX195" fmla="*/ 981748 w 12205625"/>
              <a:gd name="connsiteY195" fmla="*/ 6446130 h 6867525"/>
              <a:gd name="connsiteX196" fmla="*/ 981748 w 12205625"/>
              <a:gd name="connsiteY196" fmla="*/ 6380378 h 6867525"/>
              <a:gd name="connsiteX197" fmla="*/ 984638 w 12205625"/>
              <a:gd name="connsiteY197" fmla="*/ 6383485 h 6867525"/>
              <a:gd name="connsiteX198" fmla="*/ 988188 w 12205625"/>
              <a:gd name="connsiteY198" fmla="*/ 6386364 h 6867525"/>
              <a:gd name="connsiteX199" fmla="*/ 992369 w 12205625"/>
              <a:gd name="connsiteY199" fmla="*/ 6388958 h 6867525"/>
              <a:gd name="connsiteX200" fmla="*/ 997148 w 12205625"/>
              <a:gd name="connsiteY200" fmla="*/ 6391208 h 6867525"/>
              <a:gd name="connsiteX201" fmla="*/ 1002495 w 12205625"/>
              <a:gd name="connsiteY201" fmla="*/ 6393057 h 6867525"/>
              <a:gd name="connsiteX202" fmla="*/ 1008379 w 12205625"/>
              <a:gd name="connsiteY202" fmla="*/ 6394450 h 6867525"/>
              <a:gd name="connsiteX203" fmla="*/ 1014768 w 12205625"/>
              <a:gd name="connsiteY203" fmla="*/ 6395327 h 6867525"/>
              <a:gd name="connsiteX204" fmla="*/ 1021631 w 12205625"/>
              <a:gd name="connsiteY204" fmla="*/ 6395632 h 6867525"/>
              <a:gd name="connsiteX205" fmla="*/ 1027154 w 12205625"/>
              <a:gd name="connsiteY205" fmla="*/ 6395428 h 6867525"/>
              <a:gd name="connsiteX206" fmla="*/ 1032518 w 12205625"/>
              <a:gd name="connsiteY206" fmla="*/ 6394823 h 6867525"/>
              <a:gd name="connsiteX207" fmla="*/ 1037712 w 12205625"/>
              <a:gd name="connsiteY207" fmla="*/ 6393828 h 6867525"/>
              <a:gd name="connsiteX208" fmla="*/ 1042728 w 12205625"/>
              <a:gd name="connsiteY208" fmla="*/ 6392455 h 6867525"/>
              <a:gd name="connsiteX209" fmla="*/ 1047556 w 12205625"/>
              <a:gd name="connsiteY209" fmla="*/ 6390715 h 6867525"/>
              <a:gd name="connsiteX210" fmla="*/ 1052186 w 12205625"/>
              <a:gd name="connsiteY210" fmla="*/ 6388620 h 6867525"/>
              <a:gd name="connsiteX211" fmla="*/ 1056609 w 12205625"/>
              <a:gd name="connsiteY211" fmla="*/ 6386181 h 6867525"/>
              <a:gd name="connsiteX212" fmla="*/ 1060815 w 12205625"/>
              <a:gd name="connsiteY212" fmla="*/ 6383409 h 6867525"/>
              <a:gd name="connsiteX213" fmla="*/ 1064716 w 12205625"/>
              <a:gd name="connsiteY213" fmla="*/ 6380378 h 6867525"/>
              <a:gd name="connsiteX214" fmla="*/ 1068540 w 12205625"/>
              <a:gd name="connsiteY214" fmla="*/ 6376912 h 6867525"/>
              <a:gd name="connsiteX215" fmla="*/ 1072040 w 12205625"/>
              <a:gd name="connsiteY215" fmla="*/ 6373209 h 6867525"/>
              <a:gd name="connsiteX216" fmla="*/ 1075285 w 12205625"/>
              <a:gd name="connsiteY216" fmla="*/ 6369219 h 6867525"/>
              <a:gd name="connsiteX217" fmla="*/ 1078266 w 12205625"/>
              <a:gd name="connsiteY217" fmla="*/ 6364953 h 6867525"/>
              <a:gd name="connsiteX218" fmla="*/ 1080974 w 12205625"/>
              <a:gd name="connsiteY218" fmla="*/ 6360423 h 6867525"/>
              <a:gd name="connsiteX219" fmla="*/ 1083399 w 12205625"/>
              <a:gd name="connsiteY219" fmla="*/ 6355639 h 6867525"/>
              <a:gd name="connsiteX220" fmla="*/ 1084033 w 12205625"/>
              <a:gd name="connsiteY220" fmla="*/ 6354143 h 6867525"/>
              <a:gd name="connsiteX221" fmla="*/ 1087361 w 12205625"/>
              <a:gd name="connsiteY221" fmla="*/ 6345356 h 6867525"/>
              <a:gd name="connsiteX222" fmla="*/ 1088880 w 12205625"/>
              <a:gd name="connsiteY222" fmla="*/ 6339880 h 6867525"/>
              <a:gd name="connsiteX223" fmla="*/ 1090080 w 12205625"/>
              <a:gd name="connsiteY223" fmla="*/ 6334177 h 6867525"/>
              <a:gd name="connsiteX224" fmla="*/ 1090944 w 12205625"/>
              <a:gd name="connsiteY224" fmla="*/ 6328315 h 6867525"/>
              <a:gd name="connsiteX225" fmla="*/ 1091472 w 12205625"/>
              <a:gd name="connsiteY225" fmla="*/ 6322249 h 6867525"/>
              <a:gd name="connsiteX226" fmla="*/ 1091650 w 12205625"/>
              <a:gd name="connsiteY226" fmla="*/ 6316009 h 6867525"/>
              <a:gd name="connsiteX227" fmla="*/ 1091491 w 12205625"/>
              <a:gd name="connsiteY227" fmla="*/ 6309886 h 6867525"/>
              <a:gd name="connsiteX228" fmla="*/ 1091019 w 12205625"/>
              <a:gd name="connsiteY228" fmla="*/ 6303923 h 6867525"/>
              <a:gd name="connsiteX229" fmla="*/ 1090238 w 12205625"/>
              <a:gd name="connsiteY229" fmla="*/ 6298132 h 6867525"/>
              <a:gd name="connsiteX230" fmla="*/ 1089154 w 12205625"/>
              <a:gd name="connsiteY230" fmla="*/ 6292525 h 6867525"/>
              <a:gd name="connsiteX231" fmla="*/ 1087771 w 12205625"/>
              <a:gd name="connsiteY231" fmla="*/ 6287115 h 6867525"/>
              <a:gd name="connsiteX232" fmla="*/ 1086094 w 12205625"/>
              <a:gd name="connsiteY232" fmla="*/ 6281913 h 6867525"/>
              <a:gd name="connsiteX233" fmla="*/ 1084862 w 12205625"/>
              <a:gd name="connsiteY233" fmla="*/ 6278790 h 6867525"/>
              <a:gd name="connsiteX234" fmla="*/ 1084129 w 12205625"/>
              <a:gd name="connsiteY234" fmla="*/ 6276931 h 6867525"/>
              <a:gd name="connsiteX235" fmla="*/ 1081880 w 12205625"/>
              <a:gd name="connsiteY235" fmla="*/ 6272183 h 6867525"/>
              <a:gd name="connsiteX236" fmla="*/ 1079352 w 12205625"/>
              <a:gd name="connsiteY236" fmla="*/ 6267679 h 6867525"/>
              <a:gd name="connsiteX237" fmla="*/ 1076551 w 12205625"/>
              <a:gd name="connsiteY237" fmla="*/ 6263433 h 6867525"/>
              <a:gd name="connsiteX238" fmla="*/ 1073481 w 12205625"/>
              <a:gd name="connsiteY238" fmla="*/ 6259457 h 6867525"/>
              <a:gd name="connsiteX239" fmla="*/ 1070556 w 12205625"/>
              <a:gd name="connsiteY239" fmla="*/ 6256215 h 6867525"/>
              <a:gd name="connsiteX240" fmla="*/ 1066554 w 12205625"/>
              <a:gd name="connsiteY240" fmla="*/ 6252361 h 6867525"/>
              <a:gd name="connsiteX241" fmla="*/ 1062708 w 12205625"/>
              <a:gd name="connsiteY241" fmla="*/ 6249267 h 6867525"/>
              <a:gd name="connsiteX242" fmla="*/ 1058613 w 12205625"/>
              <a:gd name="connsiteY242" fmla="*/ 6246491 h 6867525"/>
              <a:gd name="connsiteX243" fmla="*/ 1054275 w 12205625"/>
              <a:gd name="connsiteY243" fmla="*/ 6244045 h 6867525"/>
              <a:gd name="connsiteX244" fmla="*/ 1049697 w 12205625"/>
              <a:gd name="connsiteY244" fmla="*/ 6241942 h 6867525"/>
              <a:gd name="connsiteX245" fmla="*/ 1044886 w 12205625"/>
              <a:gd name="connsiteY245" fmla="*/ 6240194 h 6867525"/>
              <a:gd name="connsiteX246" fmla="*/ 1039847 w 12205625"/>
              <a:gd name="connsiteY246" fmla="*/ 6238813 h 6867525"/>
              <a:gd name="connsiteX247" fmla="*/ 1034583 w 12205625"/>
              <a:gd name="connsiteY247" fmla="*/ 6237812 h 6867525"/>
              <a:gd name="connsiteX248" fmla="*/ 1029101 w 12205625"/>
              <a:gd name="connsiteY248" fmla="*/ 6237202 h 6867525"/>
              <a:gd name="connsiteX249" fmla="*/ 1023405 w 12205625"/>
              <a:gd name="connsiteY249" fmla="*/ 6236996 h 6867525"/>
              <a:gd name="connsiteX250" fmla="*/ 1524474 w 12205625"/>
              <a:gd name="connsiteY250" fmla="*/ 6236081 h 6867525"/>
              <a:gd name="connsiteX251" fmla="*/ 1518900 w 12205625"/>
              <a:gd name="connsiteY251" fmla="*/ 6236268 h 6867525"/>
              <a:gd name="connsiteX252" fmla="*/ 1513439 w 12205625"/>
              <a:gd name="connsiteY252" fmla="*/ 6236823 h 6867525"/>
              <a:gd name="connsiteX253" fmla="*/ 1508104 w 12205625"/>
              <a:gd name="connsiteY253" fmla="*/ 6237736 h 6867525"/>
              <a:gd name="connsiteX254" fmla="*/ 1502907 w 12205625"/>
              <a:gd name="connsiteY254" fmla="*/ 6238997 h 6867525"/>
              <a:gd name="connsiteX255" fmla="*/ 1497861 w 12205625"/>
              <a:gd name="connsiteY255" fmla="*/ 6240598 h 6867525"/>
              <a:gd name="connsiteX256" fmla="*/ 1492978 w 12205625"/>
              <a:gd name="connsiteY256" fmla="*/ 6242529 h 6867525"/>
              <a:gd name="connsiteX257" fmla="*/ 1488271 w 12205625"/>
              <a:gd name="connsiteY257" fmla="*/ 6244779 h 6867525"/>
              <a:gd name="connsiteX258" fmla="*/ 1483751 w 12205625"/>
              <a:gd name="connsiteY258" fmla="*/ 6247341 h 6867525"/>
              <a:gd name="connsiteX259" fmla="*/ 1479433 w 12205625"/>
              <a:gd name="connsiteY259" fmla="*/ 6250204 h 6867525"/>
              <a:gd name="connsiteX260" fmla="*/ 1475328 w 12205625"/>
              <a:gd name="connsiteY260" fmla="*/ 6253359 h 6867525"/>
              <a:gd name="connsiteX261" fmla="*/ 1471448 w 12205625"/>
              <a:gd name="connsiteY261" fmla="*/ 6256796 h 6867525"/>
              <a:gd name="connsiteX262" fmla="*/ 1467808 w 12205625"/>
              <a:gd name="connsiteY262" fmla="*/ 6260506 h 6867525"/>
              <a:gd name="connsiteX263" fmla="*/ 1464417 w 12205625"/>
              <a:gd name="connsiteY263" fmla="*/ 6264480 h 6867525"/>
              <a:gd name="connsiteX264" fmla="*/ 1461291 w 12205625"/>
              <a:gd name="connsiteY264" fmla="*/ 6268707 h 6867525"/>
              <a:gd name="connsiteX265" fmla="*/ 1458440 w 12205625"/>
              <a:gd name="connsiteY265" fmla="*/ 6273179 h 6867525"/>
              <a:gd name="connsiteX266" fmla="*/ 1455878 w 12205625"/>
              <a:gd name="connsiteY266" fmla="*/ 6277886 h 6867525"/>
              <a:gd name="connsiteX267" fmla="*/ 1453616 w 12205625"/>
              <a:gd name="connsiteY267" fmla="*/ 6282819 h 6867525"/>
              <a:gd name="connsiteX268" fmla="*/ 1451663 w 12205625"/>
              <a:gd name="connsiteY268" fmla="*/ 6287986 h 6867525"/>
              <a:gd name="connsiteX269" fmla="*/ 1450047 w 12205625"/>
              <a:gd name="connsiteY269" fmla="*/ 6293322 h 6867525"/>
              <a:gd name="connsiteX270" fmla="*/ 1448764 w 12205625"/>
              <a:gd name="connsiteY270" fmla="*/ 6298874 h 6867525"/>
              <a:gd name="connsiteX271" fmla="*/ 1447832 w 12205625"/>
              <a:gd name="connsiteY271" fmla="*/ 6304614 h 6867525"/>
              <a:gd name="connsiteX272" fmla="*/ 1447263 w 12205625"/>
              <a:gd name="connsiteY272" fmla="*/ 6310532 h 6867525"/>
              <a:gd name="connsiteX273" fmla="*/ 1447071 w 12205625"/>
              <a:gd name="connsiteY273" fmla="*/ 6316619 h 6867525"/>
              <a:gd name="connsiteX274" fmla="*/ 1447252 w 12205625"/>
              <a:gd name="connsiteY274" fmla="*/ 6322418 h 6867525"/>
              <a:gd name="connsiteX275" fmla="*/ 1447788 w 12205625"/>
              <a:gd name="connsiteY275" fmla="*/ 6328066 h 6867525"/>
              <a:gd name="connsiteX276" fmla="*/ 1448667 w 12205625"/>
              <a:gd name="connsiteY276" fmla="*/ 6333554 h 6867525"/>
              <a:gd name="connsiteX277" fmla="*/ 1449877 w 12205625"/>
              <a:gd name="connsiteY277" fmla="*/ 6338874 h 6867525"/>
              <a:gd name="connsiteX278" fmla="*/ 1451408 w 12205625"/>
              <a:gd name="connsiteY278" fmla="*/ 6344017 h 6867525"/>
              <a:gd name="connsiteX279" fmla="*/ 1453247 w 12205625"/>
              <a:gd name="connsiteY279" fmla="*/ 6348975 h 6867525"/>
              <a:gd name="connsiteX280" fmla="*/ 1455383 w 12205625"/>
              <a:gd name="connsiteY280" fmla="*/ 6353738 h 6867525"/>
              <a:gd name="connsiteX281" fmla="*/ 1457805 w 12205625"/>
              <a:gd name="connsiteY281" fmla="*/ 6358299 h 6867525"/>
              <a:gd name="connsiteX282" fmla="*/ 1460500 w 12205625"/>
              <a:gd name="connsiteY282" fmla="*/ 6362650 h 6867525"/>
              <a:gd name="connsiteX283" fmla="*/ 1463458 w 12205625"/>
              <a:gd name="connsiteY283" fmla="*/ 6366781 h 6867525"/>
              <a:gd name="connsiteX284" fmla="*/ 1466666 w 12205625"/>
              <a:gd name="connsiteY284" fmla="*/ 6370685 h 6867525"/>
              <a:gd name="connsiteX285" fmla="*/ 1470114 w 12205625"/>
              <a:gd name="connsiteY285" fmla="*/ 6374352 h 6867525"/>
              <a:gd name="connsiteX286" fmla="*/ 1473789 w 12205625"/>
              <a:gd name="connsiteY286" fmla="*/ 6377775 h 6867525"/>
              <a:gd name="connsiteX287" fmla="*/ 1477681 w 12205625"/>
              <a:gd name="connsiteY287" fmla="*/ 6380944 h 6867525"/>
              <a:gd name="connsiteX288" fmla="*/ 1481778 w 12205625"/>
              <a:gd name="connsiteY288" fmla="*/ 6383852 h 6867525"/>
              <a:gd name="connsiteX289" fmla="*/ 1486067 w 12205625"/>
              <a:gd name="connsiteY289" fmla="*/ 6386489 h 6867525"/>
              <a:gd name="connsiteX290" fmla="*/ 1490538 w 12205625"/>
              <a:gd name="connsiteY290" fmla="*/ 6388849 h 6867525"/>
              <a:gd name="connsiteX291" fmla="*/ 1495179 w 12205625"/>
              <a:gd name="connsiteY291" fmla="*/ 6390921 h 6867525"/>
              <a:gd name="connsiteX292" fmla="*/ 1499979 w 12205625"/>
              <a:gd name="connsiteY292" fmla="*/ 6392697 h 6867525"/>
              <a:gd name="connsiteX293" fmla="*/ 1504925 w 12205625"/>
              <a:gd name="connsiteY293" fmla="*/ 6394170 h 6867525"/>
              <a:gd name="connsiteX294" fmla="*/ 1510007 w 12205625"/>
              <a:gd name="connsiteY294" fmla="*/ 6395330 h 6867525"/>
              <a:gd name="connsiteX295" fmla="*/ 1515213 w 12205625"/>
              <a:gd name="connsiteY295" fmla="*/ 6396169 h 6867525"/>
              <a:gd name="connsiteX296" fmla="*/ 1520531 w 12205625"/>
              <a:gd name="connsiteY296" fmla="*/ 6396678 h 6867525"/>
              <a:gd name="connsiteX297" fmla="*/ 1525950 w 12205625"/>
              <a:gd name="connsiteY297" fmla="*/ 6396850 h 6867525"/>
              <a:gd name="connsiteX298" fmla="*/ 1532781 w 12205625"/>
              <a:gd name="connsiteY298" fmla="*/ 6396579 h 6867525"/>
              <a:gd name="connsiteX299" fmla="*/ 1539291 w 12205625"/>
              <a:gd name="connsiteY299" fmla="*/ 6395786 h 6867525"/>
              <a:gd name="connsiteX300" fmla="*/ 1545476 w 12205625"/>
              <a:gd name="connsiteY300" fmla="*/ 6394505 h 6867525"/>
              <a:gd name="connsiteX301" fmla="*/ 1551333 w 12205625"/>
              <a:gd name="connsiteY301" fmla="*/ 6392768 h 6867525"/>
              <a:gd name="connsiteX302" fmla="*/ 1556859 w 12205625"/>
              <a:gd name="connsiteY302" fmla="*/ 6390607 h 6867525"/>
              <a:gd name="connsiteX303" fmla="*/ 1562051 w 12205625"/>
              <a:gd name="connsiteY303" fmla="*/ 6388054 h 6867525"/>
              <a:gd name="connsiteX304" fmla="*/ 1566905 w 12205625"/>
              <a:gd name="connsiteY304" fmla="*/ 6385143 h 6867525"/>
              <a:gd name="connsiteX305" fmla="*/ 1571417 w 12205625"/>
              <a:gd name="connsiteY305" fmla="*/ 6381905 h 6867525"/>
              <a:gd name="connsiteX306" fmla="*/ 1575585 w 12205625"/>
              <a:gd name="connsiteY306" fmla="*/ 6378373 h 6867525"/>
              <a:gd name="connsiteX307" fmla="*/ 1579405 w 12205625"/>
              <a:gd name="connsiteY307" fmla="*/ 6374579 h 6867525"/>
              <a:gd name="connsiteX308" fmla="*/ 1582873 w 12205625"/>
              <a:gd name="connsiteY308" fmla="*/ 6370556 h 6867525"/>
              <a:gd name="connsiteX309" fmla="*/ 1585988 w 12205625"/>
              <a:gd name="connsiteY309" fmla="*/ 6366337 h 6867525"/>
              <a:gd name="connsiteX310" fmla="*/ 1588744 w 12205625"/>
              <a:gd name="connsiteY310" fmla="*/ 6361953 h 6867525"/>
              <a:gd name="connsiteX311" fmla="*/ 1591139 w 12205625"/>
              <a:gd name="connsiteY311" fmla="*/ 6357438 h 6867525"/>
              <a:gd name="connsiteX312" fmla="*/ 1592589 w 12205625"/>
              <a:gd name="connsiteY312" fmla="*/ 6354142 h 6867525"/>
              <a:gd name="connsiteX313" fmla="*/ 1593169 w 12205625"/>
              <a:gd name="connsiteY313" fmla="*/ 6352822 h 6867525"/>
              <a:gd name="connsiteX314" fmla="*/ 1594832 w 12205625"/>
              <a:gd name="connsiteY314" fmla="*/ 6348140 h 6867525"/>
              <a:gd name="connsiteX315" fmla="*/ 1595017 w 12205625"/>
              <a:gd name="connsiteY315" fmla="*/ 6346485 h 6867525"/>
              <a:gd name="connsiteX316" fmla="*/ 1594588 w 12205625"/>
              <a:gd name="connsiteY316" fmla="*/ 6344942 h 6867525"/>
              <a:gd name="connsiteX317" fmla="*/ 1593627 w 12205625"/>
              <a:gd name="connsiteY317" fmla="*/ 6343685 h 6867525"/>
              <a:gd name="connsiteX318" fmla="*/ 1592215 w 12205625"/>
              <a:gd name="connsiteY318" fmla="*/ 6342887 h 6867525"/>
              <a:gd name="connsiteX319" fmla="*/ 1559980 w 12205625"/>
              <a:gd name="connsiteY319" fmla="*/ 6332703 h 6867525"/>
              <a:gd name="connsiteX320" fmla="*/ 1558513 w 12205625"/>
              <a:gd name="connsiteY320" fmla="*/ 6332537 h 6867525"/>
              <a:gd name="connsiteX321" fmla="*/ 1557135 w 12205625"/>
              <a:gd name="connsiteY321" fmla="*/ 6332922 h 6867525"/>
              <a:gd name="connsiteX322" fmla="*/ 1555975 w 12205625"/>
              <a:gd name="connsiteY322" fmla="*/ 6333788 h 6867525"/>
              <a:gd name="connsiteX323" fmla="*/ 1555158 w 12205625"/>
              <a:gd name="connsiteY323" fmla="*/ 6335066 h 6867525"/>
              <a:gd name="connsiteX324" fmla="*/ 1553059 w 12205625"/>
              <a:gd name="connsiteY324" fmla="*/ 6339274 h 6867525"/>
              <a:gd name="connsiteX325" fmla="*/ 1550294 w 12205625"/>
              <a:gd name="connsiteY325" fmla="*/ 6343224 h 6867525"/>
              <a:gd name="connsiteX326" fmla="*/ 1546848 w 12205625"/>
              <a:gd name="connsiteY326" fmla="*/ 6346776 h 6867525"/>
              <a:gd name="connsiteX327" fmla="*/ 1542705 w 12205625"/>
              <a:gd name="connsiteY327" fmla="*/ 6349785 h 6867525"/>
              <a:gd name="connsiteX328" fmla="*/ 1537851 w 12205625"/>
              <a:gd name="connsiteY328" fmla="*/ 6352111 h 6867525"/>
              <a:gd name="connsiteX329" fmla="*/ 1532271 w 12205625"/>
              <a:gd name="connsiteY329" fmla="*/ 6353611 h 6867525"/>
              <a:gd name="connsiteX330" fmla="*/ 1525950 w 12205625"/>
              <a:gd name="connsiteY330" fmla="*/ 6354142 h 6867525"/>
              <a:gd name="connsiteX331" fmla="*/ 1520957 w 12205625"/>
              <a:gd name="connsiteY331" fmla="*/ 6353811 h 6867525"/>
              <a:gd name="connsiteX332" fmla="*/ 1516168 w 12205625"/>
              <a:gd name="connsiteY332" fmla="*/ 6352827 h 6867525"/>
              <a:gd name="connsiteX333" fmla="*/ 1511640 w 12205625"/>
              <a:gd name="connsiteY333" fmla="*/ 6351203 h 6867525"/>
              <a:gd name="connsiteX334" fmla="*/ 1507429 w 12205625"/>
              <a:gd name="connsiteY334" fmla="*/ 6348949 h 6867525"/>
              <a:gd name="connsiteX335" fmla="*/ 1503595 w 12205625"/>
              <a:gd name="connsiteY335" fmla="*/ 6346080 h 6867525"/>
              <a:gd name="connsiteX336" fmla="*/ 1500193 w 12205625"/>
              <a:gd name="connsiteY336" fmla="*/ 6342607 h 6867525"/>
              <a:gd name="connsiteX337" fmla="*/ 1497281 w 12205625"/>
              <a:gd name="connsiteY337" fmla="*/ 6338542 h 6867525"/>
              <a:gd name="connsiteX338" fmla="*/ 1494917 w 12205625"/>
              <a:gd name="connsiteY338" fmla="*/ 6333899 h 6867525"/>
              <a:gd name="connsiteX339" fmla="*/ 1493157 w 12205625"/>
              <a:gd name="connsiteY339" fmla="*/ 6328689 h 6867525"/>
              <a:gd name="connsiteX340" fmla="*/ 1492059 w 12205625"/>
              <a:gd name="connsiteY340" fmla="*/ 6322925 h 6867525"/>
              <a:gd name="connsiteX341" fmla="*/ 1491680 w 12205625"/>
              <a:gd name="connsiteY341" fmla="*/ 6316619 h 6867525"/>
              <a:gd name="connsiteX342" fmla="*/ 1492045 w 12205625"/>
              <a:gd name="connsiteY342" fmla="*/ 6310236 h 6867525"/>
              <a:gd name="connsiteX343" fmla="*/ 1493105 w 12205625"/>
              <a:gd name="connsiteY343" fmla="*/ 6304410 h 6867525"/>
              <a:gd name="connsiteX344" fmla="*/ 1494809 w 12205625"/>
              <a:gd name="connsiteY344" fmla="*/ 6299150 h 6867525"/>
              <a:gd name="connsiteX345" fmla="*/ 1497103 w 12205625"/>
              <a:gd name="connsiteY345" fmla="*/ 6294468 h 6867525"/>
              <a:gd name="connsiteX346" fmla="*/ 1499937 w 12205625"/>
              <a:gd name="connsiteY346" fmla="*/ 6290374 h 6867525"/>
              <a:gd name="connsiteX347" fmla="*/ 1503259 w 12205625"/>
              <a:gd name="connsiteY347" fmla="*/ 6286880 h 6867525"/>
              <a:gd name="connsiteX348" fmla="*/ 1507016 w 12205625"/>
              <a:gd name="connsiteY348" fmla="*/ 6283997 h 6867525"/>
              <a:gd name="connsiteX349" fmla="*/ 1511157 w 12205625"/>
              <a:gd name="connsiteY349" fmla="*/ 6281735 h 6867525"/>
              <a:gd name="connsiteX350" fmla="*/ 1515629 w 12205625"/>
              <a:gd name="connsiteY350" fmla="*/ 6280106 h 6867525"/>
              <a:gd name="connsiteX351" fmla="*/ 1520381 w 12205625"/>
              <a:gd name="connsiteY351" fmla="*/ 6279120 h 6867525"/>
              <a:gd name="connsiteX352" fmla="*/ 1525361 w 12205625"/>
              <a:gd name="connsiteY352" fmla="*/ 6278789 h 6867525"/>
              <a:gd name="connsiteX353" fmla="*/ 1531642 w 12205625"/>
              <a:gd name="connsiteY353" fmla="*/ 6279308 h 6867525"/>
              <a:gd name="connsiteX354" fmla="*/ 1537118 w 12205625"/>
              <a:gd name="connsiteY354" fmla="*/ 6280776 h 6867525"/>
              <a:gd name="connsiteX355" fmla="*/ 1541824 w 12205625"/>
              <a:gd name="connsiteY355" fmla="*/ 6283064 h 6867525"/>
              <a:gd name="connsiteX356" fmla="*/ 1545800 w 12205625"/>
              <a:gd name="connsiteY356" fmla="*/ 6286041 h 6867525"/>
              <a:gd name="connsiteX357" fmla="*/ 1549081 w 12205625"/>
              <a:gd name="connsiteY357" fmla="*/ 6289575 h 6867525"/>
              <a:gd name="connsiteX358" fmla="*/ 1551705 w 12205625"/>
              <a:gd name="connsiteY358" fmla="*/ 6293537 h 6867525"/>
              <a:gd name="connsiteX359" fmla="*/ 1553709 w 12205625"/>
              <a:gd name="connsiteY359" fmla="*/ 6297795 h 6867525"/>
              <a:gd name="connsiteX360" fmla="*/ 1554514 w 12205625"/>
              <a:gd name="connsiteY360" fmla="*/ 6299099 h 6867525"/>
              <a:gd name="connsiteX361" fmla="*/ 1555675 w 12205625"/>
              <a:gd name="connsiteY361" fmla="*/ 6299988 h 6867525"/>
              <a:gd name="connsiteX362" fmla="*/ 1557062 w 12205625"/>
              <a:gd name="connsiteY362" fmla="*/ 6300390 h 6867525"/>
              <a:gd name="connsiteX363" fmla="*/ 1558545 w 12205625"/>
              <a:gd name="connsiteY363" fmla="*/ 6300231 h 6867525"/>
              <a:gd name="connsiteX364" fmla="*/ 1591335 w 12205625"/>
              <a:gd name="connsiteY364" fmla="*/ 6290024 h 6867525"/>
              <a:gd name="connsiteX365" fmla="*/ 1592748 w 12205625"/>
              <a:gd name="connsiteY365" fmla="*/ 6289235 h 6867525"/>
              <a:gd name="connsiteX366" fmla="*/ 1593713 w 12205625"/>
              <a:gd name="connsiteY366" fmla="*/ 6287986 h 6867525"/>
              <a:gd name="connsiteX367" fmla="*/ 1594150 w 12205625"/>
              <a:gd name="connsiteY367" fmla="*/ 6286448 h 6867525"/>
              <a:gd name="connsiteX368" fmla="*/ 1593977 w 12205625"/>
              <a:gd name="connsiteY368" fmla="*/ 6284794 h 6867525"/>
              <a:gd name="connsiteX369" fmla="*/ 1592440 w 12205625"/>
              <a:gd name="connsiteY369" fmla="*/ 6280308 h 6867525"/>
              <a:gd name="connsiteX370" fmla="*/ 1591800 w 12205625"/>
              <a:gd name="connsiteY370" fmla="*/ 6278789 h 6867525"/>
              <a:gd name="connsiteX371" fmla="*/ 1590582 w 12205625"/>
              <a:gd name="connsiteY371" fmla="*/ 6275899 h 6867525"/>
              <a:gd name="connsiteX372" fmla="*/ 1588404 w 12205625"/>
              <a:gd name="connsiteY372" fmla="*/ 6271591 h 6867525"/>
              <a:gd name="connsiteX373" fmla="*/ 1585906 w 12205625"/>
              <a:gd name="connsiteY373" fmla="*/ 6267410 h 6867525"/>
              <a:gd name="connsiteX374" fmla="*/ 1583089 w 12205625"/>
              <a:gd name="connsiteY374" fmla="*/ 6263381 h 6867525"/>
              <a:gd name="connsiteX375" fmla="*/ 1579952 w 12205625"/>
              <a:gd name="connsiteY375" fmla="*/ 6259529 h 6867525"/>
              <a:gd name="connsiteX376" fmla="*/ 1576497 w 12205625"/>
              <a:gd name="connsiteY376" fmla="*/ 6255880 h 6867525"/>
              <a:gd name="connsiteX377" fmla="*/ 1572723 w 12205625"/>
              <a:gd name="connsiteY377" fmla="*/ 6252459 h 6867525"/>
              <a:gd name="connsiteX378" fmla="*/ 1568631 w 12205625"/>
              <a:gd name="connsiteY378" fmla="*/ 6249291 h 6867525"/>
              <a:gd name="connsiteX379" fmla="*/ 1564221 w 12205625"/>
              <a:gd name="connsiteY379" fmla="*/ 6246401 h 6867525"/>
              <a:gd name="connsiteX380" fmla="*/ 1559493 w 12205625"/>
              <a:gd name="connsiteY380" fmla="*/ 6243814 h 6867525"/>
              <a:gd name="connsiteX381" fmla="*/ 1554448 w 12205625"/>
              <a:gd name="connsiteY381" fmla="*/ 6241556 h 6867525"/>
              <a:gd name="connsiteX382" fmla="*/ 1549086 w 12205625"/>
              <a:gd name="connsiteY382" fmla="*/ 6239653 h 6867525"/>
              <a:gd name="connsiteX383" fmla="*/ 1543407 w 12205625"/>
              <a:gd name="connsiteY383" fmla="*/ 6238128 h 6867525"/>
              <a:gd name="connsiteX384" fmla="*/ 1537412 w 12205625"/>
              <a:gd name="connsiteY384" fmla="*/ 6237008 h 6867525"/>
              <a:gd name="connsiteX385" fmla="*/ 1531101 w 12205625"/>
              <a:gd name="connsiteY385" fmla="*/ 6236317 h 6867525"/>
              <a:gd name="connsiteX386" fmla="*/ 1524474 w 12205625"/>
              <a:gd name="connsiteY386" fmla="*/ 6236081 h 6867525"/>
              <a:gd name="connsiteX387" fmla="*/ 1356301 w 12205625"/>
              <a:gd name="connsiteY387" fmla="*/ 6236081 h 6867525"/>
              <a:gd name="connsiteX388" fmla="*/ 1350654 w 12205625"/>
              <a:gd name="connsiteY388" fmla="*/ 6236268 h 6867525"/>
              <a:gd name="connsiteX389" fmla="*/ 1345126 w 12205625"/>
              <a:gd name="connsiteY389" fmla="*/ 6236823 h 6867525"/>
              <a:gd name="connsiteX390" fmla="*/ 1339730 w 12205625"/>
              <a:gd name="connsiteY390" fmla="*/ 6237735 h 6867525"/>
              <a:gd name="connsiteX391" fmla="*/ 1334477 w 12205625"/>
              <a:gd name="connsiteY391" fmla="*/ 6238996 h 6867525"/>
              <a:gd name="connsiteX392" fmla="*/ 1329381 w 12205625"/>
              <a:gd name="connsiteY392" fmla="*/ 6240595 h 6867525"/>
              <a:gd name="connsiteX393" fmla="*/ 1324454 w 12205625"/>
              <a:gd name="connsiteY393" fmla="*/ 6242523 h 6867525"/>
              <a:gd name="connsiteX394" fmla="*/ 1319706 w 12205625"/>
              <a:gd name="connsiteY394" fmla="*/ 6244771 h 6867525"/>
              <a:gd name="connsiteX395" fmla="*/ 1315152 w 12205625"/>
              <a:gd name="connsiteY395" fmla="*/ 6247328 h 6867525"/>
              <a:gd name="connsiteX396" fmla="*/ 1310803 w 12205625"/>
              <a:gd name="connsiteY396" fmla="*/ 6250186 h 6867525"/>
              <a:gd name="connsiteX397" fmla="*/ 1306672 w 12205625"/>
              <a:gd name="connsiteY397" fmla="*/ 6253334 h 6867525"/>
              <a:gd name="connsiteX398" fmla="*/ 1302769 w 12205625"/>
              <a:gd name="connsiteY398" fmla="*/ 6256763 h 6867525"/>
              <a:gd name="connsiteX399" fmla="*/ 1299109 w 12205625"/>
              <a:gd name="connsiteY399" fmla="*/ 6260463 h 6867525"/>
              <a:gd name="connsiteX400" fmla="*/ 1295703 w 12205625"/>
              <a:gd name="connsiteY400" fmla="*/ 6264425 h 6867525"/>
              <a:gd name="connsiteX401" fmla="*/ 1292563 w 12205625"/>
              <a:gd name="connsiteY401" fmla="*/ 6268638 h 6867525"/>
              <a:gd name="connsiteX402" fmla="*/ 1289702 w 12205625"/>
              <a:gd name="connsiteY402" fmla="*/ 6273094 h 6867525"/>
              <a:gd name="connsiteX403" fmla="*/ 1287131 w 12205625"/>
              <a:gd name="connsiteY403" fmla="*/ 6277783 h 6867525"/>
              <a:gd name="connsiteX404" fmla="*/ 1284864 w 12205625"/>
              <a:gd name="connsiteY404" fmla="*/ 6282695 h 6867525"/>
              <a:gd name="connsiteX405" fmla="*/ 1282912 w 12205625"/>
              <a:gd name="connsiteY405" fmla="*/ 6287821 h 6867525"/>
              <a:gd name="connsiteX406" fmla="*/ 1281287 w 12205625"/>
              <a:gd name="connsiteY406" fmla="*/ 6293150 h 6867525"/>
              <a:gd name="connsiteX407" fmla="*/ 1280002 w 12205625"/>
              <a:gd name="connsiteY407" fmla="*/ 6298673 h 6867525"/>
              <a:gd name="connsiteX408" fmla="*/ 1279069 w 12205625"/>
              <a:gd name="connsiteY408" fmla="*/ 6304381 h 6867525"/>
              <a:gd name="connsiteX409" fmla="*/ 1278500 w 12205625"/>
              <a:gd name="connsiteY409" fmla="*/ 6310264 h 6867525"/>
              <a:gd name="connsiteX410" fmla="*/ 1278308 w 12205625"/>
              <a:gd name="connsiteY410" fmla="*/ 6316313 h 6867525"/>
              <a:gd name="connsiteX411" fmla="*/ 1278485 w 12205625"/>
              <a:gd name="connsiteY411" fmla="*/ 6322114 h 6867525"/>
              <a:gd name="connsiteX412" fmla="*/ 1279008 w 12205625"/>
              <a:gd name="connsiteY412" fmla="*/ 6327767 h 6867525"/>
              <a:gd name="connsiteX413" fmla="*/ 1279866 w 12205625"/>
              <a:gd name="connsiteY413" fmla="*/ 6333262 h 6867525"/>
              <a:gd name="connsiteX414" fmla="*/ 1281049 w 12205625"/>
              <a:gd name="connsiteY414" fmla="*/ 6338592 h 6867525"/>
              <a:gd name="connsiteX415" fmla="*/ 1282546 w 12205625"/>
              <a:gd name="connsiteY415" fmla="*/ 6343746 h 6867525"/>
              <a:gd name="connsiteX416" fmla="*/ 1284346 w 12205625"/>
              <a:gd name="connsiteY416" fmla="*/ 6348717 h 6867525"/>
              <a:gd name="connsiteX417" fmla="*/ 1286438 w 12205625"/>
              <a:gd name="connsiteY417" fmla="*/ 6353496 h 6867525"/>
              <a:gd name="connsiteX418" fmla="*/ 1288812 w 12205625"/>
              <a:gd name="connsiteY418" fmla="*/ 6358074 h 6867525"/>
              <a:gd name="connsiteX419" fmla="*/ 1291457 w 12205625"/>
              <a:gd name="connsiteY419" fmla="*/ 6362441 h 6867525"/>
              <a:gd name="connsiteX420" fmla="*/ 1294362 w 12205625"/>
              <a:gd name="connsiteY420" fmla="*/ 6366591 h 6867525"/>
              <a:gd name="connsiteX421" fmla="*/ 1297516 w 12205625"/>
              <a:gd name="connsiteY421" fmla="*/ 6370513 h 6867525"/>
              <a:gd name="connsiteX422" fmla="*/ 1300908 w 12205625"/>
              <a:gd name="connsiteY422" fmla="*/ 6374200 h 6867525"/>
              <a:gd name="connsiteX423" fmla="*/ 1304528 w 12205625"/>
              <a:gd name="connsiteY423" fmla="*/ 6377641 h 6867525"/>
              <a:gd name="connsiteX424" fmla="*/ 1308366 w 12205625"/>
              <a:gd name="connsiteY424" fmla="*/ 6380829 h 6867525"/>
              <a:gd name="connsiteX425" fmla="*/ 1312409 w 12205625"/>
              <a:gd name="connsiteY425" fmla="*/ 6383755 h 6867525"/>
              <a:gd name="connsiteX426" fmla="*/ 1316648 w 12205625"/>
              <a:gd name="connsiteY426" fmla="*/ 6386411 h 6867525"/>
              <a:gd name="connsiteX427" fmla="*/ 1321072 w 12205625"/>
              <a:gd name="connsiteY427" fmla="*/ 6388786 h 6867525"/>
              <a:gd name="connsiteX428" fmla="*/ 1325669 w 12205625"/>
              <a:gd name="connsiteY428" fmla="*/ 6390873 h 6867525"/>
              <a:gd name="connsiteX429" fmla="*/ 1330430 w 12205625"/>
              <a:gd name="connsiteY429" fmla="*/ 6392663 h 6867525"/>
              <a:gd name="connsiteX430" fmla="*/ 1335342 w 12205625"/>
              <a:gd name="connsiteY430" fmla="*/ 6394147 h 6867525"/>
              <a:gd name="connsiteX431" fmla="*/ 1340397 w 12205625"/>
              <a:gd name="connsiteY431" fmla="*/ 6395317 h 6867525"/>
              <a:gd name="connsiteX432" fmla="*/ 1345582 w 12205625"/>
              <a:gd name="connsiteY432" fmla="*/ 6396163 h 6867525"/>
              <a:gd name="connsiteX433" fmla="*/ 1350887 w 12205625"/>
              <a:gd name="connsiteY433" fmla="*/ 6396677 h 6867525"/>
              <a:gd name="connsiteX434" fmla="*/ 1356301 w 12205625"/>
              <a:gd name="connsiteY434" fmla="*/ 6396850 h 6867525"/>
              <a:gd name="connsiteX435" fmla="*/ 1361750 w 12205625"/>
              <a:gd name="connsiteY435" fmla="*/ 6396677 h 6867525"/>
              <a:gd name="connsiteX436" fmla="*/ 1367083 w 12205625"/>
              <a:gd name="connsiteY436" fmla="*/ 6396163 h 6867525"/>
              <a:gd name="connsiteX437" fmla="*/ 1372291 w 12205625"/>
              <a:gd name="connsiteY437" fmla="*/ 6395317 h 6867525"/>
              <a:gd name="connsiteX438" fmla="*/ 1377363 w 12205625"/>
              <a:gd name="connsiteY438" fmla="*/ 6394147 h 6867525"/>
              <a:gd name="connsiteX439" fmla="*/ 1382289 w 12205625"/>
              <a:gd name="connsiteY439" fmla="*/ 6392663 h 6867525"/>
              <a:gd name="connsiteX440" fmla="*/ 1387059 w 12205625"/>
              <a:gd name="connsiteY440" fmla="*/ 6390873 h 6867525"/>
              <a:gd name="connsiteX441" fmla="*/ 1391661 w 12205625"/>
              <a:gd name="connsiteY441" fmla="*/ 6388786 h 6867525"/>
              <a:gd name="connsiteX442" fmla="*/ 1396087 w 12205625"/>
              <a:gd name="connsiteY442" fmla="*/ 6386411 h 6867525"/>
              <a:gd name="connsiteX443" fmla="*/ 1400324 w 12205625"/>
              <a:gd name="connsiteY443" fmla="*/ 6383755 h 6867525"/>
              <a:gd name="connsiteX444" fmla="*/ 1404363 w 12205625"/>
              <a:gd name="connsiteY444" fmla="*/ 6380829 h 6867525"/>
              <a:gd name="connsiteX445" fmla="*/ 1408194 w 12205625"/>
              <a:gd name="connsiteY445" fmla="*/ 6377641 h 6867525"/>
              <a:gd name="connsiteX446" fmla="*/ 1411806 w 12205625"/>
              <a:gd name="connsiteY446" fmla="*/ 6374200 h 6867525"/>
              <a:gd name="connsiteX447" fmla="*/ 1415189 w 12205625"/>
              <a:gd name="connsiteY447" fmla="*/ 6370513 h 6867525"/>
              <a:gd name="connsiteX448" fmla="*/ 1418332 w 12205625"/>
              <a:gd name="connsiteY448" fmla="*/ 6366591 h 6867525"/>
              <a:gd name="connsiteX449" fmla="*/ 1421225 w 12205625"/>
              <a:gd name="connsiteY449" fmla="*/ 6362441 h 6867525"/>
              <a:gd name="connsiteX450" fmla="*/ 1423857 w 12205625"/>
              <a:gd name="connsiteY450" fmla="*/ 6358074 h 6867525"/>
              <a:gd name="connsiteX451" fmla="*/ 1425886 w 12205625"/>
              <a:gd name="connsiteY451" fmla="*/ 6354142 h 6867525"/>
              <a:gd name="connsiteX452" fmla="*/ 1428300 w 12205625"/>
              <a:gd name="connsiteY452" fmla="*/ 6348717 h 6867525"/>
              <a:gd name="connsiteX453" fmla="*/ 1430089 w 12205625"/>
              <a:gd name="connsiteY453" fmla="*/ 6343746 h 6867525"/>
              <a:gd name="connsiteX454" fmla="*/ 1431576 w 12205625"/>
              <a:gd name="connsiteY454" fmla="*/ 6338592 h 6867525"/>
              <a:gd name="connsiteX455" fmla="*/ 1432751 w 12205625"/>
              <a:gd name="connsiteY455" fmla="*/ 6333262 h 6867525"/>
              <a:gd name="connsiteX456" fmla="*/ 1433602 w 12205625"/>
              <a:gd name="connsiteY456" fmla="*/ 6327767 h 6867525"/>
              <a:gd name="connsiteX457" fmla="*/ 1434121 w 12205625"/>
              <a:gd name="connsiteY457" fmla="*/ 6322114 h 6867525"/>
              <a:gd name="connsiteX458" fmla="*/ 1434296 w 12205625"/>
              <a:gd name="connsiteY458" fmla="*/ 6316313 h 6867525"/>
              <a:gd name="connsiteX459" fmla="*/ 1434106 w 12205625"/>
              <a:gd name="connsiteY459" fmla="*/ 6310264 h 6867525"/>
              <a:gd name="connsiteX460" fmla="*/ 1433541 w 12205625"/>
              <a:gd name="connsiteY460" fmla="*/ 6304381 h 6867525"/>
              <a:gd name="connsiteX461" fmla="*/ 1432615 w 12205625"/>
              <a:gd name="connsiteY461" fmla="*/ 6298673 h 6867525"/>
              <a:gd name="connsiteX462" fmla="*/ 1431339 w 12205625"/>
              <a:gd name="connsiteY462" fmla="*/ 6293150 h 6867525"/>
              <a:gd name="connsiteX463" fmla="*/ 1429725 w 12205625"/>
              <a:gd name="connsiteY463" fmla="*/ 6287821 h 6867525"/>
              <a:gd name="connsiteX464" fmla="*/ 1427785 w 12205625"/>
              <a:gd name="connsiteY464" fmla="*/ 6282695 h 6867525"/>
              <a:gd name="connsiteX465" fmla="*/ 1425992 w 12205625"/>
              <a:gd name="connsiteY465" fmla="*/ 6278789 h 6867525"/>
              <a:gd name="connsiteX466" fmla="*/ 1425530 w 12205625"/>
              <a:gd name="connsiteY466" fmla="*/ 6277783 h 6867525"/>
              <a:gd name="connsiteX467" fmla="*/ 1422972 w 12205625"/>
              <a:gd name="connsiteY467" fmla="*/ 6273094 h 6867525"/>
              <a:gd name="connsiteX468" fmla="*/ 1420123 w 12205625"/>
              <a:gd name="connsiteY468" fmla="*/ 6268638 h 6867525"/>
              <a:gd name="connsiteX469" fmla="*/ 1416996 w 12205625"/>
              <a:gd name="connsiteY469" fmla="*/ 6264425 h 6867525"/>
              <a:gd name="connsiteX470" fmla="*/ 1413600 w 12205625"/>
              <a:gd name="connsiteY470" fmla="*/ 6260463 h 6867525"/>
              <a:gd name="connsiteX471" fmla="*/ 1409950 w 12205625"/>
              <a:gd name="connsiteY471" fmla="*/ 6256763 h 6867525"/>
              <a:gd name="connsiteX472" fmla="*/ 1406055 w 12205625"/>
              <a:gd name="connsiteY472" fmla="*/ 6253334 h 6867525"/>
              <a:gd name="connsiteX473" fmla="*/ 1401929 w 12205625"/>
              <a:gd name="connsiteY473" fmla="*/ 6250186 h 6867525"/>
              <a:gd name="connsiteX474" fmla="*/ 1397583 w 12205625"/>
              <a:gd name="connsiteY474" fmla="*/ 6247328 h 6867525"/>
              <a:gd name="connsiteX475" fmla="*/ 1393028 w 12205625"/>
              <a:gd name="connsiteY475" fmla="*/ 6244771 h 6867525"/>
              <a:gd name="connsiteX476" fmla="*/ 1388276 w 12205625"/>
              <a:gd name="connsiteY476" fmla="*/ 6242523 h 6867525"/>
              <a:gd name="connsiteX477" fmla="*/ 1383340 w 12205625"/>
              <a:gd name="connsiteY477" fmla="*/ 6240595 h 6867525"/>
              <a:gd name="connsiteX478" fmla="*/ 1378231 w 12205625"/>
              <a:gd name="connsiteY478" fmla="*/ 6238996 h 6867525"/>
              <a:gd name="connsiteX479" fmla="*/ 1372961 w 12205625"/>
              <a:gd name="connsiteY479" fmla="*/ 6237735 h 6867525"/>
              <a:gd name="connsiteX480" fmla="*/ 1367541 w 12205625"/>
              <a:gd name="connsiteY480" fmla="*/ 6236823 h 6867525"/>
              <a:gd name="connsiteX481" fmla="*/ 1361984 w 12205625"/>
              <a:gd name="connsiteY481" fmla="*/ 6236268 h 6867525"/>
              <a:gd name="connsiteX482" fmla="*/ 1356301 w 12205625"/>
              <a:gd name="connsiteY482" fmla="*/ 6236081 h 6867525"/>
              <a:gd name="connsiteX483" fmla="*/ 788397 w 12205625"/>
              <a:gd name="connsiteY483" fmla="*/ 6175982 h 6867525"/>
              <a:gd name="connsiteX484" fmla="*/ 786849 w 12205625"/>
              <a:gd name="connsiteY484" fmla="*/ 6176305 h 6867525"/>
              <a:gd name="connsiteX485" fmla="*/ 785585 w 12205625"/>
              <a:gd name="connsiteY485" fmla="*/ 6177185 h 6867525"/>
              <a:gd name="connsiteX486" fmla="*/ 784733 w 12205625"/>
              <a:gd name="connsiteY486" fmla="*/ 6178491 h 6867525"/>
              <a:gd name="connsiteX487" fmla="*/ 784420 w 12205625"/>
              <a:gd name="connsiteY487" fmla="*/ 6180089 h 6867525"/>
              <a:gd name="connsiteX488" fmla="*/ 784420 w 12205625"/>
              <a:gd name="connsiteY488" fmla="*/ 6388168 h 6867525"/>
              <a:gd name="connsiteX489" fmla="*/ 784733 w 12205625"/>
              <a:gd name="connsiteY489" fmla="*/ 6389767 h 6867525"/>
              <a:gd name="connsiteX490" fmla="*/ 785585 w 12205625"/>
              <a:gd name="connsiteY490" fmla="*/ 6391072 h 6867525"/>
              <a:gd name="connsiteX491" fmla="*/ 786849 w 12205625"/>
              <a:gd name="connsiteY491" fmla="*/ 6391952 h 6867525"/>
              <a:gd name="connsiteX492" fmla="*/ 788397 w 12205625"/>
              <a:gd name="connsiteY492" fmla="*/ 6392275 h 6867525"/>
              <a:gd name="connsiteX493" fmla="*/ 913386 w 12205625"/>
              <a:gd name="connsiteY493" fmla="*/ 6392275 h 6867525"/>
              <a:gd name="connsiteX494" fmla="*/ 914934 w 12205625"/>
              <a:gd name="connsiteY494" fmla="*/ 6391952 h 6867525"/>
              <a:gd name="connsiteX495" fmla="*/ 916198 w 12205625"/>
              <a:gd name="connsiteY495" fmla="*/ 6391072 h 6867525"/>
              <a:gd name="connsiteX496" fmla="*/ 917050 w 12205625"/>
              <a:gd name="connsiteY496" fmla="*/ 6389767 h 6867525"/>
              <a:gd name="connsiteX497" fmla="*/ 917363 w 12205625"/>
              <a:gd name="connsiteY497" fmla="*/ 6388168 h 6867525"/>
              <a:gd name="connsiteX498" fmla="*/ 917363 w 12205625"/>
              <a:gd name="connsiteY498" fmla="*/ 6350622 h 6867525"/>
              <a:gd name="connsiteX499" fmla="*/ 914934 w 12205625"/>
              <a:gd name="connsiteY499" fmla="*/ 6346838 h 6867525"/>
              <a:gd name="connsiteX500" fmla="*/ 835075 w 12205625"/>
              <a:gd name="connsiteY500" fmla="*/ 6346515 h 6867525"/>
              <a:gd name="connsiteX501" fmla="*/ 833527 w 12205625"/>
              <a:gd name="connsiteY501" fmla="*/ 6346192 h 6867525"/>
              <a:gd name="connsiteX502" fmla="*/ 832263 w 12205625"/>
              <a:gd name="connsiteY502" fmla="*/ 6345312 h 6867525"/>
              <a:gd name="connsiteX503" fmla="*/ 831410 w 12205625"/>
              <a:gd name="connsiteY503" fmla="*/ 6344006 h 6867525"/>
              <a:gd name="connsiteX504" fmla="*/ 831097 w 12205625"/>
              <a:gd name="connsiteY504" fmla="*/ 6342408 h 6867525"/>
              <a:gd name="connsiteX505" fmla="*/ 831097 w 12205625"/>
              <a:gd name="connsiteY505" fmla="*/ 6309132 h 6867525"/>
              <a:gd name="connsiteX506" fmla="*/ 831410 w 12205625"/>
              <a:gd name="connsiteY506" fmla="*/ 6307534 h 6867525"/>
              <a:gd name="connsiteX507" fmla="*/ 832263 w 12205625"/>
              <a:gd name="connsiteY507" fmla="*/ 6306228 h 6867525"/>
              <a:gd name="connsiteX508" fmla="*/ 833527 w 12205625"/>
              <a:gd name="connsiteY508" fmla="*/ 6305348 h 6867525"/>
              <a:gd name="connsiteX509" fmla="*/ 835075 w 12205625"/>
              <a:gd name="connsiteY509" fmla="*/ 6305025 h 6867525"/>
              <a:gd name="connsiteX510" fmla="*/ 905112 w 12205625"/>
              <a:gd name="connsiteY510" fmla="*/ 6305025 h 6867525"/>
              <a:gd name="connsiteX511" fmla="*/ 906661 w 12205625"/>
              <a:gd name="connsiteY511" fmla="*/ 6304703 h 6867525"/>
              <a:gd name="connsiteX512" fmla="*/ 907925 w 12205625"/>
              <a:gd name="connsiteY512" fmla="*/ 6303823 h 6867525"/>
              <a:gd name="connsiteX513" fmla="*/ 908778 w 12205625"/>
              <a:gd name="connsiteY513" fmla="*/ 6302517 h 6867525"/>
              <a:gd name="connsiteX514" fmla="*/ 909091 w 12205625"/>
              <a:gd name="connsiteY514" fmla="*/ 6300918 h 6867525"/>
              <a:gd name="connsiteX515" fmla="*/ 909091 w 12205625"/>
              <a:gd name="connsiteY515" fmla="*/ 6266729 h 6867525"/>
              <a:gd name="connsiteX516" fmla="*/ 908778 w 12205625"/>
              <a:gd name="connsiteY516" fmla="*/ 6265130 h 6867525"/>
              <a:gd name="connsiteX517" fmla="*/ 907925 w 12205625"/>
              <a:gd name="connsiteY517" fmla="*/ 6263825 h 6867525"/>
              <a:gd name="connsiteX518" fmla="*/ 906661 w 12205625"/>
              <a:gd name="connsiteY518" fmla="*/ 6262944 h 6867525"/>
              <a:gd name="connsiteX519" fmla="*/ 905112 w 12205625"/>
              <a:gd name="connsiteY519" fmla="*/ 6262622 h 6867525"/>
              <a:gd name="connsiteX520" fmla="*/ 835075 w 12205625"/>
              <a:gd name="connsiteY520" fmla="*/ 6262622 h 6867525"/>
              <a:gd name="connsiteX521" fmla="*/ 833527 w 12205625"/>
              <a:gd name="connsiteY521" fmla="*/ 6262299 h 6867525"/>
              <a:gd name="connsiteX522" fmla="*/ 832263 w 12205625"/>
              <a:gd name="connsiteY522" fmla="*/ 6261419 h 6867525"/>
              <a:gd name="connsiteX523" fmla="*/ 831410 w 12205625"/>
              <a:gd name="connsiteY523" fmla="*/ 6260114 h 6867525"/>
              <a:gd name="connsiteX524" fmla="*/ 831097 w 12205625"/>
              <a:gd name="connsiteY524" fmla="*/ 6258515 h 6867525"/>
              <a:gd name="connsiteX525" fmla="*/ 831097 w 12205625"/>
              <a:gd name="connsiteY525" fmla="*/ 6225545 h 6867525"/>
              <a:gd name="connsiteX526" fmla="*/ 831410 w 12205625"/>
              <a:gd name="connsiteY526" fmla="*/ 6223946 h 6867525"/>
              <a:gd name="connsiteX527" fmla="*/ 832263 w 12205625"/>
              <a:gd name="connsiteY527" fmla="*/ 6222641 h 6867525"/>
              <a:gd name="connsiteX528" fmla="*/ 833527 w 12205625"/>
              <a:gd name="connsiteY528" fmla="*/ 6221761 h 6867525"/>
              <a:gd name="connsiteX529" fmla="*/ 835075 w 12205625"/>
              <a:gd name="connsiteY529" fmla="*/ 6221438 h 6867525"/>
              <a:gd name="connsiteX530" fmla="*/ 913090 w 12205625"/>
              <a:gd name="connsiteY530" fmla="*/ 6221438 h 6867525"/>
              <a:gd name="connsiteX531" fmla="*/ 914638 w 12205625"/>
              <a:gd name="connsiteY531" fmla="*/ 6221115 h 6867525"/>
              <a:gd name="connsiteX532" fmla="*/ 915902 w 12205625"/>
              <a:gd name="connsiteY532" fmla="*/ 6220235 h 6867525"/>
              <a:gd name="connsiteX533" fmla="*/ 916754 w 12205625"/>
              <a:gd name="connsiteY533" fmla="*/ 6218930 h 6867525"/>
              <a:gd name="connsiteX534" fmla="*/ 917067 w 12205625"/>
              <a:gd name="connsiteY534" fmla="*/ 6217331 h 6867525"/>
              <a:gd name="connsiteX535" fmla="*/ 917067 w 12205625"/>
              <a:gd name="connsiteY535" fmla="*/ 6180089 h 6867525"/>
              <a:gd name="connsiteX536" fmla="*/ 916754 w 12205625"/>
              <a:gd name="connsiteY536" fmla="*/ 6178491 h 6867525"/>
              <a:gd name="connsiteX537" fmla="*/ 915902 w 12205625"/>
              <a:gd name="connsiteY537" fmla="*/ 6177185 h 6867525"/>
              <a:gd name="connsiteX538" fmla="*/ 914638 w 12205625"/>
              <a:gd name="connsiteY538" fmla="*/ 6176305 h 6867525"/>
              <a:gd name="connsiteX539" fmla="*/ 913090 w 12205625"/>
              <a:gd name="connsiteY539" fmla="*/ 6175982 h 6867525"/>
              <a:gd name="connsiteX540" fmla="*/ 788397 w 12205625"/>
              <a:gd name="connsiteY540" fmla="*/ 6175982 h 6867525"/>
              <a:gd name="connsiteX541" fmla="*/ 1130966 w 12205625"/>
              <a:gd name="connsiteY541" fmla="*/ 6167136 h 6867525"/>
              <a:gd name="connsiteX542" fmla="*/ 1125778 w 12205625"/>
              <a:gd name="connsiteY542" fmla="*/ 6167690 h 6867525"/>
              <a:gd name="connsiteX543" fmla="*/ 1120922 w 12205625"/>
              <a:gd name="connsiteY543" fmla="*/ 6169276 h 6867525"/>
              <a:gd name="connsiteX544" fmla="*/ 1116509 w 12205625"/>
              <a:gd name="connsiteY544" fmla="*/ 6171785 h 6867525"/>
              <a:gd name="connsiteX545" fmla="*/ 1112650 w 12205625"/>
              <a:gd name="connsiteY545" fmla="*/ 6175106 h 6867525"/>
              <a:gd name="connsiteX546" fmla="*/ 1109456 w 12205625"/>
              <a:gd name="connsiteY546" fmla="*/ 6179127 h 6867525"/>
              <a:gd name="connsiteX547" fmla="*/ 1107037 w 12205625"/>
              <a:gd name="connsiteY547" fmla="*/ 6183738 h 6867525"/>
              <a:gd name="connsiteX548" fmla="*/ 1105504 w 12205625"/>
              <a:gd name="connsiteY548" fmla="*/ 6188829 h 6867525"/>
              <a:gd name="connsiteX549" fmla="*/ 1104969 w 12205625"/>
              <a:gd name="connsiteY549" fmla="*/ 6194287 h 6867525"/>
              <a:gd name="connsiteX550" fmla="*/ 1105504 w 12205625"/>
              <a:gd name="connsiteY550" fmla="*/ 6199746 h 6867525"/>
              <a:gd name="connsiteX551" fmla="*/ 1107037 w 12205625"/>
              <a:gd name="connsiteY551" fmla="*/ 6204836 h 6867525"/>
              <a:gd name="connsiteX552" fmla="*/ 1109456 w 12205625"/>
              <a:gd name="connsiteY552" fmla="*/ 6209447 h 6867525"/>
              <a:gd name="connsiteX553" fmla="*/ 1112650 w 12205625"/>
              <a:gd name="connsiteY553" fmla="*/ 6213468 h 6867525"/>
              <a:gd name="connsiteX554" fmla="*/ 1116509 w 12205625"/>
              <a:gd name="connsiteY554" fmla="*/ 6216789 h 6867525"/>
              <a:gd name="connsiteX555" fmla="*/ 1120922 w 12205625"/>
              <a:gd name="connsiteY555" fmla="*/ 6219298 h 6867525"/>
              <a:gd name="connsiteX556" fmla="*/ 1125778 w 12205625"/>
              <a:gd name="connsiteY556" fmla="*/ 6220885 h 6867525"/>
              <a:gd name="connsiteX557" fmla="*/ 1130966 w 12205625"/>
              <a:gd name="connsiteY557" fmla="*/ 6221438 h 6867525"/>
              <a:gd name="connsiteX558" fmla="*/ 1136350 w 12205625"/>
              <a:gd name="connsiteY558" fmla="*/ 6220885 h 6867525"/>
              <a:gd name="connsiteX559" fmla="*/ 1141353 w 12205625"/>
              <a:gd name="connsiteY559" fmla="*/ 6219298 h 6867525"/>
              <a:gd name="connsiteX560" fmla="*/ 1145871 w 12205625"/>
              <a:gd name="connsiteY560" fmla="*/ 6216789 h 6867525"/>
              <a:gd name="connsiteX561" fmla="*/ 1149800 w 12205625"/>
              <a:gd name="connsiteY561" fmla="*/ 6213468 h 6867525"/>
              <a:gd name="connsiteX562" fmla="*/ 1153038 w 12205625"/>
              <a:gd name="connsiteY562" fmla="*/ 6209447 h 6867525"/>
              <a:gd name="connsiteX563" fmla="*/ 1155478 w 12205625"/>
              <a:gd name="connsiteY563" fmla="*/ 6204836 h 6867525"/>
              <a:gd name="connsiteX564" fmla="*/ 1157019 w 12205625"/>
              <a:gd name="connsiteY564" fmla="*/ 6199746 h 6867525"/>
              <a:gd name="connsiteX565" fmla="*/ 1157556 w 12205625"/>
              <a:gd name="connsiteY565" fmla="*/ 6194287 h 6867525"/>
              <a:gd name="connsiteX566" fmla="*/ 1157019 w 12205625"/>
              <a:gd name="connsiteY566" fmla="*/ 6188829 h 6867525"/>
              <a:gd name="connsiteX567" fmla="*/ 1155478 w 12205625"/>
              <a:gd name="connsiteY567" fmla="*/ 6183738 h 6867525"/>
              <a:gd name="connsiteX568" fmla="*/ 1153038 w 12205625"/>
              <a:gd name="connsiteY568" fmla="*/ 6179127 h 6867525"/>
              <a:gd name="connsiteX569" fmla="*/ 1149800 w 12205625"/>
              <a:gd name="connsiteY569" fmla="*/ 6175106 h 6867525"/>
              <a:gd name="connsiteX570" fmla="*/ 1145871 w 12205625"/>
              <a:gd name="connsiteY570" fmla="*/ 6171785 h 6867525"/>
              <a:gd name="connsiteX571" fmla="*/ 1141353 w 12205625"/>
              <a:gd name="connsiteY571" fmla="*/ 6169276 h 6867525"/>
              <a:gd name="connsiteX572" fmla="*/ 1136350 w 12205625"/>
              <a:gd name="connsiteY572" fmla="*/ 6167690 h 6867525"/>
              <a:gd name="connsiteX573" fmla="*/ 1130966 w 12205625"/>
              <a:gd name="connsiteY573" fmla="*/ 6167136 h 6867525"/>
              <a:gd name="connsiteX574" fmla="*/ 587603 w 12205625"/>
              <a:gd name="connsiteY574" fmla="*/ 6130388 h 6867525"/>
              <a:gd name="connsiteX575" fmla="*/ 582187 w 12205625"/>
              <a:gd name="connsiteY575" fmla="*/ 6131131 h 6867525"/>
              <a:gd name="connsiteX576" fmla="*/ 577056 w 12205625"/>
              <a:gd name="connsiteY576" fmla="*/ 6133358 h 6867525"/>
              <a:gd name="connsiteX577" fmla="*/ 474730 w 12205625"/>
              <a:gd name="connsiteY577" fmla="*/ 6195414 h 6867525"/>
              <a:gd name="connsiteX578" fmla="*/ 470330 w 12205625"/>
              <a:gd name="connsiteY578" fmla="*/ 6198968 h 6867525"/>
              <a:gd name="connsiteX579" fmla="*/ 467011 w 12205625"/>
              <a:gd name="connsiteY579" fmla="*/ 6203523 h 6867525"/>
              <a:gd name="connsiteX580" fmla="*/ 464915 w 12205625"/>
              <a:gd name="connsiteY580" fmla="*/ 6208820 h 6867525"/>
              <a:gd name="connsiteX581" fmla="*/ 464185 w 12205625"/>
              <a:gd name="connsiteY581" fmla="*/ 6214601 h 6867525"/>
              <a:gd name="connsiteX582" fmla="*/ 464185 w 12205625"/>
              <a:gd name="connsiteY582" fmla="*/ 6338713 h 6867525"/>
              <a:gd name="connsiteX583" fmla="*/ 464915 w 12205625"/>
              <a:gd name="connsiteY583" fmla="*/ 6344494 h 6867525"/>
              <a:gd name="connsiteX584" fmla="*/ 467011 w 12205625"/>
              <a:gd name="connsiteY584" fmla="*/ 6349791 h 6867525"/>
              <a:gd name="connsiteX585" fmla="*/ 470330 w 12205625"/>
              <a:gd name="connsiteY585" fmla="*/ 6354347 h 6867525"/>
              <a:gd name="connsiteX586" fmla="*/ 474731 w 12205625"/>
              <a:gd name="connsiteY586" fmla="*/ 6357902 h 6867525"/>
              <a:gd name="connsiteX587" fmla="*/ 577056 w 12205625"/>
              <a:gd name="connsiteY587" fmla="*/ 6419958 h 6867525"/>
              <a:gd name="connsiteX588" fmla="*/ 582187 w 12205625"/>
              <a:gd name="connsiteY588" fmla="*/ 6422184 h 6867525"/>
              <a:gd name="connsiteX589" fmla="*/ 587603 w 12205625"/>
              <a:gd name="connsiteY589" fmla="*/ 6422926 h 6867525"/>
              <a:gd name="connsiteX590" fmla="*/ 593018 w 12205625"/>
              <a:gd name="connsiteY590" fmla="*/ 6422184 h 6867525"/>
              <a:gd name="connsiteX591" fmla="*/ 598149 w 12205625"/>
              <a:gd name="connsiteY591" fmla="*/ 6419958 h 6867525"/>
              <a:gd name="connsiteX592" fmla="*/ 693908 w 12205625"/>
              <a:gd name="connsiteY592" fmla="*/ 6361884 h 6867525"/>
              <a:gd name="connsiteX593" fmla="*/ 700475 w 12205625"/>
              <a:gd name="connsiteY593" fmla="*/ 6357902 h 6867525"/>
              <a:gd name="connsiteX594" fmla="*/ 704876 w 12205625"/>
              <a:gd name="connsiteY594" fmla="*/ 6354347 h 6867525"/>
              <a:gd name="connsiteX595" fmla="*/ 708195 w 12205625"/>
              <a:gd name="connsiteY595" fmla="*/ 6349791 h 6867525"/>
              <a:gd name="connsiteX596" fmla="*/ 710290 w 12205625"/>
              <a:gd name="connsiteY596" fmla="*/ 6344494 h 6867525"/>
              <a:gd name="connsiteX597" fmla="*/ 711020 w 12205625"/>
              <a:gd name="connsiteY597" fmla="*/ 6338713 h 6867525"/>
              <a:gd name="connsiteX598" fmla="*/ 711020 w 12205625"/>
              <a:gd name="connsiteY598" fmla="*/ 6287037 h 6867525"/>
              <a:gd name="connsiteX599" fmla="*/ 587603 w 12205625"/>
              <a:gd name="connsiteY599" fmla="*/ 6361884 h 6867525"/>
              <a:gd name="connsiteX600" fmla="*/ 518967 w 12205625"/>
              <a:gd name="connsiteY600" fmla="*/ 6320260 h 6867525"/>
              <a:gd name="connsiteX601" fmla="*/ 519004 w 12205625"/>
              <a:gd name="connsiteY601" fmla="*/ 6235036 h 6867525"/>
              <a:gd name="connsiteX602" fmla="*/ 582538 w 12205625"/>
              <a:gd name="connsiteY602" fmla="*/ 6196483 h 6867525"/>
              <a:gd name="connsiteX603" fmla="*/ 585000 w 12205625"/>
              <a:gd name="connsiteY603" fmla="*/ 6195414 h 6867525"/>
              <a:gd name="connsiteX604" fmla="*/ 587603 w 12205625"/>
              <a:gd name="connsiteY604" fmla="*/ 6195057 h 6867525"/>
              <a:gd name="connsiteX605" fmla="*/ 590208 w 12205625"/>
              <a:gd name="connsiteY605" fmla="*/ 6195414 h 6867525"/>
              <a:gd name="connsiteX606" fmla="*/ 592674 w 12205625"/>
              <a:gd name="connsiteY606" fmla="*/ 6196485 h 6867525"/>
              <a:gd name="connsiteX607" fmla="*/ 656238 w 12205625"/>
              <a:gd name="connsiteY607" fmla="*/ 6235034 h 6867525"/>
              <a:gd name="connsiteX608" fmla="*/ 596138 w 12205625"/>
              <a:gd name="connsiteY608" fmla="*/ 6271483 h 6867525"/>
              <a:gd name="connsiteX609" fmla="*/ 591986 w 12205625"/>
              <a:gd name="connsiteY609" fmla="*/ 6273284 h 6867525"/>
              <a:gd name="connsiteX610" fmla="*/ 587603 w 12205625"/>
              <a:gd name="connsiteY610" fmla="*/ 6273884 h 6867525"/>
              <a:gd name="connsiteX611" fmla="*/ 583221 w 12205625"/>
              <a:gd name="connsiteY611" fmla="*/ 6273283 h 6867525"/>
              <a:gd name="connsiteX612" fmla="*/ 579069 w 12205625"/>
              <a:gd name="connsiteY612" fmla="*/ 6271481 h 6867525"/>
              <a:gd name="connsiteX613" fmla="*/ 536076 w 12205625"/>
              <a:gd name="connsiteY613" fmla="*/ 6245395 h 6867525"/>
              <a:gd name="connsiteX614" fmla="*/ 536046 w 12205625"/>
              <a:gd name="connsiteY614" fmla="*/ 6309859 h 6867525"/>
              <a:gd name="connsiteX615" fmla="*/ 587603 w 12205625"/>
              <a:gd name="connsiteY615" fmla="*/ 6341127 h 6867525"/>
              <a:gd name="connsiteX616" fmla="*/ 698481 w 12205625"/>
              <a:gd name="connsiteY616" fmla="*/ 6273884 h 6867525"/>
              <a:gd name="connsiteX617" fmla="*/ 711020 w 12205625"/>
              <a:gd name="connsiteY617" fmla="*/ 6266280 h 6867525"/>
              <a:gd name="connsiteX618" fmla="*/ 711020 w 12205625"/>
              <a:gd name="connsiteY618" fmla="*/ 6214601 h 6867525"/>
              <a:gd name="connsiteX619" fmla="*/ 710290 w 12205625"/>
              <a:gd name="connsiteY619" fmla="*/ 6208820 h 6867525"/>
              <a:gd name="connsiteX620" fmla="*/ 708195 w 12205625"/>
              <a:gd name="connsiteY620" fmla="*/ 6203523 h 6867525"/>
              <a:gd name="connsiteX621" fmla="*/ 704876 w 12205625"/>
              <a:gd name="connsiteY621" fmla="*/ 6198968 h 6867525"/>
              <a:gd name="connsiteX622" fmla="*/ 700475 w 12205625"/>
              <a:gd name="connsiteY622" fmla="*/ 6195413 h 6867525"/>
              <a:gd name="connsiteX623" fmla="*/ 699887 w 12205625"/>
              <a:gd name="connsiteY623" fmla="*/ 6195057 h 6867525"/>
              <a:gd name="connsiteX624" fmla="*/ 598149 w 12205625"/>
              <a:gd name="connsiteY624" fmla="*/ 6133358 h 6867525"/>
              <a:gd name="connsiteX625" fmla="*/ 593018 w 12205625"/>
              <a:gd name="connsiteY625" fmla="*/ 6131131 h 6867525"/>
              <a:gd name="connsiteX626" fmla="*/ 587603 w 12205625"/>
              <a:gd name="connsiteY626" fmla="*/ 6130388 h 6867525"/>
              <a:gd name="connsiteX627" fmla="*/ 0 w 12205625"/>
              <a:gd name="connsiteY627" fmla="*/ 0 h 6867525"/>
              <a:gd name="connsiteX628" fmla="*/ 12204708 w 12205625"/>
              <a:gd name="connsiteY628" fmla="*/ 0 h 6867525"/>
              <a:gd name="connsiteX629" fmla="*/ 12204708 w 12205625"/>
              <a:gd name="connsiteY629" fmla="*/ 6867525 h 6867525"/>
              <a:gd name="connsiteX630" fmla="*/ 6353 w 12205625"/>
              <a:gd name="connsiteY630" fmla="*/ 6867525 h 6867525"/>
              <a:gd name="connsiteX631" fmla="*/ 0 w 12205625"/>
              <a:gd name="connsiteY631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</a:cxnLst>
            <a:rect l="l" t="t" r="r" b="b"/>
            <a:pathLst>
              <a:path w="12205625" h="6867525">
                <a:moveTo>
                  <a:pt x="1014246" y="6278790"/>
                </a:moveTo>
                <a:lnTo>
                  <a:pt x="1019019" y="6279093"/>
                </a:lnTo>
                <a:lnTo>
                  <a:pt x="1023628" y="6280006"/>
                </a:lnTo>
                <a:lnTo>
                  <a:pt x="1028012" y="6281532"/>
                </a:lnTo>
                <a:lnTo>
                  <a:pt x="1032110" y="6283675"/>
                </a:lnTo>
                <a:lnTo>
                  <a:pt x="1035860" y="6286440"/>
                </a:lnTo>
                <a:lnTo>
                  <a:pt x="1039201" y="6289831"/>
                </a:lnTo>
                <a:lnTo>
                  <a:pt x="1042072" y="6293851"/>
                </a:lnTo>
                <a:lnTo>
                  <a:pt x="1044412" y="6298506"/>
                </a:lnTo>
                <a:lnTo>
                  <a:pt x="1046159" y="6303798"/>
                </a:lnTo>
                <a:lnTo>
                  <a:pt x="1047252" y="6309733"/>
                </a:lnTo>
                <a:lnTo>
                  <a:pt x="1047630" y="6316313"/>
                </a:lnTo>
                <a:lnTo>
                  <a:pt x="1047252" y="6322901"/>
                </a:lnTo>
                <a:lnTo>
                  <a:pt x="1046159" y="6328855"/>
                </a:lnTo>
                <a:lnTo>
                  <a:pt x="1044412" y="6334177"/>
                </a:lnTo>
                <a:lnTo>
                  <a:pt x="1042072" y="6338867"/>
                </a:lnTo>
                <a:lnTo>
                  <a:pt x="1039201" y="6342928"/>
                </a:lnTo>
                <a:lnTo>
                  <a:pt x="1035860" y="6346360"/>
                </a:lnTo>
                <a:lnTo>
                  <a:pt x="1032110" y="6349166"/>
                </a:lnTo>
                <a:lnTo>
                  <a:pt x="1028012" y="6351345"/>
                </a:lnTo>
                <a:lnTo>
                  <a:pt x="1023628" y="6352900"/>
                </a:lnTo>
                <a:lnTo>
                  <a:pt x="1019019" y="6353832"/>
                </a:lnTo>
                <a:lnTo>
                  <a:pt x="1014246" y="6354143"/>
                </a:lnTo>
                <a:lnTo>
                  <a:pt x="1009546" y="6353825"/>
                </a:lnTo>
                <a:lnTo>
                  <a:pt x="1004998" y="6352875"/>
                </a:lnTo>
                <a:lnTo>
                  <a:pt x="1000662" y="6351296"/>
                </a:lnTo>
                <a:lnTo>
                  <a:pt x="996602" y="6349089"/>
                </a:lnTo>
                <a:lnTo>
                  <a:pt x="992880" y="6346257"/>
                </a:lnTo>
                <a:lnTo>
                  <a:pt x="989560" y="6342805"/>
                </a:lnTo>
                <a:lnTo>
                  <a:pt x="986702" y="6338733"/>
                </a:lnTo>
                <a:lnTo>
                  <a:pt x="984371" y="6334045"/>
                </a:lnTo>
                <a:lnTo>
                  <a:pt x="982628" y="6328744"/>
                </a:lnTo>
                <a:lnTo>
                  <a:pt x="981537" y="6322833"/>
                </a:lnTo>
                <a:lnTo>
                  <a:pt x="981159" y="6316313"/>
                </a:lnTo>
                <a:lnTo>
                  <a:pt x="981537" y="6309733"/>
                </a:lnTo>
                <a:lnTo>
                  <a:pt x="982628" y="6303798"/>
                </a:lnTo>
                <a:lnTo>
                  <a:pt x="984371" y="6298506"/>
                </a:lnTo>
                <a:lnTo>
                  <a:pt x="986702" y="6293851"/>
                </a:lnTo>
                <a:lnTo>
                  <a:pt x="989560" y="6289831"/>
                </a:lnTo>
                <a:lnTo>
                  <a:pt x="992880" y="6286440"/>
                </a:lnTo>
                <a:lnTo>
                  <a:pt x="996602" y="6283675"/>
                </a:lnTo>
                <a:lnTo>
                  <a:pt x="1000662" y="6281532"/>
                </a:lnTo>
                <a:lnTo>
                  <a:pt x="1004998" y="6280006"/>
                </a:lnTo>
                <a:lnTo>
                  <a:pt x="1009546" y="6279093"/>
                </a:lnTo>
                <a:lnTo>
                  <a:pt x="1014246" y="6278790"/>
                </a:lnTo>
                <a:close/>
                <a:moveTo>
                  <a:pt x="1356301" y="6278789"/>
                </a:moveTo>
                <a:lnTo>
                  <a:pt x="1360934" y="6279086"/>
                </a:lnTo>
                <a:lnTo>
                  <a:pt x="1365442" y="6279980"/>
                </a:lnTo>
                <a:lnTo>
                  <a:pt x="1369758" y="6281481"/>
                </a:lnTo>
                <a:lnTo>
                  <a:pt x="1373815" y="6283597"/>
                </a:lnTo>
                <a:lnTo>
                  <a:pt x="1377548" y="6286336"/>
                </a:lnTo>
                <a:lnTo>
                  <a:pt x="1380889" y="6289706"/>
                </a:lnTo>
                <a:lnTo>
                  <a:pt x="1383771" y="6293715"/>
                </a:lnTo>
                <a:lnTo>
                  <a:pt x="1386130" y="6298373"/>
                </a:lnTo>
                <a:lnTo>
                  <a:pt x="1387896" y="6303686"/>
                </a:lnTo>
                <a:lnTo>
                  <a:pt x="1389005" y="6309663"/>
                </a:lnTo>
                <a:cubicBezTo>
                  <a:pt x="1389133" y="6311880"/>
                  <a:pt x="1389262" y="6314096"/>
                  <a:pt x="1389390" y="6316313"/>
                </a:cubicBezTo>
                <a:cubicBezTo>
                  <a:pt x="1389262" y="6318532"/>
                  <a:pt x="1389133" y="6320751"/>
                  <a:pt x="1389005" y="6322970"/>
                </a:cubicBezTo>
                <a:lnTo>
                  <a:pt x="1387896" y="6328967"/>
                </a:lnTo>
                <a:lnTo>
                  <a:pt x="1386130" y="6334309"/>
                </a:lnTo>
                <a:lnTo>
                  <a:pt x="1383771" y="6339003"/>
                </a:lnTo>
                <a:lnTo>
                  <a:pt x="1380889" y="6343052"/>
                </a:lnTo>
                <a:lnTo>
                  <a:pt x="1377548" y="6346464"/>
                </a:lnTo>
                <a:lnTo>
                  <a:pt x="1373815" y="6349243"/>
                </a:lnTo>
                <a:lnTo>
                  <a:pt x="1369758" y="6351394"/>
                </a:lnTo>
                <a:lnTo>
                  <a:pt x="1365442" y="6352925"/>
                </a:lnTo>
                <a:lnTo>
                  <a:pt x="1360934" y="6353839"/>
                </a:lnTo>
                <a:lnTo>
                  <a:pt x="1356301" y="6354142"/>
                </a:lnTo>
                <a:lnTo>
                  <a:pt x="1351735" y="6353832"/>
                </a:lnTo>
                <a:lnTo>
                  <a:pt x="1347269" y="6352900"/>
                </a:lnTo>
                <a:lnTo>
                  <a:pt x="1342973" y="6351345"/>
                </a:lnTo>
                <a:lnTo>
                  <a:pt x="1338918" y="6349165"/>
                </a:lnTo>
                <a:lnTo>
                  <a:pt x="1335175" y="6346360"/>
                </a:lnTo>
                <a:lnTo>
                  <a:pt x="1331814" y="6342928"/>
                </a:lnTo>
                <a:lnTo>
                  <a:pt x="1328906" y="6338868"/>
                </a:lnTo>
                <a:lnTo>
                  <a:pt x="1326521" y="6334177"/>
                </a:lnTo>
                <a:lnTo>
                  <a:pt x="1324731" y="6328855"/>
                </a:lnTo>
                <a:lnTo>
                  <a:pt x="1323604" y="6322901"/>
                </a:lnTo>
                <a:cubicBezTo>
                  <a:pt x="1323474" y="6320705"/>
                  <a:pt x="1323343" y="6318509"/>
                  <a:pt x="1323213" y="6316313"/>
                </a:cubicBezTo>
                <a:cubicBezTo>
                  <a:pt x="1323343" y="6314096"/>
                  <a:pt x="1323474" y="6311880"/>
                  <a:pt x="1323604" y="6309663"/>
                </a:cubicBezTo>
                <a:lnTo>
                  <a:pt x="1324731" y="6303686"/>
                </a:lnTo>
                <a:lnTo>
                  <a:pt x="1326521" y="6298373"/>
                </a:lnTo>
                <a:lnTo>
                  <a:pt x="1328906" y="6293715"/>
                </a:lnTo>
                <a:lnTo>
                  <a:pt x="1331814" y="6289706"/>
                </a:lnTo>
                <a:lnTo>
                  <a:pt x="1335175" y="6286336"/>
                </a:lnTo>
                <a:lnTo>
                  <a:pt x="1338918" y="6283597"/>
                </a:lnTo>
                <a:lnTo>
                  <a:pt x="1342973" y="6281481"/>
                </a:lnTo>
                <a:lnTo>
                  <a:pt x="1347269" y="6279980"/>
                </a:lnTo>
                <a:lnTo>
                  <a:pt x="1351735" y="6279086"/>
                </a:lnTo>
                <a:lnTo>
                  <a:pt x="1356301" y="6278789"/>
                </a:lnTo>
                <a:close/>
                <a:moveTo>
                  <a:pt x="1112787" y="6240657"/>
                </a:moveTo>
                <a:lnTo>
                  <a:pt x="1111239" y="6240980"/>
                </a:lnTo>
                <a:lnTo>
                  <a:pt x="1109975" y="6241860"/>
                </a:lnTo>
                <a:lnTo>
                  <a:pt x="1109122" y="6243166"/>
                </a:lnTo>
                <a:lnTo>
                  <a:pt x="1108810" y="6244764"/>
                </a:lnTo>
                <a:lnTo>
                  <a:pt x="1108810" y="6388168"/>
                </a:lnTo>
                <a:lnTo>
                  <a:pt x="1109122" y="6389767"/>
                </a:lnTo>
                <a:lnTo>
                  <a:pt x="1109975" y="6391072"/>
                </a:lnTo>
                <a:lnTo>
                  <a:pt x="1111239" y="6391952"/>
                </a:lnTo>
                <a:lnTo>
                  <a:pt x="1112787" y="6392275"/>
                </a:lnTo>
                <a:lnTo>
                  <a:pt x="1149737" y="6392275"/>
                </a:lnTo>
                <a:lnTo>
                  <a:pt x="1151285" y="6391952"/>
                </a:lnTo>
                <a:lnTo>
                  <a:pt x="1152550" y="6391072"/>
                </a:lnTo>
                <a:lnTo>
                  <a:pt x="1153403" y="6389767"/>
                </a:lnTo>
                <a:lnTo>
                  <a:pt x="1153715" y="6388168"/>
                </a:lnTo>
                <a:lnTo>
                  <a:pt x="1153715" y="6244764"/>
                </a:lnTo>
                <a:lnTo>
                  <a:pt x="1153403" y="6243166"/>
                </a:lnTo>
                <a:lnTo>
                  <a:pt x="1152550" y="6241860"/>
                </a:lnTo>
                <a:lnTo>
                  <a:pt x="1151285" y="6240980"/>
                </a:lnTo>
                <a:lnTo>
                  <a:pt x="1149737" y="6240657"/>
                </a:lnTo>
                <a:lnTo>
                  <a:pt x="1112787" y="6240657"/>
                </a:lnTo>
                <a:close/>
                <a:moveTo>
                  <a:pt x="1261092" y="6239132"/>
                </a:moveTo>
                <a:lnTo>
                  <a:pt x="1256377" y="6239375"/>
                </a:lnTo>
                <a:lnTo>
                  <a:pt x="1251232" y="6240162"/>
                </a:lnTo>
                <a:lnTo>
                  <a:pt x="1245866" y="6241577"/>
                </a:lnTo>
                <a:lnTo>
                  <a:pt x="1240486" y="6243708"/>
                </a:lnTo>
                <a:lnTo>
                  <a:pt x="1235300" y="6246639"/>
                </a:lnTo>
                <a:lnTo>
                  <a:pt x="1230515" y="6250458"/>
                </a:lnTo>
                <a:lnTo>
                  <a:pt x="1226340" y="6255248"/>
                </a:lnTo>
                <a:lnTo>
                  <a:pt x="1222981" y="6261097"/>
                </a:lnTo>
                <a:lnTo>
                  <a:pt x="1222981" y="6244763"/>
                </a:lnTo>
                <a:lnTo>
                  <a:pt x="1222669" y="6243165"/>
                </a:lnTo>
                <a:lnTo>
                  <a:pt x="1221816" y="6241860"/>
                </a:lnTo>
                <a:lnTo>
                  <a:pt x="1220552" y="6240979"/>
                </a:lnTo>
                <a:lnTo>
                  <a:pt x="1219003" y="6240657"/>
                </a:lnTo>
                <a:lnTo>
                  <a:pt x="1183531" y="6240657"/>
                </a:lnTo>
                <a:lnTo>
                  <a:pt x="1181983" y="6240979"/>
                </a:lnTo>
                <a:lnTo>
                  <a:pt x="1180719" y="6241860"/>
                </a:lnTo>
                <a:lnTo>
                  <a:pt x="1179866" y="6243165"/>
                </a:lnTo>
                <a:lnTo>
                  <a:pt x="1179554" y="6244763"/>
                </a:lnTo>
                <a:lnTo>
                  <a:pt x="1179554" y="6388167"/>
                </a:lnTo>
                <a:lnTo>
                  <a:pt x="1179866" y="6389767"/>
                </a:lnTo>
                <a:lnTo>
                  <a:pt x="1180719" y="6391073"/>
                </a:lnTo>
                <a:lnTo>
                  <a:pt x="1181983" y="6391953"/>
                </a:lnTo>
                <a:lnTo>
                  <a:pt x="1183531" y="6392276"/>
                </a:lnTo>
                <a:lnTo>
                  <a:pt x="1220480" y="6392276"/>
                </a:lnTo>
                <a:lnTo>
                  <a:pt x="1222029" y="6391953"/>
                </a:lnTo>
                <a:lnTo>
                  <a:pt x="1223293" y="6391073"/>
                </a:lnTo>
                <a:lnTo>
                  <a:pt x="1224145" y="6389767"/>
                </a:lnTo>
                <a:cubicBezTo>
                  <a:pt x="1224249" y="6389234"/>
                  <a:pt x="1224354" y="6388700"/>
                  <a:pt x="1224458" y="6388167"/>
                </a:cubicBezTo>
                <a:lnTo>
                  <a:pt x="1224458" y="6326074"/>
                </a:lnTo>
                <a:cubicBezTo>
                  <a:pt x="1224589" y="6323485"/>
                  <a:pt x="1224719" y="6320895"/>
                  <a:pt x="1224850" y="6318306"/>
                </a:cubicBezTo>
                <a:lnTo>
                  <a:pt x="1225983" y="6311451"/>
                </a:lnTo>
                <a:lnTo>
                  <a:pt x="1227790" y="6305471"/>
                </a:lnTo>
                <a:lnTo>
                  <a:pt x="1230208" y="6300332"/>
                </a:lnTo>
                <a:lnTo>
                  <a:pt x="1233170" y="6295995"/>
                </a:lnTo>
                <a:lnTo>
                  <a:pt x="1236612" y="6292426"/>
                </a:lnTo>
                <a:lnTo>
                  <a:pt x="1240468" y="6289587"/>
                </a:lnTo>
                <a:lnTo>
                  <a:pt x="1244673" y="6287442"/>
                </a:lnTo>
                <a:lnTo>
                  <a:pt x="1249162" y="6285955"/>
                </a:lnTo>
                <a:lnTo>
                  <a:pt x="1253869" y="6285090"/>
                </a:lnTo>
                <a:lnTo>
                  <a:pt x="1258729" y="6284809"/>
                </a:lnTo>
                <a:lnTo>
                  <a:pt x="1260952" y="6284837"/>
                </a:lnTo>
                <a:lnTo>
                  <a:pt x="1263083" y="6284927"/>
                </a:lnTo>
                <a:lnTo>
                  <a:pt x="1265174" y="6285090"/>
                </a:lnTo>
                <a:lnTo>
                  <a:pt x="1267247" y="6285334"/>
                </a:lnTo>
                <a:lnTo>
                  <a:pt x="1268824" y="6285238"/>
                </a:lnTo>
                <a:lnTo>
                  <a:pt x="1269700" y="6284809"/>
                </a:lnTo>
                <a:lnTo>
                  <a:pt x="1270201" y="6284564"/>
                </a:lnTo>
                <a:lnTo>
                  <a:pt x="1271230" y="6283414"/>
                </a:lnTo>
                <a:lnTo>
                  <a:pt x="1271768" y="6281888"/>
                </a:lnTo>
                <a:lnTo>
                  <a:pt x="1274797" y="6261097"/>
                </a:lnTo>
                <a:lnTo>
                  <a:pt x="1277103" y="6245263"/>
                </a:lnTo>
                <a:cubicBezTo>
                  <a:pt x="1277082" y="6244739"/>
                  <a:pt x="1277061" y="6244216"/>
                  <a:pt x="1277040" y="6243692"/>
                </a:cubicBezTo>
                <a:lnTo>
                  <a:pt x="1270665" y="6240006"/>
                </a:lnTo>
                <a:lnTo>
                  <a:pt x="1263927" y="6239237"/>
                </a:lnTo>
                <a:lnTo>
                  <a:pt x="1261092" y="6239132"/>
                </a:lnTo>
                <a:close/>
                <a:moveTo>
                  <a:pt x="1023405" y="6236996"/>
                </a:moveTo>
                <a:lnTo>
                  <a:pt x="1016606" y="6237334"/>
                </a:lnTo>
                <a:lnTo>
                  <a:pt x="1010217" y="6238297"/>
                </a:lnTo>
                <a:lnTo>
                  <a:pt x="1004279" y="6239809"/>
                </a:lnTo>
                <a:lnTo>
                  <a:pt x="998829" y="6241797"/>
                </a:lnTo>
                <a:lnTo>
                  <a:pt x="993906" y="6244183"/>
                </a:lnTo>
                <a:lnTo>
                  <a:pt x="989551" y="6246894"/>
                </a:lnTo>
                <a:lnTo>
                  <a:pt x="985800" y="6249853"/>
                </a:lnTo>
                <a:lnTo>
                  <a:pt x="980272" y="6256215"/>
                </a:lnTo>
                <a:lnTo>
                  <a:pt x="980272" y="6244763"/>
                </a:lnTo>
                <a:cubicBezTo>
                  <a:pt x="980168" y="6244230"/>
                  <a:pt x="980063" y="6243698"/>
                  <a:pt x="979959" y="6243165"/>
                </a:cubicBezTo>
                <a:lnTo>
                  <a:pt x="979107" y="6241860"/>
                </a:lnTo>
                <a:lnTo>
                  <a:pt x="977842" y="6240979"/>
                </a:lnTo>
                <a:lnTo>
                  <a:pt x="976293" y="6240657"/>
                </a:lnTo>
                <a:lnTo>
                  <a:pt x="940822" y="6240657"/>
                </a:lnTo>
                <a:lnTo>
                  <a:pt x="939273" y="6240979"/>
                </a:lnTo>
                <a:lnTo>
                  <a:pt x="938008" y="6241860"/>
                </a:lnTo>
                <a:lnTo>
                  <a:pt x="937156" y="6243165"/>
                </a:lnTo>
                <a:cubicBezTo>
                  <a:pt x="937052" y="6243698"/>
                  <a:pt x="936947" y="6244230"/>
                  <a:pt x="936843" y="6244763"/>
                </a:cubicBezTo>
                <a:lnTo>
                  <a:pt x="936843" y="6446130"/>
                </a:lnTo>
                <a:cubicBezTo>
                  <a:pt x="936947" y="6446663"/>
                  <a:pt x="937052" y="6447196"/>
                  <a:pt x="937156" y="6447729"/>
                </a:cubicBezTo>
                <a:lnTo>
                  <a:pt x="938008" y="6449034"/>
                </a:lnTo>
                <a:lnTo>
                  <a:pt x="939273" y="6449914"/>
                </a:lnTo>
                <a:lnTo>
                  <a:pt x="940822" y="6450237"/>
                </a:lnTo>
                <a:lnTo>
                  <a:pt x="977771" y="6450237"/>
                </a:lnTo>
                <a:lnTo>
                  <a:pt x="979319" y="6449914"/>
                </a:lnTo>
                <a:lnTo>
                  <a:pt x="980583" y="6449034"/>
                </a:lnTo>
                <a:lnTo>
                  <a:pt x="981436" y="6447729"/>
                </a:lnTo>
                <a:lnTo>
                  <a:pt x="981748" y="6446130"/>
                </a:lnTo>
                <a:lnTo>
                  <a:pt x="981748" y="6380378"/>
                </a:lnTo>
                <a:lnTo>
                  <a:pt x="984638" y="6383485"/>
                </a:lnTo>
                <a:lnTo>
                  <a:pt x="988188" y="6386364"/>
                </a:lnTo>
                <a:lnTo>
                  <a:pt x="992369" y="6388958"/>
                </a:lnTo>
                <a:lnTo>
                  <a:pt x="997148" y="6391208"/>
                </a:lnTo>
                <a:lnTo>
                  <a:pt x="1002495" y="6393057"/>
                </a:lnTo>
                <a:lnTo>
                  <a:pt x="1008379" y="6394450"/>
                </a:lnTo>
                <a:lnTo>
                  <a:pt x="1014768" y="6395327"/>
                </a:lnTo>
                <a:lnTo>
                  <a:pt x="1021631" y="6395632"/>
                </a:lnTo>
                <a:lnTo>
                  <a:pt x="1027154" y="6395428"/>
                </a:lnTo>
                <a:lnTo>
                  <a:pt x="1032518" y="6394823"/>
                </a:lnTo>
                <a:lnTo>
                  <a:pt x="1037712" y="6393828"/>
                </a:lnTo>
                <a:lnTo>
                  <a:pt x="1042728" y="6392455"/>
                </a:lnTo>
                <a:lnTo>
                  <a:pt x="1047556" y="6390715"/>
                </a:lnTo>
                <a:lnTo>
                  <a:pt x="1052186" y="6388620"/>
                </a:lnTo>
                <a:lnTo>
                  <a:pt x="1056609" y="6386181"/>
                </a:lnTo>
                <a:lnTo>
                  <a:pt x="1060815" y="6383409"/>
                </a:lnTo>
                <a:lnTo>
                  <a:pt x="1064716" y="6380378"/>
                </a:lnTo>
                <a:lnTo>
                  <a:pt x="1068540" y="6376912"/>
                </a:lnTo>
                <a:lnTo>
                  <a:pt x="1072040" y="6373209"/>
                </a:lnTo>
                <a:lnTo>
                  <a:pt x="1075285" y="6369219"/>
                </a:lnTo>
                <a:lnTo>
                  <a:pt x="1078266" y="6364953"/>
                </a:lnTo>
                <a:lnTo>
                  <a:pt x="1080974" y="6360423"/>
                </a:lnTo>
                <a:lnTo>
                  <a:pt x="1083399" y="6355639"/>
                </a:lnTo>
                <a:lnTo>
                  <a:pt x="1084033" y="6354143"/>
                </a:lnTo>
                <a:lnTo>
                  <a:pt x="1087361" y="6345356"/>
                </a:lnTo>
                <a:lnTo>
                  <a:pt x="1088880" y="6339880"/>
                </a:lnTo>
                <a:lnTo>
                  <a:pt x="1090080" y="6334177"/>
                </a:lnTo>
                <a:lnTo>
                  <a:pt x="1090944" y="6328315"/>
                </a:lnTo>
                <a:lnTo>
                  <a:pt x="1091472" y="6322249"/>
                </a:lnTo>
                <a:cubicBezTo>
                  <a:pt x="1091531" y="6320169"/>
                  <a:pt x="1091591" y="6318089"/>
                  <a:pt x="1091650" y="6316009"/>
                </a:cubicBezTo>
                <a:lnTo>
                  <a:pt x="1091491" y="6309886"/>
                </a:lnTo>
                <a:cubicBezTo>
                  <a:pt x="1091334" y="6307898"/>
                  <a:pt x="1091176" y="6305911"/>
                  <a:pt x="1091019" y="6303923"/>
                </a:cubicBezTo>
                <a:lnTo>
                  <a:pt x="1090238" y="6298132"/>
                </a:lnTo>
                <a:lnTo>
                  <a:pt x="1089154" y="6292525"/>
                </a:lnTo>
                <a:lnTo>
                  <a:pt x="1087771" y="6287115"/>
                </a:lnTo>
                <a:lnTo>
                  <a:pt x="1086094" y="6281913"/>
                </a:lnTo>
                <a:lnTo>
                  <a:pt x="1084862" y="6278790"/>
                </a:lnTo>
                <a:lnTo>
                  <a:pt x="1084129" y="6276931"/>
                </a:lnTo>
                <a:lnTo>
                  <a:pt x="1081880" y="6272183"/>
                </a:lnTo>
                <a:lnTo>
                  <a:pt x="1079352" y="6267679"/>
                </a:lnTo>
                <a:lnTo>
                  <a:pt x="1076551" y="6263433"/>
                </a:lnTo>
                <a:lnTo>
                  <a:pt x="1073481" y="6259457"/>
                </a:lnTo>
                <a:lnTo>
                  <a:pt x="1070556" y="6256215"/>
                </a:lnTo>
                <a:lnTo>
                  <a:pt x="1066554" y="6252361"/>
                </a:lnTo>
                <a:lnTo>
                  <a:pt x="1062708" y="6249267"/>
                </a:lnTo>
                <a:lnTo>
                  <a:pt x="1058613" y="6246491"/>
                </a:lnTo>
                <a:lnTo>
                  <a:pt x="1054275" y="6244045"/>
                </a:lnTo>
                <a:lnTo>
                  <a:pt x="1049697" y="6241942"/>
                </a:lnTo>
                <a:lnTo>
                  <a:pt x="1044886" y="6240194"/>
                </a:lnTo>
                <a:lnTo>
                  <a:pt x="1039847" y="6238813"/>
                </a:lnTo>
                <a:lnTo>
                  <a:pt x="1034583" y="6237812"/>
                </a:lnTo>
                <a:lnTo>
                  <a:pt x="1029101" y="6237202"/>
                </a:lnTo>
                <a:lnTo>
                  <a:pt x="1023405" y="6236996"/>
                </a:lnTo>
                <a:close/>
                <a:moveTo>
                  <a:pt x="1524474" y="6236081"/>
                </a:moveTo>
                <a:lnTo>
                  <a:pt x="1518900" y="6236268"/>
                </a:lnTo>
                <a:lnTo>
                  <a:pt x="1513439" y="6236823"/>
                </a:lnTo>
                <a:lnTo>
                  <a:pt x="1508104" y="6237736"/>
                </a:lnTo>
                <a:lnTo>
                  <a:pt x="1502907" y="6238997"/>
                </a:lnTo>
                <a:lnTo>
                  <a:pt x="1497861" y="6240598"/>
                </a:lnTo>
                <a:lnTo>
                  <a:pt x="1492978" y="6242529"/>
                </a:lnTo>
                <a:lnTo>
                  <a:pt x="1488271" y="6244779"/>
                </a:lnTo>
                <a:lnTo>
                  <a:pt x="1483751" y="6247341"/>
                </a:lnTo>
                <a:lnTo>
                  <a:pt x="1479433" y="6250204"/>
                </a:lnTo>
                <a:lnTo>
                  <a:pt x="1475328" y="6253359"/>
                </a:lnTo>
                <a:lnTo>
                  <a:pt x="1471448" y="6256796"/>
                </a:lnTo>
                <a:lnTo>
                  <a:pt x="1467808" y="6260506"/>
                </a:lnTo>
                <a:lnTo>
                  <a:pt x="1464417" y="6264480"/>
                </a:lnTo>
                <a:lnTo>
                  <a:pt x="1461291" y="6268707"/>
                </a:lnTo>
                <a:lnTo>
                  <a:pt x="1458440" y="6273179"/>
                </a:lnTo>
                <a:lnTo>
                  <a:pt x="1455878" y="6277886"/>
                </a:lnTo>
                <a:lnTo>
                  <a:pt x="1453616" y="6282819"/>
                </a:lnTo>
                <a:lnTo>
                  <a:pt x="1451663" y="6287986"/>
                </a:lnTo>
                <a:lnTo>
                  <a:pt x="1450047" y="6293322"/>
                </a:lnTo>
                <a:lnTo>
                  <a:pt x="1448764" y="6298874"/>
                </a:lnTo>
                <a:lnTo>
                  <a:pt x="1447832" y="6304614"/>
                </a:lnTo>
                <a:cubicBezTo>
                  <a:pt x="1447642" y="6306587"/>
                  <a:pt x="1447453" y="6308559"/>
                  <a:pt x="1447263" y="6310532"/>
                </a:cubicBezTo>
                <a:lnTo>
                  <a:pt x="1447071" y="6316619"/>
                </a:lnTo>
                <a:cubicBezTo>
                  <a:pt x="1447131" y="6318552"/>
                  <a:pt x="1447192" y="6320485"/>
                  <a:pt x="1447252" y="6322418"/>
                </a:cubicBezTo>
                <a:cubicBezTo>
                  <a:pt x="1447431" y="6324301"/>
                  <a:pt x="1447609" y="6326183"/>
                  <a:pt x="1447788" y="6328066"/>
                </a:cubicBezTo>
                <a:lnTo>
                  <a:pt x="1448667" y="6333554"/>
                </a:lnTo>
                <a:lnTo>
                  <a:pt x="1449877" y="6338874"/>
                </a:lnTo>
                <a:lnTo>
                  <a:pt x="1451408" y="6344017"/>
                </a:lnTo>
                <a:lnTo>
                  <a:pt x="1453247" y="6348975"/>
                </a:lnTo>
                <a:lnTo>
                  <a:pt x="1455383" y="6353738"/>
                </a:lnTo>
                <a:lnTo>
                  <a:pt x="1457805" y="6358299"/>
                </a:lnTo>
                <a:lnTo>
                  <a:pt x="1460500" y="6362650"/>
                </a:lnTo>
                <a:lnTo>
                  <a:pt x="1463458" y="6366781"/>
                </a:lnTo>
                <a:lnTo>
                  <a:pt x="1466666" y="6370685"/>
                </a:lnTo>
                <a:lnTo>
                  <a:pt x="1470114" y="6374352"/>
                </a:lnTo>
                <a:lnTo>
                  <a:pt x="1473789" y="6377775"/>
                </a:lnTo>
                <a:lnTo>
                  <a:pt x="1477681" y="6380944"/>
                </a:lnTo>
                <a:lnTo>
                  <a:pt x="1481778" y="6383852"/>
                </a:lnTo>
                <a:lnTo>
                  <a:pt x="1486067" y="6386489"/>
                </a:lnTo>
                <a:lnTo>
                  <a:pt x="1490538" y="6388849"/>
                </a:lnTo>
                <a:lnTo>
                  <a:pt x="1495179" y="6390921"/>
                </a:lnTo>
                <a:lnTo>
                  <a:pt x="1499979" y="6392697"/>
                </a:lnTo>
                <a:lnTo>
                  <a:pt x="1504925" y="6394170"/>
                </a:lnTo>
                <a:lnTo>
                  <a:pt x="1510007" y="6395330"/>
                </a:lnTo>
                <a:lnTo>
                  <a:pt x="1515213" y="6396169"/>
                </a:lnTo>
                <a:lnTo>
                  <a:pt x="1520531" y="6396678"/>
                </a:lnTo>
                <a:lnTo>
                  <a:pt x="1525950" y="6396850"/>
                </a:lnTo>
                <a:lnTo>
                  <a:pt x="1532781" y="6396579"/>
                </a:lnTo>
                <a:lnTo>
                  <a:pt x="1539291" y="6395786"/>
                </a:lnTo>
                <a:lnTo>
                  <a:pt x="1545476" y="6394505"/>
                </a:lnTo>
                <a:lnTo>
                  <a:pt x="1551333" y="6392768"/>
                </a:lnTo>
                <a:lnTo>
                  <a:pt x="1556859" y="6390607"/>
                </a:lnTo>
                <a:lnTo>
                  <a:pt x="1562051" y="6388054"/>
                </a:lnTo>
                <a:lnTo>
                  <a:pt x="1566905" y="6385143"/>
                </a:lnTo>
                <a:lnTo>
                  <a:pt x="1571417" y="6381905"/>
                </a:lnTo>
                <a:lnTo>
                  <a:pt x="1575585" y="6378373"/>
                </a:lnTo>
                <a:lnTo>
                  <a:pt x="1579405" y="6374579"/>
                </a:lnTo>
                <a:lnTo>
                  <a:pt x="1582873" y="6370556"/>
                </a:lnTo>
                <a:lnTo>
                  <a:pt x="1585988" y="6366337"/>
                </a:lnTo>
                <a:lnTo>
                  <a:pt x="1588744" y="6361953"/>
                </a:lnTo>
                <a:lnTo>
                  <a:pt x="1591139" y="6357438"/>
                </a:lnTo>
                <a:lnTo>
                  <a:pt x="1592589" y="6354142"/>
                </a:lnTo>
                <a:lnTo>
                  <a:pt x="1593169" y="6352822"/>
                </a:lnTo>
                <a:lnTo>
                  <a:pt x="1594832" y="6348140"/>
                </a:lnTo>
                <a:cubicBezTo>
                  <a:pt x="1594894" y="6347588"/>
                  <a:pt x="1594955" y="6347037"/>
                  <a:pt x="1595017" y="6346485"/>
                </a:cubicBezTo>
                <a:lnTo>
                  <a:pt x="1594588" y="6344942"/>
                </a:lnTo>
                <a:lnTo>
                  <a:pt x="1593627" y="6343685"/>
                </a:lnTo>
                <a:lnTo>
                  <a:pt x="1592215" y="6342887"/>
                </a:lnTo>
                <a:lnTo>
                  <a:pt x="1559980" y="6332703"/>
                </a:lnTo>
                <a:lnTo>
                  <a:pt x="1558513" y="6332537"/>
                </a:lnTo>
                <a:lnTo>
                  <a:pt x="1557135" y="6332922"/>
                </a:lnTo>
                <a:lnTo>
                  <a:pt x="1555975" y="6333788"/>
                </a:lnTo>
                <a:lnTo>
                  <a:pt x="1555158" y="6335066"/>
                </a:lnTo>
                <a:lnTo>
                  <a:pt x="1553059" y="6339274"/>
                </a:lnTo>
                <a:lnTo>
                  <a:pt x="1550294" y="6343224"/>
                </a:lnTo>
                <a:lnTo>
                  <a:pt x="1546848" y="6346776"/>
                </a:lnTo>
                <a:lnTo>
                  <a:pt x="1542705" y="6349785"/>
                </a:lnTo>
                <a:lnTo>
                  <a:pt x="1537851" y="6352111"/>
                </a:lnTo>
                <a:lnTo>
                  <a:pt x="1532271" y="6353611"/>
                </a:lnTo>
                <a:lnTo>
                  <a:pt x="1525950" y="6354142"/>
                </a:lnTo>
                <a:lnTo>
                  <a:pt x="1520957" y="6353811"/>
                </a:lnTo>
                <a:lnTo>
                  <a:pt x="1516168" y="6352827"/>
                </a:lnTo>
                <a:lnTo>
                  <a:pt x="1511640" y="6351203"/>
                </a:lnTo>
                <a:lnTo>
                  <a:pt x="1507429" y="6348949"/>
                </a:lnTo>
                <a:lnTo>
                  <a:pt x="1503595" y="6346080"/>
                </a:lnTo>
                <a:lnTo>
                  <a:pt x="1500193" y="6342607"/>
                </a:lnTo>
                <a:lnTo>
                  <a:pt x="1497281" y="6338542"/>
                </a:lnTo>
                <a:lnTo>
                  <a:pt x="1494917" y="6333899"/>
                </a:lnTo>
                <a:lnTo>
                  <a:pt x="1493157" y="6328689"/>
                </a:lnTo>
                <a:lnTo>
                  <a:pt x="1492059" y="6322925"/>
                </a:lnTo>
                <a:cubicBezTo>
                  <a:pt x="1491933" y="6320823"/>
                  <a:pt x="1491806" y="6318721"/>
                  <a:pt x="1491680" y="6316619"/>
                </a:cubicBezTo>
                <a:cubicBezTo>
                  <a:pt x="1491802" y="6314491"/>
                  <a:pt x="1491923" y="6312364"/>
                  <a:pt x="1492045" y="6310236"/>
                </a:cubicBezTo>
                <a:lnTo>
                  <a:pt x="1493105" y="6304410"/>
                </a:lnTo>
                <a:lnTo>
                  <a:pt x="1494809" y="6299150"/>
                </a:lnTo>
                <a:lnTo>
                  <a:pt x="1497103" y="6294468"/>
                </a:lnTo>
                <a:lnTo>
                  <a:pt x="1499937" y="6290374"/>
                </a:lnTo>
                <a:lnTo>
                  <a:pt x="1503259" y="6286880"/>
                </a:lnTo>
                <a:lnTo>
                  <a:pt x="1507016" y="6283997"/>
                </a:lnTo>
                <a:lnTo>
                  <a:pt x="1511157" y="6281735"/>
                </a:lnTo>
                <a:lnTo>
                  <a:pt x="1515629" y="6280106"/>
                </a:lnTo>
                <a:lnTo>
                  <a:pt x="1520381" y="6279120"/>
                </a:lnTo>
                <a:lnTo>
                  <a:pt x="1525361" y="6278789"/>
                </a:lnTo>
                <a:lnTo>
                  <a:pt x="1531642" y="6279308"/>
                </a:lnTo>
                <a:lnTo>
                  <a:pt x="1537118" y="6280776"/>
                </a:lnTo>
                <a:lnTo>
                  <a:pt x="1541824" y="6283064"/>
                </a:lnTo>
                <a:lnTo>
                  <a:pt x="1545800" y="6286041"/>
                </a:lnTo>
                <a:lnTo>
                  <a:pt x="1549081" y="6289575"/>
                </a:lnTo>
                <a:lnTo>
                  <a:pt x="1551705" y="6293537"/>
                </a:lnTo>
                <a:lnTo>
                  <a:pt x="1553709" y="6297795"/>
                </a:lnTo>
                <a:lnTo>
                  <a:pt x="1554514" y="6299099"/>
                </a:lnTo>
                <a:lnTo>
                  <a:pt x="1555675" y="6299988"/>
                </a:lnTo>
                <a:lnTo>
                  <a:pt x="1557062" y="6300390"/>
                </a:lnTo>
                <a:lnTo>
                  <a:pt x="1558545" y="6300231"/>
                </a:lnTo>
                <a:lnTo>
                  <a:pt x="1591335" y="6290024"/>
                </a:lnTo>
                <a:lnTo>
                  <a:pt x="1592748" y="6289235"/>
                </a:lnTo>
                <a:lnTo>
                  <a:pt x="1593713" y="6287986"/>
                </a:lnTo>
                <a:lnTo>
                  <a:pt x="1594150" y="6286448"/>
                </a:lnTo>
                <a:cubicBezTo>
                  <a:pt x="1594092" y="6285897"/>
                  <a:pt x="1594035" y="6285345"/>
                  <a:pt x="1593977" y="6284794"/>
                </a:cubicBezTo>
                <a:lnTo>
                  <a:pt x="1592440" y="6280308"/>
                </a:lnTo>
                <a:lnTo>
                  <a:pt x="1591800" y="6278789"/>
                </a:lnTo>
                <a:lnTo>
                  <a:pt x="1590582" y="6275899"/>
                </a:lnTo>
                <a:lnTo>
                  <a:pt x="1588404" y="6271591"/>
                </a:lnTo>
                <a:lnTo>
                  <a:pt x="1585906" y="6267410"/>
                </a:lnTo>
                <a:lnTo>
                  <a:pt x="1583089" y="6263381"/>
                </a:lnTo>
                <a:lnTo>
                  <a:pt x="1579952" y="6259529"/>
                </a:lnTo>
                <a:lnTo>
                  <a:pt x="1576497" y="6255880"/>
                </a:lnTo>
                <a:lnTo>
                  <a:pt x="1572723" y="6252459"/>
                </a:lnTo>
                <a:lnTo>
                  <a:pt x="1568631" y="6249291"/>
                </a:lnTo>
                <a:lnTo>
                  <a:pt x="1564221" y="6246401"/>
                </a:lnTo>
                <a:lnTo>
                  <a:pt x="1559493" y="6243814"/>
                </a:lnTo>
                <a:lnTo>
                  <a:pt x="1554448" y="6241556"/>
                </a:lnTo>
                <a:lnTo>
                  <a:pt x="1549086" y="6239653"/>
                </a:lnTo>
                <a:lnTo>
                  <a:pt x="1543407" y="6238128"/>
                </a:lnTo>
                <a:lnTo>
                  <a:pt x="1537412" y="6237008"/>
                </a:lnTo>
                <a:lnTo>
                  <a:pt x="1531101" y="6236317"/>
                </a:lnTo>
                <a:lnTo>
                  <a:pt x="1524474" y="6236081"/>
                </a:lnTo>
                <a:close/>
                <a:moveTo>
                  <a:pt x="1356301" y="6236081"/>
                </a:moveTo>
                <a:lnTo>
                  <a:pt x="1350654" y="6236268"/>
                </a:lnTo>
                <a:lnTo>
                  <a:pt x="1345126" y="6236823"/>
                </a:lnTo>
                <a:lnTo>
                  <a:pt x="1339730" y="6237735"/>
                </a:lnTo>
                <a:lnTo>
                  <a:pt x="1334477" y="6238996"/>
                </a:lnTo>
                <a:lnTo>
                  <a:pt x="1329381" y="6240595"/>
                </a:lnTo>
                <a:lnTo>
                  <a:pt x="1324454" y="6242523"/>
                </a:lnTo>
                <a:lnTo>
                  <a:pt x="1319706" y="6244771"/>
                </a:lnTo>
                <a:lnTo>
                  <a:pt x="1315152" y="6247328"/>
                </a:lnTo>
                <a:lnTo>
                  <a:pt x="1310803" y="6250186"/>
                </a:lnTo>
                <a:lnTo>
                  <a:pt x="1306672" y="6253334"/>
                </a:lnTo>
                <a:lnTo>
                  <a:pt x="1302769" y="6256763"/>
                </a:lnTo>
                <a:lnTo>
                  <a:pt x="1299109" y="6260463"/>
                </a:lnTo>
                <a:lnTo>
                  <a:pt x="1295703" y="6264425"/>
                </a:lnTo>
                <a:lnTo>
                  <a:pt x="1292563" y="6268638"/>
                </a:lnTo>
                <a:lnTo>
                  <a:pt x="1289702" y="6273094"/>
                </a:lnTo>
                <a:lnTo>
                  <a:pt x="1287131" y="6277783"/>
                </a:lnTo>
                <a:lnTo>
                  <a:pt x="1284864" y="6282695"/>
                </a:lnTo>
                <a:lnTo>
                  <a:pt x="1282912" y="6287821"/>
                </a:lnTo>
                <a:lnTo>
                  <a:pt x="1281287" y="6293150"/>
                </a:lnTo>
                <a:lnTo>
                  <a:pt x="1280002" y="6298673"/>
                </a:lnTo>
                <a:lnTo>
                  <a:pt x="1279069" y="6304381"/>
                </a:lnTo>
                <a:cubicBezTo>
                  <a:pt x="1278879" y="6306342"/>
                  <a:pt x="1278690" y="6308303"/>
                  <a:pt x="1278500" y="6310264"/>
                </a:cubicBezTo>
                <a:lnTo>
                  <a:pt x="1278308" y="6316313"/>
                </a:lnTo>
                <a:lnTo>
                  <a:pt x="1278485" y="6322114"/>
                </a:lnTo>
                <a:cubicBezTo>
                  <a:pt x="1278659" y="6323998"/>
                  <a:pt x="1278834" y="6325883"/>
                  <a:pt x="1279008" y="6327767"/>
                </a:cubicBezTo>
                <a:lnTo>
                  <a:pt x="1279866" y="6333262"/>
                </a:lnTo>
                <a:lnTo>
                  <a:pt x="1281049" y="6338592"/>
                </a:lnTo>
                <a:lnTo>
                  <a:pt x="1282546" y="6343746"/>
                </a:lnTo>
                <a:lnTo>
                  <a:pt x="1284346" y="6348717"/>
                </a:lnTo>
                <a:lnTo>
                  <a:pt x="1286438" y="6353496"/>
                </a:lnTo>
                <a:lnTo>
                  <a:pt x="1288812" y="6358074"/>
                </a:lnTo>
                <a:lnTo>
                  <a:pt x="1291457" y="6362441"/>
                </a:lnTo>
                <a:lnTo>
                  <a:pt x="1294362" y="6366591"/>
                </a:lnTo>
                <a:lnTo>
                  <a:pt x="1297516" y="6370513"/>
                </a:lnTo>
                <a:lnTo>
                  <a:pt x="1300908" y="6374200"/>
                </a:lnTo>
                <a:lnTo>
                  <a:pt x="1304528" y="6377641"/>
                </a:lnTo>
                <a:lnTo>
                  <a:pt x="1308366" y="6380829"/>
                </a:lnTo>
                <a:lnTo>
                  <a:pt x="1312409" y="6383755"/>
                </a:lnTo>
                <a:lnTo>
                  <a:pt x="1316648" y="6386411"/>
                </a:lnTo>
                <a:lnTo>
                  <a:pt x="1321072" y="6388786"/>
                </a:lnTo>
                <a:lnTo>
                  <a:pt x="1325669" y="6390873"/>
                </a:lnTo>
                <a:lnTo>
                  <a:pt x="1330430" y="6392663"/>
                </a:lnTo>
                <a:lnTo>
                  <a:pt x="1335342" y="6394147"/>
                </a:lnTo>
                <a:lnTo>
                  <a:pt x="1340397" y="6395317"/>
                </a:lnTo>
                <a:lnTo>
                  <a:pt x="1345582" y="6396163"/>
                </a:lnTo>
                <a:lnTo>
                  <a:pt x="1350887" y="6396677"/>
                </a:lnTo>
                <a:lnTo>
                  <a:pt x="1356301" y="6396850"/>
                </a:lnTo>
                <a:lnTo>
                  <a:pt x="1361750" y="6396677"/>
                </a:lnTo>
                <a:lnTo>
                  <a:pt x="1367083" y="6396163"/>
                </a:lnTo>
                <a:lnTo>
                  <a:pt x="1372291" y="6395317"/>
                </a:lnTo>
                <a:lnTo>
                  <a:pt x="1377363" y="6394147"/>
                </a:lnTo>
                <a:lnTo>
                  <a:pt x="1382289" y="6392663"/>
                </a:lnTo>
                <a:lnTo>
                  <a:pt x="1387059" y="6390873"/>
                </a:lnTo>
                <a:lnTo>
                  <a:pt x="1391661" y="6388786"/>
                </a:lnTo>
                <a:lnTo>
                  <a:pt x="1396087" y="6386411"/>
                </a:lnTo>
                <a:lnTo>
                  <a:pt x="1400324" y="6383755"/>
                </a:lnTo>
                <a:lnTo>
                  <a:pt x="1404363" y="6380829"/>
                </a:lnTo>
                <a:lnTo>
                  <a:pt x="1408194" y="6377641"/>
                </a:lnTo>
                <a:lnTo>
                  <a:pt x="1411806" y="6374200"/>
                </a:lnTo>
                <a:lnTo>
                  <a:pt x="1415189" y="6370513"/>
                </a:lnTo>
                <a:lnTo>
                  <a:pt x="1418332" y="6366591"/>
                </a:lnTo>
                <a:lnTo>
                  <a:pt x="1421225" y="6362441"/>
                </a:lnTo>
                <a:lnTo>
                  <a:pt x="1423857" y="6358074"/>
                </a:lnTo>
                <a:lnTo>
                  <a:pt x="1425886" y="6354142"/>
                </a:lnTo>
                <a:lnTo>
                  <a:pt x="1428300" y="6348717"/>
                </a:lnTo>
                <a:lnTo>
                  <a:pt x="1430089" y="6343746"/>
                </a:lnTo>
                <a:lnTo>
                  <a:pt x="1431576" y="6338592"/>
                </a:lnTo>
                <a:lnTo>
                  <a:pt x="1432751" y="6333262"/>
                </a:lnTo>
                <a:lnTo>
                  <a:pt x="1433602" y="6327767"/>
                </a:lnTo>
                <a:lnTo>
                  <a:pt x="1434121" y="6322114"/>
                </a:lnTo>
                <a:cubicBezTo>
                  <a:pt x="1434179" y="6320180"/>
                  <a:pt x="1434238" y="6318247"/>
                  <a:pt x="1434296" y="6316313"/>
                </a:cubicBezTo>
                <a:cubicBezTo>
                  <a:pt x="1434233" y="6314297"/>
                  <a:pt x="1434169" y="6312280"/>
                  <a:pt x="1434106" y="6310264"/>
                </a:cubicBezTo>
                <a:cubicBezTo>
                  <a:pt x="1433918" y="6308303"/>
                  <a:pt x="1433729" y="6306342"/>
                  <a:pt x="1433541" y="6304381"/>
                </a:cubicBezTo>
                <a:lnTo>
                  <a:pt x="1432615" y="6298673"/>
                </a:lnTo>
                <a:lnTo>
                  <a:pt x="1431339" y="6293150"/>
                </a:lnTo>
                <a:lnTo>
                  <a:pt x="1429725" y="6287821"/>
                </a:lnTo>
                <a:lnTo>
                  <a:pt x="1427785" y="6282695"/>
                </a:lnTo>
                <a:lnTo>
                  <a:pt x="1425992" y="6278789"/>
                </a:lnTo>
                <a:lnTo>
                  <a:pt x="1425530" y="6277783"/>
                </a:lnTo>
                <a:lnTo>
                  <a:pt x="1422972" y="6273094"/>
                </a:lnTo>
                <a:lnTo>
                  <a:pt x="1420123" y="6268638"/>
                </a:lnTo>
                <a:lnTo>
                  <a:pt x="1416996" y="6264425"/>
                </a:lnTo>
                <a:lnTo>
                  <a:pt x="1413600" y="6260463"/>
                </a:lnTo>
                <a:lnTo>
                  <a:pt x="1409950" y="6256763"/>
                </a:lnTo>
                <a:lnTo>
                  <a:pt x="1406055" y="6253334"/>
                </a:lnTo>
                <a:lnTo>
                  <a:pt x="1401929" y="6250186"/>
                </a:lnTo>
                <a:lnTo>
                  <a:pt x="1397583" y="6247328"/>
                </a:lnTo>
                <a:lnTo>
                  <a:pt x="1393028" y="6244771"/>
                </a:lnTo>
                <a:lnTo>
                  <a:pt x="1388276" y="6242523"/>
                </a:lnTo>
                <a:lnTo>
                  <a:pt x="1383340" y="6240595"/>
                </a:lnTo>
                <a:lnTo>
                  <a:pt x="1378231" y="6238996"/>
                </a:lnTo>
                <a:lnTo>
                  <a:pt x="1372961" y="6237735"/>
                </a:lnTo>
                <a:lnTo>
                  <a:pt x="1367541" y="6236823"/>
                </a:lnTo>
                <a:lnTo>
                  <a:pt x="1361984" y="6236268"/>
                </a:lnTo>
                <a:lnTo>
                  <a:pt x="1356301" y="6236081"/>
                </a:lnTo>
                <a:close/>
                <a:moveTo>
                  <a:pt x="788397" y="6175982"/>
                </a:moveTo>
                <a:lnTo>
                  <a:pt x="786849" y="6176305"/>
                </a:lnTo>
                <a:lnTo>
                  <a:pt x="785585" y="6177185"/>
                </a:lnTo>
                <a:lnTo>
                  <a:pt x="784733" y="6178491"/>
                </a:lnTo>
                <a:cubicBezTo>
                  <a:pt x="784629" y="6179024"/>
                  <a:pt x="784524" y="6179556"/>
                  <a:pt x="784420" y="6180089"/>
                </a:cubicBezTo>
                <a:lnTo>
                  <a:pt x="784420" y="6388168"/>
                </a:lnTo>
                <a:cubicBezTo>
                  <a:pt x="784524" y="6388701"/>
                  <a:pt x="784629" y="6389234"/>
                  <a:pt x="784733" y="6389767"/>
                </a:cubicBezTo>
                <a:lnTo>
                  <a:pt x="785585" y="6391072"/>
                </a:lnTo>
                <a:lnTo>
                  <a:pt x="786849" y="6391952"/>
                </a:lnTo>
                <a:lnTo>
                  <a:pt x="788397" y="6392275"/>
                </a:lnTo>
                <a:lnTo>
                  <a:pt x="913386" y="6392275"/>
                </a:lnTo>
                <a:lnTo>
                  <a:pt x="914934" y="6391952"/>
                </a:lnTo>
                <a:lnTo>
                  <a:pt x="916198" y="6391072"/>
                </a:lnTo>
                <a:lnTo>
                  <a:pt x="917050" y="6389767"/>
                </a:lnTo>
                <a:cubicBezTo>
                  <a:pt x="917154" y="6389234"/>
                  <a:pt x="917259" y="6388701"/>
                  <a:pt x="917363" y="6388168"/>
                </a:cubicBezTo>
                <a:lnTo>
                  <a:pt x="917363" y="6350622"/>
                </a:lnTo>
                <a:lnTo>
                  <a:pt x="914934" y="6346838"/>
                </a:lnTo>
                <a:lnTo>
                  <a:pt x="835075" y="6346515"/>
                </a:lnTo>
                <a:lnTo>
                  <a:pt x="833527" y="6346192"/>
                </a:lnTo>
                <a:lnTo>
                  <a:pt x="832263" y="6345312"/>
                </a:lnTo>
                <a:lnTo>
                  <a:pt x="831410" y="6344006"/>
                </a:lnTo>
                <a:cubicBezTo>
                  <a:pt x="831306" y="6343473"/>
                  <a:pt x="831201" y="6342941"/>
                  <a:pt x="831097" y="6342408"/>
                </a:cubicBezTo>
                <a:lnTo>
                  <a:pt x="831097" y="6309132"/>
                </a:lnTo>
                <a:cubicBezTo>
                  <a:pt x="831201" y="6308599"/>
                  <a:pt x="831306" y="6308067"/>
                  <a:pt x="831410" y="6307534"/>
                </a:cubicBezTo>
                <a:lnTo>
                  <a:pt x="832263" y="6306228"/>
                </a:lnTo>
                <a:lnTo>
                  <a:pt x="833527" y="6305348"/>
                </a:lnTo>
                <a:lnTo>
                  <a:pt x="835075" y="6305025"/>
                </a:lnTo>
                <a:lnTo>
                  <a:pt x="905112" y="6305025"/>
                </a:lnTo>
                <a:lnTo>
                  <a:pt x="906661" y="6304703"/>
                </a:lnTo>
                <a:lnTo>
                  <a:pt x="907925" y="6303823"/>
                </a:lnTo>
                <a:lnTo>
                  <a:pt x="908778" y="6302517"/>
                </a:lnTo>
                <a:cubicBezTo>
                  <a:pt x="908882" y="6301984"/>
                  <a:pt x="908987" y="6301451"/>
                  <a:pt x="909091" y="6300918"/>
                </a:cubicBezTo>
                <a:lnTo>
                  <a:pt x="909091" y="6266729"/>
                </a:lnTo>
                <a:cubicBezTo>
                  <a:pt x="908987" y="6266196"/>
                  <a:pt x="908882" y="6265663"/>
                  <a:pt x="908778" y="6265130"/>
                </a:cubicBezTo>
                <a:lnTo>
                  <a:pt x="907925" y="6263825"/>
                </a:lnTo>
                <a:lnTo>
                  <a:pt x="906661" y="6262944"/>
                </a:lnTo>
                <a:lnTo>
                  <a:pt x="905112" y="6262622"/>
                </a:lnTo>
                <a:lnTo>
                  <a:pt x="835075" y="6262622"/>
                </a:lnTo>
                <a:lnTo>
                  <a:pt x="833527" y="6262299"/>
                </a:lnTo>
                <a:lnTo>
                  <a:pt x="832263" y="6261419"/>
                </a:lnTo>
                <a:lnTo>
                  <a:pt x="831410" y="6260114"/>
                </a:lnTo>
                <a:cubicBezTo>
                  <a:pt x="831306" y="6259581"/>
                  <a:pt x="831201" y="6259048"/>
                  <a:pt x="831097" y="6258515"/>
                </a:cubicBezTo>
                <a:lnTo>
                  <a:pt x="831097" y="6225545"/>
                </a:lnTo>
                <a:cubicBezTo>
                  <a:pt x="831201" y="6225012"/>
                  <a:pt x="831306" y="6224479"/>
                  <a:pt x="831410" y="6223946"/>
                </a:cubicBezTo>
                <a:lnTo>
                  <a:pt x="832263" y="6222641"/>
                </a:lnTo>
                <a:lnTo>
                  <a:pt x="833527" y="6221761"/>
                </a:lnTo>
                <a:lnTo>
                  <a:pt x="835075" y="6221438"/>
                </a:lnTo>
                <a:lnTo>
                  <a:pt x="913090" y="6221438"/>
                </a:lnTo>
                <a:lnTo>
                  <a:pt x="914638" y="6221115"/>
                </a:lnTo>
                <a:lnTo>
                  <a:pt x="915902" y="6220235"/>
                </a:lnTo>
                <a:lnTo>
                  <a:pt x="916754" y="6218930"/>
                </a:lnTo>
                <a:cubicBezTo>
                  <a:pt x="916858" y="6218397"/>
                  <a:pt x="916963" y="6217864"/>
                  <a:pt x="917067" y="6217331"/>
                </a:cubicBezTo>
                <a:lnTo>
                  <a:pt x="917067" y="6180089"/>
                </a:lnTo>
                <a:cubicBezTo>
                  <a:pt x="916963" y="6179556"/>
                  <a:pt x="916858" y="6179024"/>
                  <a:pt x="916754" y="6178491"/>
                </a:cubicBezTo>
                <a:lnTo>
                  <a:pt x="915902" y="6177185"/>
                </a:lnTo>
                <a:lnTo>
                  <a:pt x="914638" y="6176305"/>
                </a:lnTo>
                <a:lnTo>
                  <a:pt x="913090" y="6175982"/>
                </a:lnTo>
                <a:lnTo>
                  <a:pt x="788397" y="6175982"/>
                </a:lnTo>
                <a:close/>
                <a:moveTo>
                  <a:pt x="1130966" y="6167136"/>
                </a:moveTo>
                <a:lnTo>
                  <a:pt x="1125778" y="6167690"/>
                </a:lnTo>
                <a:lnTo>
                  <a:pt x="1120922" y="6169276"/>
                </a:lnTo>
                <a:lnTo>
                  <a:pt x="1116509" y="6171785"/>
                </a:lnTo>
                <a:lnTo>
                  <a:pt x="1112650" y="6175106"/>
                </a:lnTo>
                <a:lnTo>
                  <a:pt x="1109456" y="6179127"/>
                </a:lnTo>
                <a:lnTo>
                  <a:pt x="1107037" y="6183738"/>
                </a:lnTo>
                <a:lnTo>
                  <a:pt x="1105504" y="6188829"/>
                </a:lnTo>
                <a:cubicBezTo>
                  <a:pt x="1105326" y="6190648"/>
                  <a:pt x="1105147" y="6192468"/>
                  <a:pt x="1104969" y="6194287"/>
                </a:cubicBezTo>
                <a:cubicBezTo>
                  <a:pt x="1105147" y="6196107"/>
                  <a:pt x="1105326" y="6197926"/>
                  <a:pt x="1105504" y="6199746"/>
                </a:cubicBezTo>
                <a:lnTo>
                  <a:pt x="1107037" y="6204836"/>
                </a:lnTo>
                <a:lnTo>
                  <a:pt x="1109456" y="6209447"/>
                </a:lnTo>
                <a:lnTo>
                  <a:pt x="1112650" y="6213468"/>
                </a:lnTo>
                <a:lnTo>
                  <a:pt x="1116509" y="6216789"/>
                </a:lnTo>
                <a:lnTo>
                  <a:pt x="1120922" y="6219298"/>
                </a:lnTo>
                <a:lnTo>
                  <a:pt x="1125778" y="6220885"/>
                </a:lnTo>
                <a:lnTo>
                  <a:pt x="1130966" y="6221438"/>
                </a:lnTo>
                <a:lnTo>
                  <a:pt x="1136350" y="6220885"/>
                </a:lnTo>
                <a:lnTo>
                  <a:pt x="1141353" y="6219298"/>
                </a:lnTo>
                <a:lnTo>
                  <a:pt x="1145871" y="6216789"/>
                </a:lnTo>
                <a:lnTo>
                  <a:pt x="1149800" y="6213468"/>
                </a:lnTo>
                <a:lnTo>
                  <a:pt x="1153038" y="6209447"/>
                </a:lnTo>
                <a:lnTo>
                  <a:pt x="1155478" y="6204836"/>
                </a:lnTo>
                <a:lnTo>
                  <a:pt x="1157019" y="6199746"/>
                </a:lnTo>
                <a:lnTo>
                  <a:pt x="1157556" y="6194287"/>
                </a:lnTo>
                <a:lnTo>
                  <a:pt x="1157019" y="6188829"/>
                </a:lnTo>
                <a:lnTo>
                  <a:pt x="1155478" y="6183738"/>
                </a:lnTo>
                <a:lnTo>
                  <a:pt x="1153038" y="6179127"/>
                </a:lnTo>
                <a:lnTo>
                  <a:pt x="1149800" y="6175106"/>
                </a:lnTo>
                <a:lnTo>
                  <a:pt x="1145871" y="6171785"/>
                </a:lnTo>
                <a:lnTo>
                  <a:pt x="1141353" y="6169276"/>
                </a:lnTo>
                <a:lnTo>
                  <a:pt x="1136350" y="6167690"/>
                </a:lnTo>
                <a:lnTo>
                  <a:pt x="1130966" y="6167136"/>
                </a:lnTo>
                <a:close/>
                <a:moveTo>
                  <a:pt x="587603" y="6130388"/>
                </a:moveTo>
                <a:lnTo>
                  <a:pt x="582187" y="6131131"/>
                </a:lnTo>
                <a:lnTo>
                  <a:pt x="577056" y="6133358"/>
                </a:lnTo>
                <a:lnTo>
                  <a:pt x="474730" y="6195414"/>
                </a:lnTo>
                <a:lnTo>
                  <a:pt x="470330" y="6198968"/>
                </a:lnTo>
                <a:lnTo>
                  <a:pt x="467011" y="6203523"/>
                </a:lnTo>
                <a:lnTo>
                  <a:pt x="464915" y="6208820"/>
                </a:lnTo>
                <a:cubicBezTo>
                  <a:pt x="464672" y="6210747"/>
                  <a:pt x="464428" y="6212674"/>
                  <a:pt x="464185" y="6214601"/>
                </a:cubicBezTo>
                <a:lnTo>
                  <a:pt x="464185" y="6338713"/>
                </a:lnTo>
                <a:cubicBezTo>
                  <a:pt x="464428" y="6340640"/>
                  <a:pt x="464672" y="6342567"/>
                  <a:pt x="464915" y="6344494"/>
                </a:cubicBezTo>
                <a:lnTo>
                  <a:pt x="467011" y="6349791"/>
                </a:lnTo>
                <a:lnTo>
                  <a:pt x="470330" y="6354347"/>
                </a:lnTo>
                <a:lnTo>
                  <a:pt x="474731" y="6357902"/>
                </a:lnTo>
                <a:lnTo>
                  <a:pt x="577056" y="6419958"/>
                </a:lnTo>
                <a:lnTo>
                  <a:pt x="582187" y="6422184"/>
                </a:lnTo>
                <a:lnTo>
                  <a:pt x="587603" y="6422926"/>
                </a:lnTo>
                <a:lnTo>
                  <a:pt x="593018" y="6422184"/>
                </a:lnTo>
                <a:lnTo>
                  <a:pt x="598149" y="6419958"/>
                </a:lnTo>
                <a:lnTo>
                  <a:pt x="693908" y="6361884"/>
                </a:lnTo>
                <a:lnTo>
                  <a:pt x="700475" y="6357902"/>
                </a:lnTo>
                <a:lnTo>
                  <a:pt x="704876" y="6354347"/>
                </a:lnTo>
                <a:lnTo>
                  <a:pt x="708195" y="6349791"/>
                </a:lnTo>
                <a:lnTo>
                  <a:pt x="710290" y="6344494"/>
                </a:lnTo>
                <a:cubicBezTo>
                  <a:pt x="710533" y="6342567"/>
                  <a:pt x="710777" y="6340640"/>
                  <a:pt x="711020" y="6338713"/>
                </a:cubicBezTo>
                <a:lnTo>
                  <a:pt x="711020" y="6287037"/>
                </a:lnTo>
                <a:lnTo>
                  <a:pt x="587603" y="6361884"/>
                </a:lnTo>
                <a:lnTo>
                  <a:pt x="518967" y="6320260"/>
                </a:lnTo>
                <a:cubicBezTo>
                  <a:pt x="518979" y="6291852"/>
                  <a:pt x="518992" y="6263444"/>
                  <a:pt x="519004" y="6235036"/>
                </a:cubicBezTo>
                <a:lnTo>
                  <a:pt x="582538" y="6196483"/>
                </a:lnTo>
                <a:lnTo>
                  <a:pt x="585000" y="6195414"/>
                </a:lnTo>
                <a:lnTo>
                  <a:pt x="587603" y="6195057"/>
                </a:lnTo>
                <a:lnTo>
                  <a:pt x="590208" y="6195414"/>
                </a:lnTo>
                <a:lnTo>
                  <a:pt x="592674" y="6196485"/>
                </a:lnTo>
                <a:lnTo>
                  <a:pt x="656238" y="6235034"/>
                </a:lnTo>
                <a:lnTo>
                  <a:pt x="596138" y="6271483"/>
                </a:lnTo>
                <a:lnTo>
                  <a:pt x="591986" y="6273284"/>
                </a:lnTo>
                <a:lnTo>
                  <a:pt x="587603" y="6273884"/>
                </a:lnTo>
                <a:lnTo>
                  <a:pt x="583221" y="6273283"/>
                </a:lnTo>
                <a:lnTo>
                  <a:pt x="579069" y="6271481"/>
                </a:lnTo>
                <a:lnTo>
                  <a:pt x="536076" y="6245395"/>
                </a:lnTo>
                <a:lnTo>
                  <a:pt x="536046" y="6309859"/>
                </a:lnTo>
                <a:lnTo>
                  <a:pt x="587603" y="6341127"/>
                </a:lnTo>
                <a:lnTo>
                  <a:pt x="698481" y="6273884"/>
                </a:lnTo>
                <a:lnTo>
                  <a:pt x="711020" y="6266280"/>
                </a:lnTo>
                <a:lnTo>
                  <a:pt x="711020" y="6214601"/>
                </a:lnTo>
                <a:cubicBezTo>
                  <a:pt x="710777" y="6212674"/>
                  <a:pt x="710533" y="6210747"/>
                  <a:pt x="710290" y="6208820"/>
                </a:cubicBezTo>
                <a:lnTo>
                  <a:pt x="708195" y="6203523"/>
                </a:lnTo>
                <a:lnTo>
                  <a:pt x="704876" y="6198968"/>
                </a:lnTo>
                <a:lnTo>
                  <a:pt x="700475" y="6195413"/>
                </a:lnTo>
                <a:lnTo>
                  <a:pt x="699887" y="6195057"/>
                </a:lnTo>
                <a:lnTo>
                  <a:pt x="598149" y="6133358"/>
                </a:lnTo>
                <a:lnTo>
                  <a:pt x="593018" y="6131131"/>
                </a:lnTo>
                <a:lnTo>
                  <a:pt x="587603" y="6130388"/>
                </a:lnTo>
                <a:close/>
                <a:moveTo>
                  <a:pt x="0" y="0"/>
                </a:moveTo>
                <a:lnTo>
                  <a:pt x="12204708" y="0"/>
                </a:lnTo>
                <a:cubicBezTo>
                  <a:pt x="12207885" y="2286000"/>
                  <a:pt x="12201531" y="4581525"/>
                  <a:pt x="12204708" y="6867525"/>
                </a:cubicBezTo>
                <a:lnTo>
                  <a:pt x="6353" y="6867525"/>
                </a:lnTo>
                <a:cubicBezTo>
                  <a:pt x="4235" y="4578350"/>
                  <a:pt x="2118" y="2289175"/>
                  <a:pt x="0" y="0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095484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age Photo - Yellow Logo T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4607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2"/>
          <p:cNvSpPr>
            <a:spLocks/>
          </p:cNvSpPr>
          <p:nvPr userDrawn="1"/>
        </p:nvSpPr>
        <p:spPr bwMode="auto">
          <a:xfrm>
            <a:off x="-2" y="3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8" name="object 5"/>
          <p:cNvSpPr>
            <a:spLocks/>
          </p:cNvSpPr>
          <p:nvPr userDrawn="1"/>
        </p:nvSpPr>
        <p:spPr bwMode="auto">
          <a:xfrm>
            <a:off x="1" y="5688016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978153" y="2075687"/>
            <a:ext cx="10247756" cy="932688"/>
          </a:xfrm>
        </p:spPr>
        <p:txBody>
          <a:bodyPr wrap="square" anchor="ctr" anchorCtr="0">
            <a:noAutofit/>
          </a:bodyPr>
          <a:lstStyle>
            <a:lvl1pPr algn="ctr">
              <a:defRPr sz="60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969012" y="3218689"/>
            <a:ext cx="10247756" cy="594360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6135842"/>
            <a:ext cx="1177486" cy="3188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365648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13374" y="2020825"/>
            <a:ext cx="7642370" cy="3984689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271" y="412751"/>
            <a:ext cx="9968921" cy="523875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8741302" y="2020824"/>
            <a:ext cx="2928881" cy="3840480"/>
          </a:xfrm>
        </p:spPr>
        <p:txBody>
          <a:bodyPr lIns="0" rIns="0"/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SzPct val="75000"/>
              <a:buFontTx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8414859" y="2020824"/>
            <a:ext cx="7434" cy="400232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726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8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7" y="1517904"/>
            <a:ext cx="11332623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853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4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4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15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4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38" y="1503362"/>
            <a:ext cx="51869" cy="4489704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61181" y="1517904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879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89" y="2024459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0" y="2024459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270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5308816" cy="437997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5186" y="1517904"/>
            <a:ext cx="5304901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68152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11586" y="2020824"/>
            <a:ext cx="1829276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5167706" y="2012849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8"/>
          </p:nvPr>
        </p:nvSpPr>
        <p:spPr>
          <a:xfrm>
            <a:off x="9923825" y="2020824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2515256" y="2023752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sz="half" idx="19"/>
          </p:nvPr>
        </p:nvSpPr>
        <p:spPr>
          <a:xfrm>
            <a:off x="2789647" y="2020824"/>
            <a:ext cx="1829276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 flipH="1">
            <a:off x="4893315" y="2020825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H="1">
            <a:off x="7271374" y="2020118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>
            <a:off x="9649433" y="2028093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Content Placeholder 3"/>
          <p:cNvSpPr>
            <a:spLocks noGrp="1"/>
          </p:cNvSpPr>
          <p:nvPr>
            <p:ph sz="half" idx="20"/>
          </p:nvPr>
        </p:nvSpPr>
        <p:spPr>
          <a:xfrm>
            <a:off x="7545765" y="2020117"/>
            <a:ext cx="1829276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644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6" y="1517905"/>
            <a:ext cx="5451244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1182" y="1517905"/>
            <a:ext cx="5460086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6365281" y="1971675"/>
            <a:ext cx="5451244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8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14" name="object 10"/>
          <p:cNvSpPr>
            <a:spLocks/>
          </p:cNvSpPr>
          <p:nvPr userDrawn="1"/>
        </p:nvSpPr>
        <p:spPr bwMode="auto">
          <a:xfrm>
            <a:off x="6090286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830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6"/>
            <a:ext cx="5451244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365282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69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999" y="1514476"/>
            <a:ext cx="5451244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3385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114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1"/>
            <a:ext cx="5844538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150126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074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8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5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899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469799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007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48215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04115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rgbClr val="425563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rgbClr val="425563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>
                <a:solidFill>
                  <a:srgbClr val="425563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1357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33540" y="1514476"/>
            <a:ext cx="11136644" cy="449103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726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533539" y="970473"/>
            <a:ext cx="11136644" cy="5035040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712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5308816" cy="437997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5186" y="1517904"/>
            <a:ext cx="5304901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8507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4115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2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29889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rgbClr val="FFCD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>
              <a:solidFill>
                <a:srgbClr val="425563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530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2743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2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302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Pictures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3539" y="2024626"/>
            <a:ext cx="5329292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63472" y="2024626"/>
            <a:ext cx="5306711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2042" y="6249378"/>
            <a:ext cx="388142" cy="193171"/>
          </a:xfrm>
          <a:prstGeom prst="rect">
            <a:avLst/>
          </a:prstGeom>
        </p:spPr>
        <p:txBody>
          <a:bodyPr vert="horz" wrap="square" lIns="54000" tIns="45720" rIns="54000" bIns="45720" rtlCol="0" anchor="t" anchorCtr="0">
            <a:noAutofit/>
          </a:bodyPr>
          <a:lstStyle>
            <a:lvl1pPr algn="r">
              <a:lnSpc>
                <a:spcPct val="100000"/>
              </a:lnSpc>
              <a:buFontTx/>
              <a:buNone/>
              <a:defRPr sz="900" b="0"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smtClean="0"/>
              <a:pPr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855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Photo - White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6351" y="-6351"/>
            <a:ext cx="12202448" cy="6867525"/>
          </a:xfrm>
          <a:custGeom>
            <a:avLst/>
            <a:gdLst>
              <a:gd name="connsiteX0" fmla="*/ 1007893 w 12198355"/>
              <a:gd name="connsiteY0" fmla="*/ 6269265 h 6858000"/>
              <a:gd name="connsiteX1" fmla="*/ 1012666 w 12198355"/>
              <a:gd name="connsiteY1" fmla="*/ 6269568 h 6858000"/>
              <a:gd name="connsiteX2" fmla="*/ 1017275 w 12198355"/>
              <a:gd name="connsiteY2" fmla="*/ 6270481 h 6858000"/>
              <a:gd name="connsiteX3" fmla="*/ 1021659 w 12198355"/>
              <a:gd name="connsiteY3" fmla="*/ 6272007 h 6858000"/>
              <a:gd name="connsiteX4" fmla="*/ 1025757 w 12198355"/>
              <a:gd name="connsiteY4" fmla="*/ 6274150 h 6858000"/>
              <a:gd name="connsiteX5" fmla="*/ 1029507 w 12198355"/>
              <a:gd name="connsiteY5" fmla="*/ 6276915 h 6858000"/>
              <a:gd name="connsiteX6" fmla="*/ 1032848 w 12198355"/>
              <a:gd name="connsiteY6" fmla="*/ 6280306 h 6858000"/>
              <a:gd name="connsiteX7" fmla="*/ 1035719 w 12198355"/>
              <a:gd name="connsiteY7" fmla="*/ 6284326 h 6858000"/>
              <a:gd name="connsiteX8" fmla="*/ 1038059 w 12198355"/>
              <a:gd name="connsiteY8" fmla="*/ 6288981 h 6858000"/>
              <a:gd name="connsiteX9" fmla="*/ 1039806 w 12198355"/>
              <a:gd name="connsiteY9" fmla="*/ 6294273 h 6858000"/>
              <a:gd name="connsiteX10" fmla="*/ 1040899 w 12198355"/>
              <a:gd name="connsiteY10" fmla="*/ 6300208 h 6858000"/>
              <a:gd name="connsiteX11" fmla="*/ 1041277 w 12198355"/>
              <a:gd name="connsiteY11" fmla="*/ 6306788 h 6858000"/>
              <a:gd name="connsiteX12" fmla="*/ 1040899 w 12198355"/>
              <a:gd name="connsiteY12" fmla="*/ 6313376 h 6858000"/>
              <a:gd name="connsiteX13" fmla="*/ 1039806 w 12198355"/>
              <a:gd name="connsiteY13" fmla="*/ 6319330 h 6858000"/>
              <a:gd name="connsiteX14" fmla="*/ 1038059 w 12198355"/>
              <a:gd name="connsiteY14" fmla="*/ 6324652 h 6858000"/>
              <a:gd name="connsiteX15" fmla="*/ 1035719 w 12198355"/>
              <a:gd name="connsiteY15" fmla="*/ 6329342 h 6858000"/>
              <a:gd name="connsiteX16" fmla="*/ 1032848 w 12198355"/>
              <a:gd name="connsiteY16" fmla="*/ 6333403 h 6858000"/>
              <a:gd name="connsiteX17" fmla="*/ 1029507 w 12198355"/>
              <a:gd name="connsiteY17" fmla="*/ 6336835 h 6858000"/>
              <a:gd name="connsiteX18" fmla="*/ 1025757 w 12198355"/>
              <a:gd name="connsiteY18" fmla="*/ 6339641 h 6858000"/>
              <a:gd name="connsiteX19" fmla="*/ 1021659 w 12198355"/>
              <a:gd name="connsiteY19" fmla="*/ 6341820 h 6858000"/>
              <a:gd name="connsiteX20" fmla="*/ 1017275 w 12198355"/>
              <a:gd name="connsiteY20" fmla="*/ 6343375 h 6858000"/>
              <a:gd name="connsiteX21" fmla="*/ 1012666 w 12198355"/>
              <a:gd name="connsiteY21" fmla="*/ 6344307 h 6858000"/>
              <a:gd name="connsiteX22" fmla="*/ 1007893 w 12198355"/>
              <a:gd name="connsiteY22" fmla="*/ 6344618 h 6858000"/>
              <a:gd name="connsiteX23" fmla="*/ 1003193 w 12198355"/>
              <a:gd name="connsiteY23" fmla="*/ 6344300 h 6858000"/>
              <a:gd name="connsiteX24" fmla="*/ 998645 w 12198355"/>
              <a:gd name="connsiteY24" fmla="*/ 6343350 h 6858000"/>
              <a:gd name="connsiteX25" fmla="*/ 994309 w 12198355"/>
              <a:gd name="connsiteY25" fmla="*/ 6341771 h 6858000"/>
              <a:gd name="connsiteX26" fmla="*/ 990249 w 12198355"/>
              <a:gd name="connsiteY26" fmla="*/ 6339564 h 6858000"/>
              <a:gd name="connsiteX27" fmla="*/ 986527 w 12198355"/>
              <a:gd name="connsiteY27" fmla="*/ 6336732 h 6858000"/>
              <a:gd name="connsiteX28" fmla="*/ 983207 w 12198355"/>
              <a:gd name="connsiteY28" fmla="*/ 6333280 h 6858000"/>
              <a:gd name="connsiteX29" fmla="*/ 980349 w 12198355"/>
              <a:gd name="connsiteY29" fmla="*/ 6329208 h 6858000"/>
              <a:gd name="connsiteX30" fmla="*/ 978018 w 12198355"/>
              <a:gd name="connsiteY30" fmla="*/ 6324520 h 6858000"/>
              <a:gd name="connsiteX31" fmla="*/ 976275 w 12198355"/>
              <a:gd name="connsiteY31" fmla="*/ 6319219 h 6858000"/>
              <a:gd name="connsiteX32" fmla="*/ 975184 w 12198355"/>
              <a:gd name="connsiteY32" fmla="*/ 6313308 h 6858000"/>
              <a:gd name="connsiteX33" fmla="*/ 974806 w 12198355"/>
              <a:gd name="connsiteY33" fmla="*/ 6306788 h 6858000"/>
              <a:gd name="connsiteX34" fmla="*/ 975184 w 12198355"/>
              <a:gd name="connsiteY34" fmla="*/ 6300208 h 6858000"/>
              <a:gd name="connsiteX35" fmla="*/ 976275 w 12198355"/>
              <a:gd name="connsiteY35" fmla="*/ 6294273 h 6858000"/>
              <a:gd name="connsiteX36" fmla="*/ 978018 w 12198355"/>
              <a:gd name="connsiteY36" fmla="*/ 6288981 h 6858000"/>
              <a:gd name="connsiteX37" fmla="*/ 980349 w 12198355"/>
              <a:gd name="connsiteY37" fmla="*/ 6284326 h 6858000"/>
              <a:gd name="connsiteX38" fmla="*/ 983207 w 12198355"/>
              <a:gd name="connsiteY38" fmla="*/ 6280306 h 6858000"/>
              <a:gd name="connsiteX39" fmla="*/ 986527 w 12198355"/>
              <a:gd name="connsiteY39" fmla="*/ 6276915 h 6858000"/>
              <a:gd name="connsiteX40" fmla="*/ 990249 w 12198355"/>
              <a:gd name="connsiteY40" fmla="*/ 6274150 h 6858000"/>
              <a:gd name="connsiteX41" fmla="*/ 994309 w 12198355"/>
              <a:gd name="connsiteY41" fmla="*/ 6272007 h 6858000"/>
              <a:gd name="connsiteX42" fmla="*/ 998645 w 12198355"/>
              <a:gd name="connsiteY42" fmla="*/ 6270481 h 6858000"/>
              <a:gd name="connsiteX43" fmla="*/ 1003193 w 12198355"/>
              <a:gd name="connsiteY43" fmla="*/ 6269568 h 6858000"/>
              <a:gd name="connsiteX44" fmla="*/ 1007893 w 12198355"/>
              <a:gd name="connsiteY44" fmla="*/ 6269265 h 6858000"/>
              <a:gd name="connsiteX45" fmla="*/ 1349948 w 12198355"/>
              <a:gd name="connsiteY45" fmla="*/ 6269264 h 6858000"/>
              <a:gd name="connsiteX46" fmla="*/ 1354581 w 12198355"/>
              <a:gd name="connsiteY46" fmla="*/ 6269561 h 6858000"/>
              <a:gd name="connsiteX47" fmla="*/ 1359089 w 12198355"/>
              <a:gd name="connsiteY47" fmla="*/ 6270455 h 6858000"/>
              <a:gd name="connsiteX48" fmla="*/ 1363405 w 12198355"/>
              <a:gd name="connsiteY48" fmla="*/ 6271956 h 6858000"/>
              <a:gd name="connsiteX49" fmla="*/ 1367462 w 12198355"/>
              <a:gd name="connsiteY49" fmla="*/ 6274072 h 6858000"/>
              <a:gd name="connsiteX50" fmla="*/ 1371195 w 12198355"/>
              <a:gd name="connsiteY50" fmla="*/ 6276811 h 6858000"/>
              <a:gd name="connsiteX51" fmla="*/ 1374536 w 12198355"/>
              <a:gd name="connsiteY51" fmla="*/ 6280181 h 6858000"/>
              <a:gd name="connsiteX52" fmla="*/ 1377418 w 12198355"/>
              <a:gd name="connsiteY52" fmla="*/ 6284190 h 6858000"/>
              <a:gd name="connsiteX53" fmla="*/ 1379777 w 12198355"/>
              <a:gd name="connsiteY53" fmla="*/ 6288848 h 6858000"/>
              <a:gd name="connsiteX54" fmla="*/ 1381543 w 12198355"/>
              <a:gd name="connsiteY54" fmla="*/ 6294161 h 6858000"/>
              <a:gd name="connsiteX55" fmla="*/ 1382652 w 12198355"/>
              <a:gd name="connsiteY55" fmla="*/ 6300138 h 6858000"/>
              <a:gd name="connsiteX56" fmla="*/ 1383037 w 12198355"/>
              <a:gd name="connsiteY56" fmla="*/ 6306788 h 6858000"/>
              <a:gd name="connsiteX57" fmla="*/ 1382652 w 12198355"/>
              <a:gd name="connsiteY57" fmla="*/ 6313445 h 6858000"/>
              <a:gd name="connsiteX58" fmla="*/ 1381543 w 12198355"/>
              <a:gd name="connsiteY58" fmla="*/ 6319442 h 6858000"/>
              <a:gd name="connsiteX59" fmla="*/ 1379777 w 12198355"/>
              <a:gd name="connsiteY59" fmla="*/ 6324784 h 6858000"/>
              <a:gd name="connsiteX60" fmla="*/ 1377418 w 12198355"/>
              <a:gd name="connsiteY60" fmla="*/ 6329478 h 6858000"/>
              <a:gd name="connsiteX61" fmla="*/ 1374536 w 12198355"/>
              <a:gd name="connsiteY61" fmla="*/ 6333527 h 6858000"/>
              <a:gd name="connsiteX62" fmla="*/ 1371195 w 12198355"/>
              <a:gd name="connsiteY62" fmla="*/ 6336939 h 6858000"/>
              <a:gd name="connsiteX63" fmla="*/ 1367462 w 12198355"/>
              <a:gd name="connsiteY63" fmla="*/ 6339718 h 6858000"/>
              <a:gd name="connsiteX64" fmla="*/ 1363405 w 12198355"/>
              <a:gd name="connsiteY64" fmla="*/ 6341869 h 6858000"/>
              <a:gd name="connsiteX65" fmla="*/ 1359089 w 12198355"/>
              <a:gd name="connsiteY65" fmla="*/ 6343400 h 6858000"/>
              <a:gd name="connsiteX66" fmla="*/ 1354581 w 12198355"/>
              <a:gd name="connsiteY66" fmla="*/ 6344314 h 6858000"/>
              <a:gd name="connsiteX67" fmla="*/ 1349948 w 12198355"/>
              <a:gd name="connsiteY67" fmla="*/ 6344617 h 6858000"/>
              <a:gd name="connsiteX68" fmla="*/ 1345382 w 12198355"/>
              <a:gd name="connsiteY68" fmla="*/ 6344307 h 6858000"/>
              <a:gd name="connsiteX69" fmla="*/ 1340916 w 12198355"/>
              <a:gd name="connsiteY69" fmla="*/ 6343375 h 6858000"/>
              <a:gd name="connsiteX70" fmla="*/ 1336620 w 12198355"/>
              <a:gd name="connsiteY70" fmla="*/ 6341820 h 6858000"/>
              <a:gd name="connsiteX71" fmla="*/ 1332565 w 12198355"/>
              <a:gd name="connsiteY71" fmla="*/ 6339640 h 6858000"/>
              <a:gd name="connsiteX72" fmla="*/ 1328822 w 12198355"/>
              <a:gd name="connsiteY72" fmla="*/ 6336835 h 6858000"/>
              <a:gd name="connsiteX73" fmla="*/ 1325461 w 12198355"/>
              <a:gd name="connsiteY73" fmla="*/ 6333403 h 6858000"/>
              <a:gd name="connsiteX74" fmla="*/ 1322553 w 12198355"/>
              <a:gd name="connsiteY74" fmla="*/ 6329343 h 6858000"/>
              <a:gd name="connsiteX75" fmla="*/ 1320168 w 12198355"/>
              <a:gd name="connsiteY75" fmla="*/ 6324652 h 6858000"/>
              <a:gd name="connsiteX76" fmla="*/ 1318378 w 12198355"/>
              <a:gd name="connsiteY76" fmla="*/ 6319330 h 6858000"/>
              <a:gd name="connsiteX77" fmla="*/ 1317251 w 12198355"/>
              <a:gd name="connsiteY77" fmla="*/ 6313376 h 6858000"/>
              <a:gd name="connsiteX78" fmla="*/ 1316860 w 12198355"/>
              <a:gd name="connsiteY78" fmla="*/ 6306788 h 6858000"/>
              <a:gd name="connsiteX79" fmla="*/ 1317251 w 12198355"/>
              <a:gd name="connsiteY79" fmla="*/ 6300138 h 6858000"/>
              <a:gd name="connsiteX80" fmla="*/ 1318378 w 12198355"/>
              <a:gd name="connsiteY80" fmla="*/ 6294161 h 6858000"/>
              <a:gd name="connsiteX81" fmla="*/ 1320168 w 12198355"/>
              <a:gd name="connsiteY81" fmla="*/ 6288848 h 6858000"/>
              <a:gd name="connsiteX82" fmla="*/ 1322553 w 12198355"/>
              <a:gd name="connsiteY82" fmla="*/ 6284190 h 6858000"/>
              <a:gd name="connsiteX83" fmla="*/ 1325461 w 12198355"/>
              <a:gd name="connsiteY83" fmla="*/ 6280181 h 6858000"/>
              <a:gd name="connsiteX84" fmla="*/ 1328822 w 12198355"/>
              <a:gd name="connsiteY84" fmla="*/ 6276811 h 6858000"/>
              <a:gd name="connsiteX85" fmla="*/ 1332565 w 12198355"/>
              <a:gd name="connsiteY85" fmla="*/ 6274072 h 6858000"/>
              <a:gd name="connsiteX86" fmla="*/ 1336620 w 12198355"/>
              <a:gd name="connsiteY86" fmla="*/ 6271956 h 6858000"/>
              <a:gd name="connsiteX87" fmla="*/ 1340916 w 12198355"/>
              <a:gd name="connsiteY87" fmla="*/ 6270455 h 6858000"/>
              <a:gd name="connsiteX88" fmla="*/ 1345382 w 12198355"/>
              <a:gd name="connsiteY88" fmla="*/ 6269561 h 6858000"/>
              <a:gd name="connsiteX89" fmla="*/ 1349948 w 12198355"/>
              <a:gd name="connsiteY89" fmla="*/ 6269264 h 6858000"/>
              <a:gd name="connsiteX90" fmla="*/ 1106434 w 12198355"/>
              <a:gd name="connsiteY90" fmla="*/ 6231132 h 6858000"/>
              <a:gd name="connsiteX91" fmla="*/ 1104886 w 12198355"/>
              <a:gd name="connsiteY91" fmla="*/ 6231455 h 6858000"/>
              <a:gd name="connsiteX92" fmla="*/ 1103622 w 12198355"/>
              <a:gd name="connsiteY92" fmla="*/ 6232335 h 6858000"/>
              <a:gd name="connsiteX93" fmla="*/ 1102769 w 12198355"/>
              <a:gd name="connsiteY93" fmla="*/ 6233641 h 6858000"/>
              <a:gd name="connsiteX94" fmla="*/ 1102457 w 12198355"/>
              <a:gd name="connsiteY94" fmla="*/ 6235239 h 6858000"/>
              <a:gd name="connsiteX95" fmla="*/ 1102457 w 12198355"/>
              <a:gd name="connsiteY95" fmla="*/ 6378643 h 6858000"/>
              <a:gd name="connsiteX96" fmla="*/ 1102769 w 12198355"/>
              <a:gd name="connsiteY96" fmla="*/ 6380242 h 6858000"/>
              <a:gd name="connsiteX97" fmla="*/ 1103622 w 12198355"/>
              <a:gd name="connsiteY97" fmla="*/ 6381547 h 6858000"/>
              <a:gd name="connsiteX98" fmla="*/ 1104886 w 12198355"/>
              <a:gd name="connsiteY98" fmla="*/ 6382427 h 6858000"/>
              <a:gd name="connsiteX99" fmla="*/ 1106434 w 12198355"/>
              <a:gd name="connsiteY99" fmla="*/ 6382750 h 6858000"/>
              <a:gd name="connsiteX100" fmla="*/ 1143384 w 12198355"/>
              <a:gd name="connsiteY100" fmla="*/ 6382750 h 6858000"/>
              <a:gd name="connsiteX101" fmla="*/ 1144932 w 12198355"/>
              <a:gd name="connsiteY101" fmla="*/ 6382427 h 6858000"/>
              <a:gd name="connsiteX102" fmla="*/ 1146197 w 12198355"/>
              <a:gd name="connsiteY102" fmla="*/ 6381547 h 6858000"/>
              <a:gd name="connsiteX103" fmla="*/ 1147050 w 12198355"/>
              <a:gd name="connsiteY103" fmla="*/ 6380242 h 6858000"/>
              <a:gd name="connsiteX104" fmla="*/ 1147362 w 12198355"/>
              <a:gd name="connsiteY104" fmla="*/ 6378643 h 6858000"/>
              <a:gd name="connsiteX105" fmla="*/ 1147362 w 12198355"/>
              <a:gd name="connsiteY105" fmla="*/ 6235239 h 6858000"/>
              <a:gd name="connsiteX106" fmla="*/ 1147050 w 12198355"/>
              <a:gd name="connsiteY106" fmla="*/ 6233641 h 6858000"/>
              <a:gd name="connsiteX107" fmla="*/ 1146197 w 12198355"/>
              <a:gd name="connsiteY107" fmla="*/ 6232335 h 6858000"/>
              <a:gd name="connsiteX108" fmla="*/ 1144932 w 12198355"/>
              <a:gd name="connsiteY108" fmla="*/ 6231455 h 6858000"/>
              <a:gd name="connsiteX109" fmla="*/ 1143384 w 12198355"/>
              <a:gd name="connsiteY109" fmla="*/ 6231132 h 6858000"/>
              <a:gd name="connsiteX110" fmla="*/ 1106434 w 12198355"/>
              <a:gd name="connsiteY110" fmla="*/ 6231132 h 6858000"/>
              <a:gd name="connsiteX111" fmla="*/ 1254739 w 12198355"/>
              <a:gd name="connsiteY111" fmla="*/ 6229607 h 6858000"/>
              <a:gd name="connsiteX112" fmla="*/ 1250024 w 12198355"/>
              <a:gd name="connsiteY112" fmla="*/ 6229850 h 6858000"/>
              <a:gd name="connsiteX113" fmla="*/ 1244879 w 12198355"/>
              <a:gd name="connsiteY113" fmla="*/ 6230637 h 6858000"/>
              <a:gd name="connsiteX114" fmla="*/ 1239513 w 12198355"/>
              <a:gd name="connsiteY114" fmla="*/ 6232052 h 6858000"/>
              <a:gd name="connsiteX115" fmla="*/ 1234133 w 12198355"/>
              <a:gd name="connsiteY115" fmla="*/ 6234183 h 6858000"/>
              <a:gd name="connsiteX116" fmla="*/ 1228947 w 12198355"/>
              <a:gd name="connsiteY116" fmla="*/ 6237114 h 6858000"/>
              <a:gd name="connsiteX117" fmla="*/ 1224162 w 12198355"/>
              <a:gd name="connsiteY117" fmla="*/ 6240933 h 6858000"/>
              <a:gd name="connsiteX118" fmla="*/ 1219987 w 12198355"/>
              <a:gd name="connsiteY118" fmla="*/ 6245723 h 6858000"/>
              <a:gd name="connsiteX119" fmla="*/ 1216628 w 12198355"/>
              <a:gd name="connsiteY119" fmla="*/ 6251572 h 6858000"/>
              <a:gd name="connsiteX120" fmla="*/ 1216628 w 12198355"/>
              <a:gd name="connsiteY120" fmla="*/ 6235238 h 6858000"/>
              <a:gd name="connsiteX121" fmla="*/ 1216316 w 12198355"/>
              <a:gd name="connsiteY121" fmla="*/ 6233640 h 6858000"/>
              <a:gd name="connsiteX122" fmla="*/ 1215463 w 12198355"/>
              <a:gd name="connsiteY122" fmla="*/ 6232335 h 6858000"/>
              <a:gd name="connsiteX123" fmla="*/ 1214199 w 12198355"/>
              <a:gd name="connsiteY123" fmla="*/ 6231454 h 6858000"/>
              <a:gd name="connsiteX124" fmla="*/ 1212650 w 12198355"/>
              <a:gd name="connsiteY124" fmla="*/ 6231132 h 6858000"/>
              <a:gd name="connsiteX125" fmla="*/ 1177178 w 12198355"/>
              <a:gd name="connsiteY125" fmla="*/ 6231132 h 6858000"/>
              <a:gd name="connsiteX126" fmla="*/ 1175630 w 12198355"/>
              <a:gd name="connsiteY126" fmla="*/ 6231454 h 6858000"/>
              <a:gd name="connsiteX127" fmla="*/ 1174366 w 12198355"/>
              <a:gd name="connsiteY127" fmla="*/ 6232335 h 6858000"/>
              <a:gd name="connsiteX128" fmla="*/ 1173513 w 12198355"/>
              <a:gd name="connsiteY128" fmla="*/ 6233640 h 6858000"/>
              <a:gd name="connsiteX129" fmla="*/ 1173201 w 12198355"/>
              <a:gd name="connsiteY129" fmla="*/ 6235238 h 6858000"/>
              <a:gd name="connsiteX130" fmla="*/ 1173201 w 12198355"/>
              <a:gd name="connsiteY130" fmla="*/ 6378642 h 6858000"/>
              <a:gd name="connsiteX131" fmla="*/ 1173513 w 12198355"/>
              <a:gd name="connsiteY131" fmla="*/ 6380242 h 6858000"/>
              <a:gd name="connsiteX132" fmla="*/ 1174366 w 12198355"/>
              <a:gd name="connsiteY132" fmla="*/ 6381548 h 6858000"/>
              <a:gd name="connsiteX133" fmla="*/ 1175630 w 12198355"/>
              <a:gd name="connsiteY133" fmla="*/ 6382428 h 6858000"/>
              <a:gd name="connsiteX134" fmla="*/ 1177178 w 12198355"/>
              <a:gd name="connsiteY134" fmla="*/ 6382751 h 6858000"/>
              <a:gd name="connsiteX135" fmla="*/ 1214127 w 12198355"/>
              <a:gd name="connsiteY135" fmla="*/ 6382751 h 6858000"/>
              <a:gd name="connsiteX136" fmla="*/ 1215676 w 12198355"/>
              <a:gd name="connsiteY136" fmla="*/ 6382428 h 6858000"/>
              <a:gd name="connsiteX137" fmla="*/ 1216940 w 12198355"/>
              <a:gd name="connsiteY137" fmla="*/ 6381548 h 6858000"/>
              <a:gd name="connsiteX138" fmla="*/ 1217792 w 12198355"/>
              <a:gd name="connsiteY138" fmla="*/ 6380242 h 6858000"/>
              <a:gd name="connsiteX139" fmla="*/ 1218105 w 12198355"/>
              <a:gd name="connsiteY139" fmla="*/ 6378642 h 6858000"/>
              <a:gd name="connsiteX140" fmla="*/ 1218105 w 12198355"/>
              <a:gd name="connsiteY140" fmla="*/ 6316549 h 6858000"/>
              <a:gd name="connsiteX141" fmla="*/ 1218497 w 12198355"/>
              <a:gd name="connsiteY141" fmla="*/ 6308781 h 6858000"/>
              <a:gd name="connsiteX142" fmla="*/ 1219630 w 12198355"/>
              <a:gd name="connsiteY142" fmla="*/ 6301926 h 6858000"/>
              <a:gd name="connsiteX143" fmla="*/ 1221437 w 12198355"/>
              <a:gd name="connsiteY143" fmla="*/ 6295946 h 6858000"/>
              <a:gd name="connsiteX144" fmla="*/ 1223855 w 12198355"/>
              <a:gd name="connsiteY144" fmla="*/ 6290807 h 6858000"/>
              <a:gd name="connsiteX145" fmla="*/ 1226817 w 12198355"/>
              <a:gd name="connsiteY145" fmla="*/ 6286470 h 6858000"/>
              <a:gd name="connsiteX146" fmla="*/ 1230259 w 12198355"/>
              <a:gd name="connsiteY146" fmla="*/ 6282901 h 6858000"/>
              <a:gd name="connsiteX147" fmla="*/ 1234115 w 12198355"/>
              <a:gd name="connsiteY147" fmla="*/ 6280062 h 6858000"/>
              <a:gd name="connsiteX148" fmla="*/ 1238320 w 12198355"/>
              <a:gd name="connsiteY148" fmla="*/ 6277917 h 6858000"/>
              <a:gd name="connsiteX149" fmla="*/ 1242809 w 12198355"/>
              <a:gd name="connsiteY149" fmla="*/ 6276430 h 6858000"/>
              <a:gd name="connsiteX150" fmla="*/ 1247516 w 12198355"/>
              <a:gd name="connsiteY150" fmla="*/ 6275565 h 6858000"/>
              <a:gd name="connsiteX151" fmla="*/ 1252376 w 12198355"/>
              <a:gd name="connsiteY151" fmla="*/ 6275284 h 6858000"/>
              <a:gd name="connsiteX152" fmla="*/ 1254599 w 12198355"/>
              <a:gd name="connsiteY152" fmla="*/ 6275312 h 6858000"/>
              <a:gd name="connsiteX153" fmla="*/ 1256730 w 12198355"/>
              <a:gd name="connsiteY153" fmla="*/ 6275402 h 6858000"/>
              <a:gd name="connsiteX154" fmla="*/ 1258821 w 12198355"/>
              <a:gd name="connsiteY154" fmla="*/ 6275565 h 6858000"/>
              <a:gd name="connsiteX155" fmla="*/ 1260894 w 12198355"/>
              <a:gd name="connsiteY155" fmla="*/ 6275809 h 6858000"/>
              <a:gd name="connsiteX156" fmla="*/ 1262471 w 12198355"/>
              <a:gd name="connsiteY156" fmla="*/ 6275713 h 6858000"/>
              <a:gd name="connsiteX157" fmla="*/ 1263347 w 12198355"/>
              <a:gd name="connsiteY157" fmla="*/ 6275284 h 6858000"/>
              <a:gd name="connsiteX158" fmla="*/ 1263848 w 12198355"/>
              <a:gd name="connsiteY158" fmla="*/ 6275039 h 6858000"/>
              <a:gd name="connsiteX159" fmla="*/ 1264877 w 12198355"/>
              <a:gd name="connsiteY159" fmla="*/ 6273889 h 6858000"/>
              <a:gd name="connsiteX160" fmla="*/ 1265415 w 12198355"/>
              <a:gd name="connsiteY160" fmla="*/ 6272363 h 6858000"/>
              <a:gd name="connsiteX161" fmla="*/ 1268444 w 12198355"/>
              <a:gd name="connsiteY161" fmla="*/ 6251572 h 6858000"/>
              <a:gd name="connsiteX162" fmla="*/ 1270750 w 12198355"/>
              <a:gd name="connsiteY162" fmla="*/ 6235738 h 6858000"/>
              <a:gd name="connsiteX163" fmla="*/ 1270687 w 12198355"/>
              <a:gd name="connsiteY163" fmla="*/ 6234167 h 6858000"/>
              <a:gd name="connsiteX164" fmla="*/ 1264312 w 12198355"/>
              <a:gd name="connsiteY164" fmla="*/ 6230481 h 6858000"/>
              <a:gd name="connsiteX165" fmla="*/ 1257574 w 12198355"/>
              <a:gd name="connsiteY165" fmla="*/ 6229712 h 6858000"/>
              <a:gd name="connsiteX166" fmla="*/ 1254739 w 12198355"/>
              <a:gd name="connsiteY166" fmla="*/ 6229607 h 6858000"/>
              <a:gd name="connsiteX167" fmla="*/ 1017052 w 12198355"/>
              <a:gd name="connsiteY167" fmla="*/ 6227471 h 6858000"/>
              <a:gd name="connsiteX168" fmla="*/ 1010253 w 12198355"/>
              <a:gd name="connsiteY168" fmla="*/ 6227809 h 6858000"/>
              <a:gd name="connsiteX169" fmla="*/ 1003864 w 12198355"/>
              <a:gd name="connsiteY169" fmla="*/ 6228772 h 6858000"/>
              <a:gd name="connsiteX170" fmla="*/ 997926 w 12198355"/>
              <a:gd name="connsiteY170" fmla="*/ 6230284 h 6858000"/>
              <a:gd name="connsiteX171" fmla="*/ 992476 w 12198355"/>
              <a:gd name="connsiteY171" fmla="*/ 6232272 h 6858000"/>
              <a:gd name="connsiteX172" fmla="*/ 987553 w 12198355"/>
              <a:gd name="connsiteY172" fmla="*/ 6234658 h 6858000"/>
              <a:gd name="connsiteX173" fmla="*/ 983198 w 12198355"/>
              <a:gd name="connsiteY173" fmla="*/ 6237369 h 6858000"/>
              <a:gd name="connsiteX174" fmla="*/ 979447 w 12198355"/>
              <a:gd name="connsiteY174" fmla="*/ 6240328 h 6858000"/>
              <a:gd name="connsiteX175" fmla="*/ 973919 w 12198355"/>
              <a:gd name="connsiteY175" fmla="*/ 6246690 h 6858000"/>
              <a:gd name="connsiteX176" fmla="*/ 973919 w 12198355"/>
              <a:gd name="connsiteY176" fmla="*/ 6235238 h 6858000"/>
              <a:gd name="connsiteX177" fmla="*/ 973606 w 12198355"/>
              <a:gd name="connsiteY177" fmla="*/ 6233640 h 6858000"/>
              <a:gd name="connsiteX178" fmla="*/ 972754 w 12198355"/>
              <a:gd name="connsiteY178" fmla="*/ 6232335 h 6858000"/>
              <a:gd name="connsiteX179" fmla="*/ 971489 w 12198355"/>
              <a:gd name="connsiteY179" fmla="*/ 6231454 h 6858000"/>
              <a:gd name="connsiteX180" fmla="*/ 969940 w 12198355"/>
              <a:gd name="connsiteY180" fmla="*/ 6231132 h 6858000"/>
              <a:gd name="connsiteX181" fmla="*/ 934469 w 12198355"/>
              <a:gd name="connsiteY181" fmla="*/ 6231132 h 6858000"/>
              <a:gd name="connsiteX182" fmla="*/ 932920 w 12198355"/>
              <a:gd name="connsiteY182" fmla="*/ 6231454 h 6858000"/>
              <a:gd name="connsiteX183" fmla="*/ 931655 w 12198355"/>
              <a:gd name="connsiteY183" fmla="*/ 6232335 h 6858000"/>
              <a:gd name="connsiteX184" fmla="*/ 930803 w 12198355"/>
              <a:gd name="connsiteY184" fmla="*/ 6233640 h 6858000"/>
              <a:gd name="connsiteX185" fmla="*/ 930490 w 12198355"/>
              <a:gd name="connsiteY185" fmla="*/ 6235238 h 6858000"/>
              <a:gd name="connsiteX186" fmla="*/ 930490 w 12198355"/>
              <a:gd name="connsiteY186" fmla="*/ 6436605 h 6858000"/>
              <a:gd name="connsiteX187" fmla="*/ 930803 w 12198355"/>
              <a:gd name="connsiteY187" fmla="*/ 6438204 h 6858000"/>
              <a:gd name="connsiteX188" fmla="*/ 931655 w 12198355"/>
              <a:gd name="connsiteY188" fmla="*/ 6439509 h 6858000"/>
              <a:gd name="connsiteX189" fmla="*/ 932920 w 12198355"/>
              <a:gd name="connsiteY189" fmla="*/ 6440389 h 6858000"/>
              <a:gd name="connsiteX190" fmla="*/ 934469 w 12198355"/>
              <a:gd name="connsiteY190" fmla="*/ 6440712 h 6858000"/>
              <a:gd name="connsiteX191" fmla="*/ 971418 w 12198355"/>
              <a:gd name="connsiteY191" fmla="*/ 6440712 h 6858000"/>
              <a:gd name="connsiteX192" fmla="*/ 972966 w 12198355"/>
              <a:gd name="connsiteY192" fmla="*/ 6440389 h 6858000"/>
              <a:gd name="connsiteX193" fmla="*/ 974230 w 12198355"/>
              <a:gd name="connsiteY193" fmla="*/ 6439509 h 6858000"/>
              <a:gd name="connsiteX194" fmla="*/ 975083 w 12198355"/>
              <a:gd name="connsiteY194" fmla="*/ 6438204 h 6858000"/>
              <a:gd name="connsiteX195" fmla="*/ 975395 w 12198355"/>
              <a:gd name="connsiteY195" fmla="*/ 6436605 h 6858000"/>
              <a:gd name="connsiteX196" fmla="*/ 975395 w 12198355"/>
              <a:gd name="connsiteY196" fmla="*/ 6370853 h 6858000"/>
              <a:gd name="connsiteX197" fmla="*/ 978285 w 12198355"/>
              <a:gd name="connsiteY197" fmla="*/ 6373960 h 6858000"/>
              <a:gd name="connsiteX198" fmla="*/ 981835 w 12198355"/>
              <a:gd name="connsiteY198" fmla="*/ 6376839 h 6858000"/>
              <a:gd name="connsiteX199" fmla="*/ 986016 w 12198355"/>
              <a:gd name="connsiteY199" fmla="*/ 6379433 h 6858000"/>
              <a:gd name="connsiteX200" fmla="*/ 990795 w 12198355"/>
              <a:gd name="connsiteY200" fmla="*/ 6381683 h 6858000"/>
              <a:gd name="connsiteX201" fmla="*/ 996142 w 12198355"/>
              <a:gd name="connsiteY201" fmla="*/ 6383532 h 6858000"/>
              <a:gd name="connsiteX202" fmla="*/ 1002026 w 12198355"/>
              <a:gd name="connsiteY202" fmla="*/ 6384925 h 6858000"/>
              <a:gd name="connsiteX203" fmla="*/ 1008415 w 12198355"/>
              <a:gd name="connsiteY203" fmla="*/ 6385802 h 6858000"/>
              <a:gd name="connsiteX204" fmla="*/ 1015278 w 12198355"/>
              <a:gd name="connsiteY204" fmla="*/ 6386107 h 6858000"/>
              <a:gd name="connsiteX205" fmla="*/ 1020801 w 12198355"/>
              <a:gd name="connsiteY205" fmla="*/ 6385903 h 6858000"/>
              <a:gd name="connsiteX206" fmla="*/ 1026165 w 12198355"/>
              <a:gd name="connsiteY206" fmla="*/ 6385298 h 6858000"/>
              <a:gd name="connsiteX207" fmla="*/ 1031359 w 12198355"/>
              <a:gd name="connsiteY207" fmla="*/ 6384303 h 6858000"/>
              <a:gd name="connsiteX208" fmla="*/ 1036375 w 12198355"/>
              <a:gd name="connsiteY208" fmla="*/ 6382930 h 6858000"/>
              <a:gd name="connsiteX209" fmla="*/ 1041203 w 12198355"/>
              <a:gd name="connsiteY209" fmla="*/ 6381190 h 6858000"/>
              <a:gd name="connsiteX210" fmla="*/ 1045833 w 12198355"/>
              <a:gd name="connsiteY210" fmla="*/ 6379095 h 6858000"/>
              <a:gd name="connsiteX211" fmla="*/ 1050256 w 12198355"/>
              <a:gd name="connsiteY211" fmla="*/ 6376656 h 6858000"/>
              <a:gd name="connsiteX212" fmla="*/ 1054462 w 12198355"/>
              <a:gd name="connsiteY212" fmla="*/ 6373884 h 6858000"/>
              <a:gd name="connsiteX213" fmla="*/ 1058363 w 12198355"/>
              <a:gd name="connsiteY213" fmla="*/ 6370853 h 6858000"/>
              <a:gd name="connsiteX214" fmla="*/ 1062187 w 12198355"/>
              <a:gd name="connsiteY214" fmla="*/ 6367387 h 6858000"/>
              <a:gd name="connsiteX215" fmla="*/ 1065687 w 12198355"/>
              <a:gd name="connsiteY215" fmla="*/ 6363684 h 6858000"/>
              <a:gd name="connsiteX216" fmla="*/ 1068932 w 12198355"/>
              <a:gd name="connsiteY216" fmla="*/ 6359694 h 6858000"/>
              <a:gd name="connsiteX217" fmla="*/ 1071913 w 12198355"/>
              <a:gd name="connsiteY217" fmla="*/ 6355428 h 6858000"/>
              <a:gd name="connsiteX218" fmla="*/ 1074621 w 12198355"/>
              <a:gd name="connsiteY218" fmla="*/ 6350898 h 6858000"/>
              <a:gd name="connsiteX219" fmla="*/ 1077046 w 12198355"/>
              <a:gd name="connsiteY219" fmla="*/ 6346114 h 6858000"/>
              <a:gd name="connsiteX220" fmla="*/ 1077680 w 12198355"/>
              <a:gd name="connsiteY220" fmla="*/ 6344618 h 6858000"/>
              <a:gd name="connsiteX221" fmla="*/ 1081008 w 12198355"/>
              <a:gd name="connsiteY221" fmla="*/ 6335831 h 6858000"/>
              <a:gd name="connsiteX222" fmla="*/ 1082527 w 12198355"/>
              <a:gd name="connsiteY222" fmla="*/ 6330355 h 6858000"/>
              <a:gd name="connsiteX223" fmla="*/ 1083727 w 12198355"/>
              <a:gd name="connsiteY223" fmla="*/ 6324652 h 6858000"/>
              <a:gd name="connsiteX224" fmla="*/ 1084591 w 12198355"/>
              <a:gd name="connsiteY224" fmla="*/ 6318790 h 6858000"/>
              <a:gd name="connsiteX225" fmla="*/ 1085119 w 12198355"/>
              <a:gd name="connsiteY225" fmla="*/ 6312724 h 6858000"/>
              <a:gd name="connsiteX226" fmla="*/ 1085297 w 12198355"/>
              <a:gd name="connsiteY226" fmla="*/ 6306484 h 6858000"/>
              <a:gd name="connsiteX227" fmla="*/ 1085138 w 12198355"/>
              <a:gd name="connsiteY227" fmla="*/ 6300361 h 6858000"/>
              <a:gd name="connsiteX228" fmla="*/ 1084666 w 12198355"/>
              <a:gd name="connsiteY228" fmla="*/ 6294398 h 6858000"/>
              <a:gd name="connsiteX229" fmla="*/ 1083885 w 12198355"/>
              <a:gd name="connsiteY229" fmla="*/ 6288607 h 6858000"/>
              <a:gd name="connsiteX230" fmla="*/ 1082801 w 12198355"/>
              <a:gd name="connsiteY230" fmla="*/ 6283000 h 6858000"/>
              <a:gd name="connsiteX231" fmla="*/ 1081418 w 12198355"/>
              <a:gd name="connsiteY231" fmla="*/ 6277590 h 6858000"/>
              <a:gd name="connsiteX232" fmla="*/ 1079741 w 12198355"/>
              <a:gd name="connsiteY232" fmla="*/ 6272388 h 6858000"/>
              <a:gd name="connsiteX233" fmla="*/ 1078509 w 12198355"/>
              <a:gd name="connsiteY233" fmla="*/ 6269265 h 6858000"/>
              <a:gd name="connsiteX234" fmla="*/ 1077776 w 12198355"/>
              <a:gd name="connsiteY234" fmla="*/ 6267406 h 6858000"/>
              <a:gd name="connsiteX235" fmla="*/ 1075527 w 12198355"/>
              <a:gd name="connsiteY235" fmla="*/ 6262658 h 6858000"/>
              <a:gd name="connsiteX236" fmla="*/ 1072999 w 12198355"/>
              <a:gd name="connsiteY236" fmla="*/ 6258154 h 6858000"/>
              <a:gd name="connsiteX237" fmla="*/ 1070198 w 12198355"/>
              <a:gd name="connsiteY237" fmla="*/ 6253908 h 6858000"/>
              <a:gd name="connsiteX238" fmla="*/ 1067128 w 12198355"/>
              <a:gd name="connsiteY238" fmla="*/ 6249932 h 6858000"/>
              <a:gd name="connsiteX239" fmla="*/ 1064203 w 12198355"/>
              <a:gd name="connsiteY239" fmla="*/ 6246690 h 6858000"/>
              <a:gd name="connsiteX240" fmla="*/ 1060201 w 12198355"/>
              <a:gd name="connsiteY240" fmla="*/ 6242836 h 6858000"/>
              <a:gd name="connsiteX241" fmla="*/ 1056355 w 12198355"/>
              <a:gd name="connsiteY241" fmla="*/ 6239742 h 6858000"/>
              <a:gd name="connsiteX242" fmla="*/ 1052260 w 12198355"/>
              <a:gd name="connsiteY242" fmla="*/ 6236966 h 6858000"/>
              <a:gd name="connsiteX243" fmla="*/ 1047922 w 12198355"/>
              <a:gd name="connsiteY243" fmla="*/ 6234520 h 6858000"/>
              <a:gd name="connsiteX244" fmla="*/ 1043344 w 12198355"/>
              <a:gd name="connsiteY244" fmla="*/ 6232417 h 6858000"/>
              <a:gd name="connsiteX245" fmla="*/ 1038533 w 12198355"/>
              <a:gd name="connsiteY245" fmla="*/ 6230669 h 6858000"/>
              <a:gd name="connsiteX246" fmla="*/ 1033494 w 12198355"/>
              <a:gd name="connsiteY246" fmla="*/ 6229288 h 6858000"/>
              <a:gd name="connsiteX247" fmla="*/ 1028230 w 12198355"/>
              <a:gd name="connsiteY247" fmla="*/ 6228287 h 6858000"/>
              <a:gd name="connsiteX248" fmla="*/ 1022748 w 12198355"/>
              <a:gd name="connsiteY248" fmla="*/ 6227677 h 6858000"/>
              <a:gd name="connsiteX249" fmla="*/ 1017052 w 12198355"/>
              <a:gd name="connsiteY249" fmla="*/ 6227471 h 6858000"/>
              <a:gd name="connsiteX250" fmla="*/ 1518121 w 12198355"/>
              <a:gd name="connsiteY250" fmla="*/ 6226556 h 6858000"/>
              <a:gd name="connsiteX251" fmla="*/ 1512547 w 12198355"/>
              <a:gd name="connsiteY251" fmla="*/ 6226743 h 6858000"/>
              <a:gd name="connsiteX252" fmla="*/ 1507086 w 12198355"/>
              <a:gd name="connsiteY252" fmla="*/ 6227298 h 6858000"/>
              <a:gd name="connsiteX253" fmla="*/ 1501751 w 12198355"/>
              <a:gd name="connsiteY253" fmla="*/ 6228211 h 6858000"/>
              <a:gd name="connsiteX254" fmla="*/ 1496554 w 12198355"/>
              <a:gd name="connsiteY254" fmla="*/ 6229472 h 6858000"/>
              <a:gd name="connsiteX255" fmla="*/ 1491508 w 12198355"/>
              <a:gd name="connsiteY255" fmla="*/ 6231073 h 6858000"/>
              <a:gd name="connsiteX256" fmla="*/ 1486625 w 12198355"/>
              <a:gd name="connsiteY256" fmla="*/ 6233004 h 6858000"/>
              <a:gd name="connsiteX257" fmla="*/ 1481918 w 12198355"/>
              <a:gd name="connsiteY257" fmla="*/ 6235254 h 6858000"/>
              <a:gd name="connsiteX258" fmla="*/ 1477398 w 12198355"/>
              <a:gd name="connsiteY258" fmla="*/ 6237816 h 6858000"/>
              <a:gd name="connsiteX259" fmla="*/ 1473080 w 12198355"/>
              <a:gd name="connsiteY259" fmla="*/ 6240679 h 6858000"/>
              <a:gd name="connsiteX260" fmla="*/ 1468975 w 12198355"/>
              <a:gd name="connsiteY260" fmla="*/ 6243834 h 6858000"/>
              <a:gd name="connsiteX261" fmla="*/ 1465095 w 12198355"/>
              <a:gd name="connsiteY261" fmla="*/ 6247271 h 6858000"/>
              <a:gd name="connsiteX262" fmla="*/ 1461455 w 12198355"/>
              <a:gd name="connsiteY262" fmla="*/ 6250981 h 6858000"/>
              <a:gd name="connsiteX263" fmla="*/ 1458064 w 12198355"/>
              <a:gd name="connsiteY263" fmla="*/ 6254955 h 6858000"/>
              <a:gd name="connsiteX264" fmla="*/ 1454938 w 12198355"/>
              <a:gd name="connsiteY264" fmla="*/ 6259182 h 6858000"/>
              <a:gd name="connsiteX265" fmla="*/ 1452087 w 12198355"/>
              <a:gd name="connsiteY265" fmla="*/ 6263654 h 6858000"/>
              <a:gd name="connsiteX266" fmla="*/ 1449525 w 12198355"/>
              <a:gd name="connsiteY266" fmla="*/ 6268361 h 6858000"/>
              <a:gd name="connsiteX267" fmla="*/ 1447263 w 12198355"/>
              <a:gd name="connsiteY267" fmla="*/ 6273294 h 6858000"/>
              <a:gd name="connsiteX268" fmla="*/ 1445310 w 12198355"/>
              <a:gd name="connsiteY268" fmla="*/ 6278461 h 6858000"/>
              <a:gd name="connsiteX269" fmla="*/ 1443694 w 12198355"/>
              <a:gd name="connsiteY269" fmla="*/ 6283797 h 6858000"/>
              <a:gd name="connsiteX270" fmla="*/ 1442411 w 12198355"/>
              <a:gd name="connsiteY270" fmla="*/ 6289349 h 6858000"/>
              <a:gd name="connsiteX271" fmla="*/ 1441479 w 12198355"/>
              <a:gd name="connsiteY271" fmla="*/ 6295089 h 6858000"/>
              <a:gd name="connsiteX272" fmla="*/ 1440910 w 12198355"/>
              <a:gd name="connsiteY272" fmla="*/ 6301007 h 6858000"/>
              <a:gd name="connsiteX273" fmla="*/ 1440718 w 12198355"/>
              <a:gd name="connsiteY273" fmla="*/ 6307094 h 6858000"/>
              <a:gd name="connsiteX274" fmla="*/ 1440899 w 12198355"/>
              <a:gd name="connsiteY274" fmla="*/ 6312893 h 6858000"/>
              <a:gd name="connsiteX275" fmla="*/ 1441435 w 12198355"/>
              <a:gd name="connsiteY275" fmla="*/ 6318541 h 6858000"/>
              <a:gd name="connsiteX276" fmla="*/ 1442314 w 12198355"/>
              <a:gd name="connsiteY276" fmla="*/ 6324029 h 6858000"/>
              <a:gd name="connsiteX277" fmla="*/ 1443524 w 12198355"/>
              <a:gd name="connsiteY277" fmla="*/ 6329349 h 6858000"/>
              <a:gd name="connsiteX278" fmla="*/ 1445055 w 12198355"/>
              <a:gd name="connsiteY278" fmla="*/ 6334492 h 6858000"/>
              <a:gd name="connsiteX279" fmla="*/ 1446894 w 12198355"/>
              <a:gd name="connsiteY279" fmla="*/ 6339450 h 6858000"/>
              <a:gd name="connsiteX280" fmla="*/ 1449030 w 12198355"/>
              <a:gd name="connsiteY280" fmla="*/ 6344213 h 6858000"/>
              <a:gd name="connsiteX281" fmla="*/ 1451452 w 12198355"/>
              <a:gd name="connsiteY281" fmla="*/ 6348774 h 6858000"/>
              <a:gd name="connsiteX282" fmla="*/ 1454147 w 12198355"/>
              <a:gd name="connsiteY282" fmla="*/ 6353125 h 6858000"/>
              <a:gd name="connsiteX283" fmla="*/ 1457105 w 12198355"/>
              <a:gd name="connsiteY283" fmla="*/ 6357256 h 6858000"/>
              <a:gd name="connsiteX284" fmla="*/ 1460313 w 12198355"/>
              <a:gd name="connsiteY284" fmla="*/ 6361160 h 6858000"/>
              <a:gd name="connsiteX285" fmla="*/ 1463761 w 12198355"/>
              <a:gd name="connsiteY285" fmla="*/ 6364827 h 6858000"/>
              <a:gd name="connsiteX286" fmla="*/ 1467436 w 12198355"/>
              <a:gd name="connsiteY286" fmla="*/ 6368250 h 6858000"/>
              <a:gd name="connsiteX287" fmla="*/ 1471328 w 12198355"/>
              <a:gd name="connsiteY287" fmla="*/ 6371419 h 6858000"/>
              <a:gd name="connsiteX288" fmla="*/ 1475425 w 12198355"/>
              <a:gd name="connsiteY288" fmla="*/ 6374327 h 6858000"/>
              <a:gd name="connsiteX289" fmla="*/ 1479714 w 12198355"/>
              <a:gd name="connsiteY289" fmla="*/ 6376964 h 6858000"/>
              <a:gd name="connsiteX290" fmla="*/ 1484185 w 12198355"/>
              <a:gd name="connsiteY290" fmla="*/ 6379324 h 6858000"/>
              <a:gd name="connsiteX291" fmla="*/ 1488826 w 12198355"/>
              <a:gd name="connsiteY291" fmla="*/ 6381396 h 6858000"/>
              <a:gd name="connsiteX292" fmla="*/ 1493626 w 12198355"/>
              <a:gd name="connsiteY292" fmla="*/ 6383172 h 6858000"/>
              <a:gd name="connsiteX293" fmla="*/ 1498572 w 12198355"/>
              <a:gd name="connsiteY293" fmla="*/ 6384645 h 6858000"/>
              <a:gd name="connsiteX294" fmla="*/ 1503654 w 12198355"/>
              <a:gd name="connsiteY294" fmla="*/ 6385805 h 6858000"/>
              <a:gd name="connsiteX295" fmla="*/ 1508860 w 12198355"/>
              <a:gd name="connsiteY295" fmla="*/ 6386644 h 6858000"/>
              <a:gd name="connsiteX296" fmla="*/ 1514178 w 12198355"/>
              <a:gd name="connsiteY296" fmla="*/ 6387153 h 6858000"/>
              <a:gd name="connsiteX297" fmla="*/ 1519597 w 12198355"/>
              <a:gd name="connsiteY297" fmla="*/ 6387325 h 6858000"/>
              <a:gd name="connsiteX298" fmla="*/ 1526428 w 12198355"/>
              <a:gd name="connsiteY298" fmla="*/ 6387054 h 6858000"/>
              <a:gd name="connsiteX299" fmla="*/ 1532938 w 12198355"/>
              <a:gd name="connsiteY299" fmla="*/ 6386261 h 6858000"/>
              <a:gd name="connsiteX300" fmla="*/ 1539123 w 12198355"/>
              <a:gd name="connsiteY300" fmla="*/ 6384980 h 6858000"/>
              <a:gd name="connsiteX301" fmla="*/ 1544980 w 12198355"/>
              <a:gd name="connsiteY301" fmla="*/ 6383243 h 6858000"/>
              <a:gd name="connsiteX302" fmla="*/ 1550506 w 12198355"/>
              <a:gd name="connsiteY302" fmla="*/ 6381082 h 6858000"/>
              <a:gd name="connsiteX303" fmla="*/ 1555698 w 12198355"/>
              <a:gd name="connsiteY303" fmla="*/ 6378529 h 6858000"/>
              <a:gd name="connsiteX304" fmla="*/ 1560552 w 12198355"/>
              <a:gd name="connsiteY304" fmla="*/ 6375618 h 6858000"/>
              <a:gd name="connsiteX305" fmla="*/ 1565064 w 12198355"/>
              <a:gd name="connsiteY305" fmla="*/ 6372380 h 6858000"/>
              <a:gd name="connsiteX306" fmla="*/ 1569232 w 12198355"/>
              <a:gd name="connsiteY306" fmla="*/ 6368848 h 6858000"/>
              <a:gd name="connsiteX307" fmla="*/ 1573052 w 12198355"/>
              <a:gd name="connsiteY307" fmla="*/ 6365054 h 6858000"/>
              <a:gd name="connsiteX308" fmla="*/ 1576520 w 12198355"/>
              <a:gd name="connsiteY308" fmla="*/ 6361031 h 6858000"/>
              <a:gd name="connsiteX309" fmla="*/ 1579635 w 12198355"/>
              <a:gd name="connsiteY309" fmla="*/ 6356812 h 6858000"/>
              <a:gd name="connsiteX310" fmla="*/ 1582391 w 12198355"/>
              <a:gd name="connsiteY310" fmla="*/ 6352428 h 6858000"/>
              <a:gd name="connsiteX311" fmla="*/ 1584786 w 12198355"/>
              <a:gd name="connsiteY311" fmla="*/ 6347913 h 6858000"/>
              <a:gd name="connsiteX312" fmla="*/ 1586236 w 12198355"/>
              <a:gd name="connsiteY312" fmla="*/ 6344617 h 6858000"/>
              <a:gd name="connsiteX313" fmla="*/ 1586816 w 12198355"/>
              <a:gd name="connsiteY313" fmla="*/ 6343297 h 6858000"/>
              <a:gd name="connsiteX314" fmla="*/ 1588479 w 12198355"/>
              <a:gd name="connsiteY314" fmla="*/ 6338615 h 6858000"/>
              <a:gd name="connsiteX315" fmla="*/ 1588664 w 12198355"/>
              <a:gd name="connsiteY315" fmla="*/ 6336960 h 6858000"/>
              <a:gd name="connsiteX316" fmla="*/ 1588235 w 12198355"/>
              <a:gd name="connsiteY316" fmla="*/ 6335417 h 6858000"/>
              <a:gd name="connsiteX317" fmla="*/ 1587274 w 12198355"/>
              <a:gd name="connsiteY317" fmla="*/ 6334160 h 6858000"/>
              <a:gd name="connsiteX318" fmla="*/ 1585862 w 12198355"/>
              <a:gd name="connsiteY318" fmla="*/ 6333362 h 6858000"/>
              <a:gd name="connsiteX319" fmla="*/ 1553627 w 12198355"/>
              <a:gd name="connsiteY319" fmla="*/ 6323178 h 6858000"/>
              <a:gd name="connsiteX320" fmla="*/ 1552160 w 12198355"/>
              <a:gd name="connsiteY320" fmla="*/ 6323012 h 6858000"/>
              <a:gd name="connsiteX321" fmla="*/ 1550782 w 12198355"/>
              <a:gd name="connsiteY321" fmla="*/ 6323397 h 6858000"/>
              <a:gd name="connsiteX322" fmla="*/ 1549622 w 12198355"/>
              <a:gd name="connsiteY322" fmla="*/ 6324263 h 6858000"/>
              <a:gd name="connsiteX323" fmla="*/ 1548805 w 12198355"/>
              <a:gd name="connsiteY323" fmla="*/ 6325541 h 6858000"/>
              <a:gd name="connsiteX324" fmla="*/ 1546706 w 12198355"/>
              <a:gd name="connsiteY324" fmla="*/ 6329749 h 6858000"/>
              <a:gd name="connsiteX325" fmla="*/ 1543941 w 12198355"/>
              <a:gd name="connsiteY325" fmla="*/ 6333699 h 6858000"/>
              <a:gd name="connsiteX326" fmla="*/ 1540495 w 12198355"/>
              <a:gd name="connsiteY326" fmla="*/ 6337251 h 6858000"/>
              <a:gd name="connsiteX327" fmla="*/ 1536352 w 12198355"/>
              <a:gd name="connsiteY327" fmla="*/ 6340260 h 6858000"/>
              <a:gd name="connsiteX328" fmla="*/ 1531498 w 12198355"/>
              <a:gd name="connsiteY328" fmla="*/ 6342586 h 6858000"/>
              <a:gd name="connsiteX329" fmla="*/ 1525918 w 12198355"/>
              <a:gd name="connsiteY329" fmla="*/ 6344086 h 6858000"/>
              <a:gd name="connsiteX330" fmla="*/ 1519597 w 12198355"/>
              <a:gd name="connsiteY330" fmla="*/ 6344617 h 6858000"/>
              <a:gd name="connsiteX331" fmla="*/ 1514604 w 12198355"/>
              <a:gd name="connsiteY331" fmla="*/ 6344286 h 6858000"/>
              <a:gd name="connsiteX332" fmla="*/ 1509815 w 12198355"/>
              <a:gd name="connsiteY332" fmla="*/ 6343302 h 6858000"/>
              <a:gd name="connsiteX333" fmla="*/ 1505287 w 12198355"/>
              <a:gd name="connsiteY333" fmla="*/ 6341678 h 6858000"/>
              <a:gd name="connsiteX334" fmla="*/ 1501076 w 12198355"/>
              <a:gd name="connsiteY334" fmla="*/ 6339424 h 6858000"/>
              <a:gd name="connsiteX335" fmla="*/ 1497242 w 12198355"/>
              <a:gd name="connsiteY335" fmla="*/ 6336555 h 6858000"/>
              <a:gd name="connsiteX336" fmla="*/ 1493840 w 12198355"/>
              <a:gd name="connsiteY336" fmla="*/ 6333082 h 6858000"/>
              <a:gd name="connsiteX337" fmla="*/ 1490928 w 12198355"/>
              <a:gd name="connsiteY337" fmla="*/ 6329017 h 6858000"/>
              <a:gd name="connsiteX338" fmla="*/ 1488564 w 12198355"/>
              <a:gd name="connsiteY338" fmla="*/ 6324374 h 6858000"/>
              <a:gd name="connsiteX339" fmla="*/ 1486804 w 12198355"/>
              <a:gd name="connsiteY339" fmla="*/ 6319164 h 6858000"/>
              <a:gd name="connsiteX340" fmla="*/ 1485706 w 12198355"/>
              <a:gd name="connsiteY340" fmla="*/ 6313400 h 6858000"/>
              <a:gd name="connsiteX341" fmla="*/ 1485327 w 12198355"/>
              <a:gd name="connsiteY341" fmla="*/ 6307094 h 6858000"/>
              <a:gd name="connsiteX342" fmla="*/ 1485692 w 12198355"/>
              <a:gd name="connsiteY342" fmla="*/ 6300711 h 6858000"/>
              <a:gd name="connsiteX343" fmla="*/ 1486752 w 12198355"/>
              <a:gd name="connsiteY343" fmla="*/ 6294885 h 6858000"/>
              <a:gd name="connsiteX344" fmla="*/ 1488456 w 12198355"/>
              <a:gd name="connsiteY344" fmla="*/ 6289625 h 6858000"/>
              <a:gd name="connsiteX345" fmla="*/ 1490750 w 12198355"/>
              <a:gd name="connsiteY345" fmla="*/ 6284943 h 6858000"/>
              <a:gd name="connsiteX346" fmla="*/ 1493584 w 12198355"/>
              <a:gd name="connsiteY346" fmla="*/ 6280849 h 6858000"/>
              <a:gd name="connsiteX347" fmla="*/ 1496906 w 12198355"/>
              <a:gd name="connsiteY347" fmla="*/ 6277355 h 6858000"/>
              <a:gd name="connsiteX348" fmla="*/ 1500663 w 12198355"/>
              <a:gd name="connsiteY348" fmla="*/ 6274472 h 6858000"/>
              <a:gd name="connsiteX349" fmla="*/ 1504804 w 12198355"/>
              <a:gd name="connsiteY349" fmla="*/ 6272210 h 6858000"/>
              <a:gd name="connsiteX350" fmla="*/ 1509276 w 12198355"/>
              <a:gd name="connsiteY350" fmla="*/ 6270581 h 6858000"/>
              <a:gd name="connsiteX351" fmla="*/ 1514028 w 12198355"/>
              <a:gd name="connsiteY351" fmla="*/ 6269595 h 6858000"/>
              <a:gd name="connsiteX352" fmla="*/ 1519008 w 12198355"/>
              <a:gd name="connsiteY352" fmla="*/ 6269264 h 6858000"/>
              <a:gd name="connsiteX353" fmla="*/ 1525289 w 12198355"/>
              <a:gd name="connsiteY353" fmla="*/ 6269783 h 6858000"/>
              <a:gd name="connsiteX354" fmla="*/ 1530765 w 12198355"/>
              <a:gd name="connsiteY354" fmla="*/ 6271251 h 6858000"/>
              <a:gd name="connsiteX355" fmla="*/ 1535471 w 12198355"/>
              <a:gd name="connsiteY355" fmla="*/ 6273539 h 6858000"/>
              <a:gd name="connsiteX356" fmla="*/ 1539447 w 12198355"/>
              <a:gd name="connsiteY356" fmla="*/ 6276516 h 6858000"/>
              <a:gd name="connsiteX357" fmla="*/ 1542728 w 12198355"/>
              <a:gd name="connsiteY357" fmla="*/ 6280050 h 6858000"/>
              <a:gd name="connsiteX358" fmla="*/ 1545352 w 12198355"/>
              <a:gd name="connsiteY358" fmla="*/ 6284012 h 6858000"/>
              <a:gd name="connsiteX359" fmla="*/ 1547356 w 12198355"/>
              <a:gd name="connsiteY359" fmla="*/ 6288270 h 6858000"/>
              <a:gd name="connsiteX360" fmla="*/ 1548161 w 12198355"/>
              <a:gd name="connsiteY360" fmla="*/ 6289574 h 6858000"/>
              <a:gd name="connsiteX361" fmla="*/ 1549322 w 12198355"/>
              <a:gd name="connsiteY361" fmla="*/ 6290463 h 6858000"/>
              <a:gd name="connsiteX362" fmla="*/ 1550709 w 12198355"/>
              <a:gd name="connsiteY362" fmla="*/ 6290865 h 6858000"/>
              <a:gd name="connsiteX363" fmla="*/ 1552192 w 12198355"/>
              <a:gd name="connsiteY363" fmla="*/ 6290706 h 6858000"/>
              <a:gd name="connsiteX364" fmla="*/ 1584982 w 12198355"/>
              <a:gd name="connsiteY364" fmla="*/ 6280499 h 6858000"/>
              <a:gd name="connsiteX365" fmla="*/ 1586395 w 12198355"/>
              <a:gd name="connsiteY365" fmla="*/ 6279710 h 6858000"/>
              <a:gd name="connsiteX366" fmla="*/ 1587360 w 12198355"/>
              <a:gd name="connsiteY366" fmla="*/ 6278461 h 6858000"/>
              <a:gd name="connsiteX367" fmla="*/ 1587797 w 12198355"/>
              <a:gd name="connsiteY367" fmla="*/ 6276923 h 6858000"/>
              <a:gd name="connsiteX368" fmla="*/ 1587624 w 12198355"/>
              <a:gd name="connsiteY368" fmla="*/ 6275269 h 6858000"/>
              <a:gd name="connsiteX369" fmla="*/ 1586087 w 12198355"/>
              <a:gd name="connsiteY369" fmla="*/ 6270783 h 6858000"/>
              <a:gd name="connsiteX370" fmla="*/ 1585447 w 12198355"/>
              <a:gd name="connsiteY370" fmla="*/ 6269264 h 6858000"/>
              <a:gd name="connsiteX371" fmla="*/ 1584229 w 12198355"/>
              <a:gd name="connsiteY371" fmla="*/ 6266374 h 6858000"/>
              <a:gd name="connsiteX372" fmla="*/ 1582051 w 12198355"/>
              <a:gd name="connsiteY372" fmla="*/ 6262066 h 6858000"/>
              <a:gd name="connsiteX373" fmla="*/ 1579553 w 12198355"/>
              <a:gd name="connsiteY373" fmla="*/ 6257885 h 6858000"/>
              <a:gd name="connsiteX374" fmla="*/ 1576736 w 12198355"/>
              <a:gd name="connsiteY374" fmla="*/ 6253856 h 6858000"/>
              <a:gd name="connsiteX375" fmla="*/ 1573599 w 12198355"/>
              <a:gd name="connsiteY375" fmla="*/ 6250004 h 6858000"/>
              <a:gd name="connsiteX376" fmla="*/ 1570144 w 12198355"/>
              <a:gd name="connsiteY376" fmla="*/ 6246355 h 6858000"/>
              <a:gd name="connsiteX377" fmla="*/ 1566370 w 12198355"/>
              <a:gd name="connsiteY377" fmla="*/ 6242934 h 6858000"/>
              <a:gd name="connsiteX378" fmla="*/ 1562278 w 12198355"/>
              <a:gd name="connsiteY378" fmla="*/ 6239766 h 6858000"/>
              <a:gd name="connsiteX379" fmla="*/ 1557868 w 12198355"/>
              <a:gd name="connsiteY379" fmla="*/ 6236876 h 6858000"/>
              <a:gd name="connsiteX380" fmla="*/ 1553140 w 12198355"/>
              <a:gd name="connsiteY380" fmla="*/ 6234289 h 6858000"/>
              <a:gd name="connsiteX381" fmla="*/ 1548095 w 12198355"/>
              <a:gd name="connsiteY381" fmla="*/ 6232031 h 6858000"/>
              <a:gd name="connsiteX382" fmla="*/ 1542733 w 12198355"/>
              <a:gd name="connsiteY382" fmla="*/ 6230128 h 6858000"/>
              <a:gd name="connsiteX383" fmla="*/ 1537054 w 12198355"/>
              <a:gd name="connsiteY383" fmla="*/ 6228603 h 6858000"/>
              <a:gd name="connsiteX384" fmla="*/ 1531059 w 12198355"/>
              <a:gd name="connsiteY384" fmla="*/ 6227483 h 6858000"/>
              <a:gd name="connsiteX385" fmla="*/ 1524748 w 12198355"/>
              <a:gd name="connsiteY385" fmla="*/ 6226792 h 6858000"/>
              <a:gd name="connsiteX386" fmla="*/ 1518121 w 12198355"/>
              <a:gd name="connsiteY386" fmla="*/ 6226556 h 6858000"/>
              <a:gd name="connsiteX387" fmla="*/ 1349948 w 12198355"/>
              <a:gd name="connsiteY387" fmla="*/ 6226556 h 6858000"/>
              <a:gd name="connsiteX388" fmla="*/ 1344301 w 12198355"/>
              <a:gd name="connsiteY388" fmla="*/ 6226743 h 6858000"/>
              <a:gd name="connsiteX389" fmla="*/ 1338773 w 12198355"/>
              <a:gd name="connsiteY389" fmla="*/ 6227298 h 6858000"/>
              <a:gd name="connsiteX390" fmla="*/ 1333377 w 12198355"/>
              <a:gd name="connsiteY390" fmla="*/ 6228210 h 6858000"/>
              <a:gd name="connsiteX391" fmla="*/ 1328124 w 12198355"/>
              <a:gd name="connsiteY391" fmla="*/ 6229471 h 6858000"/>
              <a:gd name="connsiteX392" fmla="*/ 1323028 w 12198355"/>
              <a:gd name="connsiteY392" fmla="*/ 6231070 h 6858000"/>
              <a:gd name="connsiteX393" fmla="*/ 1318101 w 12198355"/>
              <a:gd name="connsiteY393" fmla="*/ 6232998 h 6858000"/>
              <a:gd name="connsiteX394" fmla="*/ 1313353 w 12198355"/>
              <a:gd name="connsiteY394" fmla="*/ 6235246 h 6858000"/>
              <a:gd name="connsiteX395" fmla="*/ 1308799 w 12198355"/>
              <a:gd name="connsiteY395" fmla="*/ 6237803 h 6858000"/>
              <a:gd name="connsiteX396" fmla="*/ 1304450 w 12198355"/>
              <a:gd name="connsiteY396" fmla="*/ 6240661 h 6858000"/>
              <a:gd name="connsiteX397" fmla="*/ 1300319 w 12198355"/>
              <a:gd name="connsiteY397" fmla="*/ 6243809 h 6858000"/>
              <a:gd name="connsiteX398" fmla="*/ 1296416 w 12198355"/>
              <a:gd name="connsiteY398" fmla="*/ 6247238 h 6858000"/>
              <a:gd name="connsiteX399" fmla="*/ 1292756 w 12198355"/>
              <a:gd name="connsiteY399" fmla="*/ 6250938 h 6858000"/>
              <a:gd name="connsiteX400" fmla="*/ 1289350 w 12198355"/>
              <a:gd name="connsiteY400" fmla="*/ 6254900 h 6858000"/>
              <a:gd name="connsiteX401" fmla="*/ 1286210 w 12198355"/>
              <a:gd name="connsiteY401" fmla="*/ 6259113 h 6858000"/>
              <a:gd name="connsiteX402" fmla="*/ 1283349 w 12198355"/>
              <a:gd name="connsiteY402" fmla="*/ 6263569 h 6858000"/>
              <a:gd name="connsiteX403" fmla="*/ 1280778 w 12198355"/>
              <a:gd name="connsiteY403" fmla="*/ 6268258 h 6858000"/>
              <a:gd name="connsiteX404" fmla="*/ 1278511 w 12198355"/>
              <a:gd name="connsiteY404" fmla="*/ 6273170 h 6858000"/>
              <a:gd name="connsiteX405" fmla="*/ 1276559 w 12198355"/>
              <a:gd name="connsiteY405" fmla="*/ 6278296 h 6858000"/>
              <a:gd name="connsiteX406" fmla="*/ 1274934 w 12198355"/>
              <a:gd name="connsiteY406" fmla="*/ 6283625 h 6858000"/>
              <a:gd name="connsiteX407" fmla="*/ 1273649 w 12198355"/>
              <a:gd name="connsiteY407" fmla="*/ 6289148 h 6858000"/>
              <a:gd name="connsiteX408" fmla="*/ 1272716 w 12198355"/>
              <a:gd name="connsiteY408" fmla="*/ 6294856 h 6858000"/>
              <a:gd name="connsiteX409" fmla="*/ 1272147 w 12198355"/>
              <a:gd name="connsiteY409" fmla="*/ 6300739 h 6858000"/>
              <a:gd name="connsiteX410" fmla="*/ 1271955 w 12198355"/>
              <a:gd name="connsiteY410" fmla="*/ 6306788 h 6858000"/>
              <a:gd name="connsiteX411" fmla="*/ 1272132 w 12198355"/>
              <a:gd name="connsiteY411" fmla="*/ 6312589 h 6858000"/>
              <a:gd name="connsiteX412" fmla="*/ 1272655 w 12198355"/>
              <a:gd name="connsiteY412" fmla="*/ 6318242 h 6858000"/>
              <a:gd name="connsiteX413" fmla="*/ 1273513 w 12198355"/>
              <a:gd name="connsiteY413" fmla="*/ 6323737 h 6858000"/>
              <a:gd name="connsiteX414" fmla="*/ 1274696 w 12198355"/>
              <a:gd name="connsiteY414" fmla="*/ 6329067 h 6858000"/>
              <a:gd name="connsiteX415" fmla="*/ 1276193 w 12198355"/>
              <a:gd name="connsiteY415" fmla="*/ 6334221 h 6858000"/>
              <a:gd name="connsiteX416" fmla="*/ 1277993 w 12198355"/>
              <a:gd name="connsiteY416" fmla="*/ 6339192 h 6858000"/>
              <a:gd name="connsiteX417" fmla="*/ 1280085 w 12198355"/>
              <a:gd name="connsiteY417" fmla="*/ 6343971 h 6858000"/>
              <a:gd name="connsiteX418" fmla="*/ 1282459 w 12198355"/>
              <a:gd name="connsiteY418" fmla="*/ 6348549 h 6858000"/>
              <a:gd name="connsiteX419" fmla="*/ 1285104 w 12198355"/>
              <a:gd name="connsiteY419" fmla="*/ 6352916 h 6858000"/>
              <a:gd name="connsiteX420" fmla="*/ 1288009 w 12198355"/>
              <a:gd name="connsiteY420" fmla="*/ 6357066 h 6858000"/>
              <a:gd name="connsiteX421" fmla="*/ 1291163 w 12198355"/>
              <a:gd name="connsiteY421" fmla="*/ 6360988 h 6858000"/>
              <a:gd name="connsiteX422" fmla="*/ 1294555 w 12198355"/>
              <a:gd name="connsiteY422" fmla="*/ 6364675 h 6858000"/>
              <a:gd name="connsiteX423" fmla="*/ 1298175 w 12198355"/>
              <a:gd name="connsiteY423" fmla="*/ 6368116 h 6858000"/>
              <a:gd name="connsiteX424" fmla="*/ 1302013 w 12198355"/>
              <a:gd name="connsiteY424" fmla="*/ 6371304 h 6858000"/>
              <a:gd name="connsiteX425" fmla="*/ 1306056 w 12198355"/>
              <a:gd name="connsiteY425" fmla="*/ 6374230 h 6858000"/>
              <a:gd name="connsiteX426" fmla="*/ 1310295 w 12198355"/>
              <a:gd name="connsiteY426" fmla="*/ 6376886 h 6858000"/>
              <a:gd name="connsiteX427" fmla="*/ 1314719 w 12198355"/>
              <a:gd name="connsiteY427" fmla="*/ 6379261 h 6858000"/>
              <a:gd name="connsiteX428" fmla="*/ 1319316 w 12198355"/>
              <a:gd name="connsiteY428" fmla="*/ 6381348 h 6858000"/>
              <a:gd name="connsiteX429" fmla="*/ 1324077 w 12198355"/>
              <a:gd name="connsiteY429" fmla="*/ 6383138 h 6858000"/>
              <a:gd name="connsiteX430" fmla="*/ 1328989 w 12198355"/>
              <a:gd name="connsiteY430" fmla="*/ 6384622 h 6858000"/>
              <a:gd name="connsiteX431" fmla="*/ 1334044 w 12198355"/>
              <a:gd name="connsiteY431" fmla="*/ 6385792 h 6858000"/>
              <a:gd name="connsiteX432" fmla="*/ 1339229 w 12198355"/>
              <a:gd name="connsiteY432" fmla="*/ 6386638 h 6858000"/>
              <a:gd name="connsiteX433" fmla="*/ 1344534 w 12198355"/>
              <a:gd name="connsiteY433" fmla="*/ 6387152 h 6858000"/>
              <a:gd name="connsiteX434" fmla="*/ 1349948 w 12198355"/>
              <a:gd name="connsiteY434" fmla="*/ 6387325 h 6858000"/>
              <a:gd name="connsiteX435" fmla="*/ 1355397 w 12198355"/>
              <a:gd name="connsiteY435" fmla="*/ 6387152 h 6858000"/>
              <a:gd name="connsiteX436" fmla="*/ 1360730 w 12198355"/>
              <a:gd name="connsiteY436" fmla="*/ 6386638 h 6858000"/>
              <a:gd name="connsiteX437" fmla="*/ 1365938 w 12198355"/>
              <a:gd name="connsiteY437" fmla="*/ 6385792 h 6858000"/>
              <a:gd name="connsiteX438" fmla="*/ 1371010 w 12198355"/>
              <a:gd name="connsiteY438" fmla="*/ 6384622 h 6858000"/>
              <a:gd name="connsiteX439" fmla="*/ 1375936 w 12198355"/>
              <a:gd name="connsiteY439" fmla="*/ 6383138 h 6858000"/>
              <a:gd name="connsiteX440" fmla="*/ 1380706 w 12198355"/>
              <a:gd name="connsiteY440" fmla="*/ 6381348 h 6858000"/>
              <a:gd name="connsiteX441" fmla="*/ 1385308 w 12198355"/>
              <a:gd name="connsiteY441" fmla="*/ 6379261 h 6858000"/>
              <a:gd name="connsiteX442" fmla="*/ 1389734 w 12198355"/>
              <a:gd name="connsiteY442" fmla="*/ 6376886 h 6858000"/>
              <a:gd name="connsiteX443" fmla="*/ 1393971 w 12198355"/>
              <a:gd name="connsiteY443" fmla="*/ 6374230 h 6858000"/>
              <a:gd name="connsiteX444" fmla="*/ 1398010 w 12198355"/>
              <a:gd name="connsiteY444" fmla="*/ 6371304 h 6858000"/>
              <a:gd name="connsiteX445" fmla="*/ 1401841 w 12198355"/>
              <a:gd name="connsiteY445" fmla="*/ 6368116 h 6858000"/>
              <a:gd name="connsiteX446" fmla="*/ 1405453 w 12198355"/>
              <a:gd name="connsiteY446" fmla="*/ 6364675 h 6858000"/>
              <a:gd name="connsiteX447" fmla="*/ 1408836 w 12198355"/>
              <a:gd name="connsiteY447" fmla="*/ 6360988 h 6858000"/>
              <a:gd name="connsiteX448" fmla="*/ 1411979 w 12198355"/>
              <a:gd name="connsiteY448" fmla="*/ 6357066 h 6858000"/>
              <a:gd name="connsiteX449" fmla="*/ 1414872 w 12198355"/>
              <a:gd name="connsiteY449" fmla="*/ 6352916 h 6858000"/>
              <a:gd name="connsiteX450" fmla="*/ 1417504 w 12198355"/>
              <a:gd name="connsiteY450" fmla="*/ 6348549 h 6858000"/>
              <a:gd name="connsiteX451" fmla="*/ 1419533 w 12198355"/>
              <a:gd name="connsiteY451" fmla="*/ 6344617 h 6858000"/>
              <a:gd name="connsiteX452" fmla="*/ 1421947 w 12198355"/>
              <a:gd name="connsiteY452" fmla="*/ 6339192 h 6858000"/>
              <a:gd name="connsiteX453" fmla="*/ 1423736 w 12198355"/>
              <a:gd name="connsiteY453" fmla="*/ 6334221 h 6858000"/>
              <a:gd name="connsiteX454" fmla="*/ 1425223 w 12198355"/>
              <a:gd name="connsiteY454" fmla="*/ 6329067 h 6858000"/>
              <a:gd name="connsiteX455" fmla="*/ 1426398 w 12198355"/>
              <a:gd name="connsiteY455" fmla="*/ 6323737 h 6858000"/>
              <a:gd name="connsiteX456" fmla="*/ 1427249 w 12198355"/>
              <a:gd name="connsiteY456" fmla="*/ 6318242 h 6858000"/>
              <a:gd name="connsiteX457" fmla="*/ 1427768 w 12198355"/>
              <a:gd name="connsiteY457" fmla="*/ 6312589 h 6858000"/>
              <a:gd name="connsiteX458" fmla="*/ 1427943 w 12198355"/>
              <a:gd name="connsiteY458" fmla="*/ 6306788 h 6858000"/>
              <a:gd name="connsiteX459" fmla="*/ 1427753 w 12198355"/>
              <a:gd name="connsiteY459" fmla="*/ 6300739 h 6858000"/>
              <a:gd name="connsiteX460" fmla="*/ 1427188 w 12198355"/>
              <a:gd name="connsiteY460" fmla="*/ 6294856 h 6858000"/>
              <a:gd name="connsiteX461" fmla="*/ 1426262 w 12198355"/>
              <a:gd name="connsiteY461" fmla="*/ 6289148 h 6858000"/>
              <a:gd name="connsiteX462" fmla="*/ 1424986 w 12198355"/>
              <a:gd name="connsiteY462" fmla="*/ 6283625 h 6858000"/>
              <a:gd name="connsiteX463" fmla="*/ 1423372 w 12198355"/>
              <a:gd name="connsiteY463" fmla="*/ 6278296 h 6858000"/>
              <a:gd name="connsiteX464" fmla="*/ 1421432 w 12198355"/>
              <a:gd name="connsiteY464" fmla="*/ 6273170 h 6858000"/>
              <a:gd name="connsiteX465" fmla="*/ 1419639 w 12198355"/>
              <a:gd name="connsiteY465" fmla="*/ 6269264 h 6858000"/>
              <a:gd name="connsiteX466" fmla="*/ 1419177 w 12198355"/>
              <a:gd name="connsiteY466" fmla="*/ 6268258 h 6858000"/>
              <a:gd name="connsiteX467" fmla="*/ 1416619 w 12198355"/>
              <a:gd name="connsiteY467" fmla="*/ 6263569 h 6858000"/>
              <a:gd name="connsiteX468" fmla="*/ 1413770 w 12198355"/>
              <a:gd name="connsiteY468" fmla="*/ 6259113 h 6858000"/>
              <a:gd name="connsiteX469" fmla="*/ 1410643 w 12198355"/>
              <a:gd name="connsiteY469" fmla="*/ 6254900 h 6858000"/>
              <a:gd name="connsiteX470" fmla="*/ 1407247 w 12198355"/>
              <a:gd name="connsiteY470" fmla="*/ 6250938 h 6858000"/>
              <a:gd name="connsiteX471" fmla="*/ 1403597 w 12198355"/>
              <a:gd name="connsiteY471" fmla="*/ 6247238 h 6858000"/>
              <a:gd name="connsiteX472" fmla="*/ 1399702 w 12198355"/>
              <a:gd name="connsiteY472" fmla="*/ 6243809 h 6858000"/>
              <a:gd name="connsiteX473" fmla="*/ 1395576 w 12198355"/>
              <a:gd name="connsiteY473" fmla="*/ 6240661 h 6858000"/>
              <a:gd name="connsiteX474" fmla="*/ 1391230 w 12198355"/>
              <a:gd name="connsiteY474" fmla="*/ 6237803 h 6858000"/>
              <a:gd name="connsiteX475" fmla="*/ 1386675 w 12198355"/>
              <a:gd name="connsiteY475" fmla="*/ 6235246 h 6858000"/>
              <a:gd name="connsiteX476" fmla="*/ 1381923 w 12198355"/>
              <a:gd name="connsiteY476" fmla="*/ 6232998 h 6858000"/>
              <a:gd name="connsiteX477" fmla="*/ 1376987 w 12198355"/>
              <a:gd name="connsiteY477" fmla="*/ 6231070 h 6858000"/>
              <a:gd name="connsiteX478" fmla="*/ 1371878 w 12198355"/>
              <a:gd name="connsiteY478" fmla="*/ 6229471 h 6858000"/>
              <a:gd name="connsiteX479" fmla="*/ 1366608 w 12198355"/>
              <a:gd name="connsiteY479" fmla="*/ 6228210 h 6858000"/>
              <a:gd name="connsiteX480" fmla="*/ 1361188 w 12198355"/>
              <a:gd name="connsiteY480" fmla="*/ 6227298 h 6858000"/>
              <a:gd name="connsiteX481" fmla="*/ 1355631 w 12198355"/>
              <a:gd name="connsiteY481" fmla="*/ 6226743 h 6858000"/>
              <a:gd name="connsiteX482" fmla="*/ 1349948 w 12198355"/>
              <a:gd name="connsiteY482" fmla="*/ 6226556 h 6858000"/>
              <a:gd name="connsiteX483" fmla="*/ 782044 w 12198355"/>
              <a:gd name="connsiteY483" fmla="*/ 6166457 h 6858000"/>
              <a:gd name="connsiteX484" fmla="*/ 780496 w 12198355"/>
              <a:gd name="connsiteY484" fmla="*/ 6166780 h 6858000"/>
              <a:gd name="connsiteX485" fmla="*/ 779232 w 12198355"/>
              <a:gd name="connsiteY485" fmla="*/ 6167660 h 6858000"/>
              <a:gd name="connsiteX486" fmla="*/ 778380 w 12198355"/>
              <a:gd name="connsiteY486" fmla="*/ 6168966 h 6858000"/>
              <a:gd name="connsiteX487" fmla="*/ 778067 w 12198355"/>
              <a:gd name="connsiteY487" fmla="*/ 6170564 h 6858000"/>
              <a:gd name="connsiteX488" fmla="*/ 778067 w 12198355"/>
              <a:gd name="connsiteY488" fmla="*/ 6378643 h 6858000"/>
              <a:gd name="connsiteX489" fmla="*/ 778380 w 12198355"/>
              <a:gd name="connsiteY489" fmla="*/ 6380242 h 6858000"/>
              <a:gd name="connsiteX490" fmla="*/ 779232 w 12198355"/>
              <a:gd name="connsiteY490" fmla="*/ 6381547 h 6858000"/>
              <a:gd name="connsiteX491" fmla="*/ 780496 w 12198355"/>
              <a:gd name="connsiteY491" fmla="*/ 6382427 h 6858000"/>
              <a:gd name="connsiteX492" fmla="*/ 782044 w 12198355"/>
              <a:gd name="connsiteY492" fmla="*/ 6382750 h 6858000"/>
              <a:gd name="connsiteX493" fmla="*/ 907033 w 12198355"/>
              <a:gd name="connsiteY493" fmla="*/ 6382750 h 6858000"/>
              <a:gd name="connsiteX494" fmla="*/ 908581 w 12198355"/>
              <a:gd name="connsiteY494" fmla="*/ 6382427 h 6858000"/>
              <a:gd name="connsiteX495" fmla="*/ 909845 w 12198355"/>
              <a:gd name="connsiteY495" fmla="*/ 6381547 h 6858000"/>
              <a:gd name="connsiteX496" fmla="*/ 910697 w 12198355"/>
              <a:gd name="connsiteY496" fmla="*/ 6380242 h 6858000"/>
              <a:gd name="connsiteX497" fmla="*/ 911010 w 12198355"/>
              <a:gd name="connsiteY497" fmla="*/ 6378643 h 6858000"/>
              <a:gd name="connsiteX498" fmla="*/ 911010 w 12198355"/>
              <a:gd name="connsiteY498" fmla="*/ 6341097 h 6858000"/>
              <a:gd name="connsiteX499" fmla="*/ 908581 w 12198355"/>
              <a:gd name="connsiteY499" fmla="*/ 6337313 h 6858000"/>
              <a:gd name="connsiteX500" fmla="*/ 828722 w 12198355"/>
              <a:gd name="connsiteY500" fmla="*/ 6336990 h 6858000"/>
              <a:gd name="connsiteX501" fmla="*/ 827174 w 12198355"/>
              <a:gd name="connsiteY501" fmla="*/ 6336667 h 6858000"/>
              <a:gd name="connsiteX502" fmla="*/ 825910 w 12198355"/>
              <a:gd name="connsiteY502" fmla="*/ 6335787 h 6858000"/>
              <a:gd name="connsiteX503" fmla="*/ 825057 w 12198355"/>
              <a:gd name="connsiteY503" fmla="*/ 6334481 h 6858000"/>
              <a:gd name="connsiteX504" fmla="*/ 824744 w 12198355"/>
              <a:gd name="connsiteY504" fmla="*/ 6332883 h 6858000"/>
              <a:gd name="connsiteX505" fmla="*/ 824744 w 12198355"/>
              <a:gd name="connsiteY505" fmla="*/ 6299607 h 6858000"/>
              <a:gd name="connsiteX506" fmla="*/ 825057 w 12198355"/>
              <a:gd name="connsiteY506" fmla="*/ 6298009 h 6858000"/>
              <a:gd name="connsiteX507" fmla="*/ 825910 w 12198355"/>
              <a:gd name="connsiteY507" fmla="*/ 6296703 h 6858000"/>
              <a:gd name="connsiteX508" fmla="*/ 827174 w 12198355"/>
              <a:gd name="connsiteY508" fmla="*/ 6295823 h 6858000"/>
              <a:gd name="connsiteX509" fmla="*/ 828722 w 12198355"/>
              <a:gd name="connsiteY509" fmla="*/ 6295500 h 6858000"/>
              <a:gd name="connsiteX510" fmla="*/ 898759 w 12198355"/>
              <a:gd name="connsiteY510" fmla="*/ 6295500 h 6858000"/>
              <a:gd name="connsiteX511" fmla="*/ 900308 w 12198355"/>
              <a:gd name="connsiteY511" fmla="*/ 6295178 h 6858000"/>
              <a:gd name="connsiteX512" fmla="*/ 901572 w 12198355"/>
              <a:gd name="connsiteY512" fmla="*/ 6294298 h 6858000"/>
              <a:gd name="connsiteX513" fmla="*/ 902425 w 12198355"/>
              <a:gd name="connsiteY513" fmla="*/ 6292992 h 6858000"/>
              <a:gd name="connsiteX514" fmla="*/ 902738 w 12198355"/>
              <a:gd name="connsiteY514" fmla="*/ 6291393 h 6858000"/>
              <a:gd name="connsiteX515" fmla="*/ 902738 w 12198355"/>
              <a:gd name="connsiteY515" fmla="*/ 6257204 h 6858000"/>
              <a:gd name="connsiteX516" fmla="*/ 902425 w 12198355"/>
              <a:gd name="connsiteY516" fmla="*/ 6255605 h 6858000"/>
              <a:gd name="connsiteX517" fmla="*/ 901572 w 12198355"/>
              <a:gd name="connsiteY517" fmla="*/ 6254300 h 6858000"/>
              <a:gd name="connsiteX518" fmla="*/ 900308 w 12198355"/>
              <a:gd name="connsiteY518" fmla="*/ 6253419 h 6858000"/>
              <a:gd name="connsiteX519" fmla="*/ 898759 w 12198355"/>
              <a:gd name="connsiteY519" fmla="*/ 6253097 h 6858000"/>
              <a:gd name="connsiteX520" fmla="*/ 828722 w 12198355"/>
              <a:gd name="connsiteY520" fmla="*/ 6253097 h 6858000"/>
              <a:gd name="connsiteX521" fmla="*/ 827174 w 12198355"/>
              <a:gd name="connsiteY521" fmla="*/ 6252774 h 6858000"/>
              <a:gd name="connsiteX522" fmla="*/ 825910 w 12198355"/>
              <a:gd name="connsiteY522" fmla="*/ 6251894 h 6858000"/>
              <a:gd name="connsiteX523" fmla="*/ 825057 w 12198355"/>
              <a:gd name="connsiteY523" fmla="*/ 6250589 h 6858000"/>
              <a:gd name="connsiteX524" fmla="*/ 824744 w 12198355"/>
              <a:gd name="connsiteY524" fmla="*/ 6248990 h 6858000"/>
              <a:gd name="connsiteX525" fmla="*/ 824744 w 12198355"/>
              <a:gd name="connsiteY525" fmla="*/ 6216020 h 6858000"/>
              <a:gd name="connsiteX526" fmla="*/ 825057 w 12198355"/>
              <a:gd name="connsiteY526" fmla="*/ 6214421 h 6858000"/>
              <a:gd name="connsiteX527" fmla="*/ 825910 w 12198355"/>
              <a:gd name="connsiteY527" fmla="*/ 6213116 h 6858000"/>
              <a:gd name="connsiteX528" fmla="*/ 827174 w 12198355"/>
              <a:gd name="connsiteY528" fmla="*/ 6212236 h 6858000"/>
              <a:gd name="connsiteX529" fmla="*/ 828722 w 12198355"/>
              <a:gd name="connsiteY529" fmla="*/ 6211913 h 6858000"/>
              <a:gd name="connsiteX530" fmla="*/ 906737 w 12198355"/>
              <a:gd name="connsiteY530" fmla="*/ 6211913 h 6858000"/>
              <a:gd name="connsiteX531" fmla="*/ 908285 w 12198355"/>
              <a:gd name="connsiteY531" fmla="*/ 6211590 h 6858000"/>
              <a:gd name="connsiteX532" fmla="*/ 909549 w 12198355"/>
              <a:gd name="connsiteY532" fmla="*/ 6210710 h 6858000"/>
              <a:gd name="connsiteX533" fmla="*/ 910401 w 12198355"/>
              <a:gd name="connsiteY533" fmla="*/ 6209405 h 6858000"/>
              <a:gd name="connsiteX534" fmla="*/ 910714 w 12198355"/>
              <a:gd name="connsiteY534" fmla="*/ 6207806 h 6858000"/>
              <a:gd name="connsiteX535" fmla="*/ 910714 w 12198355"/>
              <a:gd name="connsiteY535" fmla="*/ 6170564 h 6858000"/>
              <a:gd name="connsiteX536" fmla="*/ 910401 w 12198355"/>
              <a:gd name="connsiteY536" fmla="*/ 6168966 h 6858000"/>
              <a:gd name="connsiteX537" fmla="*/ 909549 w 12198355"/>
              <a:gd name="connsiteY537" fmla="*/ 6167660 h 6858000"/>
              <a:gd name="connsiteX538" fmla="*/ 908285 w 12198355"/>
              <a:gd name="connsiteY538" fmla="*/ 6166780 h 6858000"/>
              <a:gd name="connsiteX539" fmla="*/ 906737 w 12198355"/>
              <a:gd name="connsiteY539" fmla="*/ 6166457 h 6858000"/>
              <a:gd name="connsiteX540" fmla="*/ 782044 w 12198355"/>
              <a:gd name="connsiteY540" fmla="*/ 6166457 h 6858000"/>
              <a:gd name="connsiteX541" fmla="*/ 1124613 w 12198355"/>
              <a:gd name="connsiteY541" fmla="*/ 6157611 h 6858000"/>
              <a:gd name="connsiteX542" fmla="*/ 1119425 w 12198355"/>
              <a:gd name="connsiteY542" fmla="*/ 6158165 h 6858000"/>
              <a:gd name="connsiteX543" fmla="*/ 1114569 w 12198355"/>
              <a:gd name="connsiteY543" fmla="*/ 6159751 h 6858000"/>
              <a:gd name="connsiteX544" fmla="*/ 1110156 w 12198355"/>
              <a:gd name="connsiteY544" fmla="*/ 6162260 h 6858000"/>
              <a:gd name="connsiteX545" fmla="*/ 1106297 w 12198355"/>
              <a:gd name="connsiteY545" fmla="*/ 6165581 h 6858000"/>
              <a:gd name="connsiteX546" fmla="*/ 1103103 w 12198355"/>
              <a:gd name="connsiteY546" fmla="*/ 6169602 h 6858000"/>
              <a:gd name="connsiteX547" fmla="*/ 1100684 w 12198355"/>
              <a:gd name="connsiteY547" fmla="*/ 6174213 h 6858000"/>
              <a:gd name="connsiteX548" fmla="*/ 1099151 w 12198355"/>
              <a:gd name="connsiteY548" fmla="*/ 6179304 h 6858000"/>
              <a:gd name="connsiteX549" fmla="*/ 1098616 w 12198355"/>
              <a:gd name="connsiteY549" fmla="*/ 6184762 h 6858000"/>
              <a:gd name="connsiteX550" fmla="*/ 1099151 w 12198355"/>
              <a:gd name="connsiteY550" fmla="*/ 6190221 h 6858000"/>
              <a:gd name="connsiteX551" fmla="*/ 1100684 w 12198355"/>
              <a:gd name="connsiteY551" fmla="*/ 6195311 h 6858000"/>
              <a:gd name="connsiteX552" fmla="*/ 1103103 w 12198355"/>
              <a:gd name="connsiteY552" fmla="*/ 6199922 h 6858000"/>
              <a:gd name="connsiteX553" fmla="*/ 1106297 w 12198355"/>
              <a:gd name="connsiteY553" fmla="*/ 6203943 h 6858000"/>
              <a:gd name="connsiteX554" fmla="*/ 1110156 w 12198355"/>
              <a:gd name="connsiteY554" fmla="*/ 6207264 h 6858000"/>
              <a:gd name="connsiteX555" fmla="*/ 1114569 w 12198355"/>
              <a:gd name="connsiteY555" fmla="*/ 6209773 h 6858000"/>
              <a:gd name="connsiteX556" fmla="*/ 1119425 w 12198355"/>
              <a:gd name="connsiteY556" fmla="*/ 6211360 h 6858000"/>
              <a:gd name="connsiteX557" fmla="*/ 1124613 w 12198355"/>
              <a:gd name="connsiteY557" fmla="*/ 6211913 h 6858000"/>
              <a:gd name="connsiteX558" fmla="*/ 1129997 w 12198355"/>
              <a:gd name="connsiteY558" fmla="*/ 6211360 h 6858000"/>
              <a:gd name="connsiteX559" fmla="*/ 1135000 w 12198355"/>
              <a:gd name="connsiteY559" fmla="*/ 6209773 h 6858000"/>
              <a:gd name="connsiteX560" fmla="*/ 1139518 w 12198355"/>
              <a:gd name="connsiteY560" fmla="*/ 6207264 h 6858000"/>
              <a:gd name="connsiteX561" fmla="*/ 1143447 w 12198355"/>
              <a:gd name="connsiteY561" fmla="*/ 6203943 h 6858000"/>
              <a:gd name="connsiteX562" fmla="*/ 1146685 w 12198355"/>
              <a:gd name="connsiteY562" fmla="*/ 6199922 h 6858000"/>
              <a:gd name="connsiteX563" fmla="*/ 1149125 w 12198355"/>
              <a:gd name="connsiteY563" fmla="*/ 6195311 h 6858000"/>
              <a:gd name="connsiteX564" fmla="*/ 1150666 w 12198355"/>
              <a:gd name="connsiteY564" fmla="*/ 6190221 h 6858000"/>
              <a:gd name="connsiteX565" fmla="*/ 1151203 w 12198355"/>
              <a:gd name="connsiteY565" fmla="*/ 6184762 h 6858000"/>
              <a:gd name="connsiteX566" fmla="*/ 1150666 w 12198355"/>
              <a:gd name="connsiteY566" fmla="*/ 6179304 h 6858000"/>
              <a:gd name="connsiteX567" fmla="*/ 1149125 w 12198355"/>
              <a:gd name="connsiteY567" fmla="*/ 6174213 h 6858000"/>
              <a:gd name="connsiteX568" fmla="*/ 1146685 w 12198355"/>
              <a:gd name="connsiteY568" fmla="*/ 6169602 h 6858000"/>
              <a:gd name="connsiteX569" fmla="*/ 1143447 w 12198355"/>
              <a:gd name="connsiteY569" fmla="*/ 6165581 h 6858000"/>
              <a:gd name="connsiteX570" fmla="*/ 1139518 w 12198355"/>
              <a:gd name="connsiteY570" fmla="*/ 6162260 h 6858000"/>
              <a:gd name="connsiteX571" fmla="*/ 1135000 w 12198355"/>
              <a:gd name="connsiteY571" fmla="*/ 6159751 h 6858000"/>
              <a:gd name="connsiteX572" fmla="*/ 1129997 w 12198355"/>
              <a:gd name="connsiteY572" fmla="*/ 6158165 h 6858000"/>
              <a:gd name="connsiteX573" fmla="*/ 1124613 w 12198355"/>
              <a:gd name="connsiteY573" fmla="*/ 6157611 h 6858000"/>
              <a:gd name="connsiteX574" fmla="*/ 581250 w 12198355"/>
              <a:gd name="connsiteY574" fmla="*/ 6120863 h 6858000"/>
              <a:gd name="connsiteX575" fmla="*/ 575834 w 12198355"/>
              <a:gd name="connsiteY575" fmla="*/ 6121606 h 6858000"/>
              <a:gd name="connsiteX576" fmla="*/ 570703 w 12198355"/>
              <a:gd name="connsiteY576" fmla="*/ 6123833 h 6858000"/>
              <a:gd name="connsiteX577" fmla="*/ 468377 w 12198355"/>
              <a:gd name="connsiteY577" fmla="*/ 6185889 h 6858000"/>
              <a:gd name="connsiteX578" fmla="*/ 463977 w 12198355"/>
              <a:gd name="connsiteY578" fmla="*/ 6189443 h 6858000"/>
              <a:gd name="connsiteX579" fmla="*/ 460658 w 12198355"/>
              <a:gd name="connsiteY579" fmla="*/ 6193998 h 6858000"/>
              <a:gd name="connsiteX580" fmla="*/ 458562 w 12198355"/>
              <a:gd name="connsiteY580" fmla="*/ 6199295 h 6858000"/>
              <a:gd name="connsiteX581" fmla="*/ 457832 w 12198355"/>
              <a:gd name="connsiteY581" fmla="*/ 6205076 h 6858000"/>
              <a:gd name="connsiteX582" fmla="*/ 457832 w 12198355"/>
              <a:gd name="connsiteY582" fmla="*/ 6329188 h 6858000"/>
              <a:gd name="connsiteX583" fmla="*/ 458562 w 12198355"/>
              <a:gd name="connsiteY583" fmla="*/ 6334969 h 6858000"/>
              <a:gd name="connsiteX584" fmla="*/ 460658 w 12198355"/>
              <a:gd name="connsiteY584" fmla="*/ 6340266 h 6858000"/>
              <a:gd name="connsiteX585" fmla="*/ 463977 w 12198355"/>
              <a:gd name="connsiteY585" fmla="*/ 6344822 h 6858000"/>
              <a:gd name="connsiteX586" fmla="*/ 468378 w 12198355"/>
              <a:gd name="connsiteY586" fmla="*/ 6348377 h 6858000"/>
              <a:gd name="connsiteX587" fmla="*/ 570703 w 12198355"/>
              <a:gd name="connsiteY587" fmla="*/ 6410433 h 6858000"/>
              <a:gd name="connsiteX588" fmla="*/ 575834 w 12198355"/>
              <a:gd name="connsiteY588" fmla="*/ 6412659 h 6858000"/>
              <a:gd name="connsiteX589" fmla="*/ 581250 w 12198355"/>
              <a:gd name="connsiteY589" fmla="*/ 6413401 h 6858000"/>
              <a:gd name="connsiteX590" fmla="*/ 586665 w 12198355"/>
              <a:gd name="connsiteY590" fmla="*/ 6412659 h 6858000"/>
              <a:gd name="connsiteX591" fmla="*/ 591796 w 12198355"/>
              <a:gd name="connsiteY591" fmla="*/ 6410433 h 6858000"/>
              <a:gd name="connsiteX592" fmla="*/ 687555 w 12198355"/>
              <a:gd name="connsiteY592" fmla="*/ 6352359 h 6858000"/>
              <a:gd name="connsiteX593" fmla="*/ 694122 w 12198355"/>
              <a:gd name="connsiteY593" fmla="*/ 6348377 h 6858000"/>
              <a:gd name="connsiteX594" fmla="*/ 698523 w 12198355"/>
              <a:gd name="connsiteY594" fmla="*/ 6344822 h 6858000"/>
              <a:gd name="connsiteX595" fmla="*/ 701842 w 12198355"/>
              <a:gd name="connsiteY595" fmla="*/ 6340266 h 6858000"/>
              <a:gd name="connsiteX596" fmla="*/ 703937 w 12198355"/>
              <a:gd name="connsiteY596" fmla="*/ 6334969 h 6858000"/>
              <a:gd name="connsiteX597" fmla="*/ 704667 w 12198355"/>
              <a:gd name="connsiteY597" fmla="*/ 6329188 h 6858000"/>
              <a:gd name="connsiteX598" fmla="*/ 704667 w 12198355"/>
              <a:gd name="connsiteY598" fmla="*/ 6277512 h 6858000"/>
              <a:gd name="connsiteX599" fmla="*/ 581250 w 12198355"/>
              <a:gd name="connsiteY599" fmla="*/ 6352359 h 6858000"/>
              <a:gd name="connsiteX600" fmla="*/ 512614 w 12198355"/>
              <a:gd name="connsiteY600" fmla="*/ 6310735 h 6858000"/>
              <a:gd name="connsiteX601" fmla="*/ 512651 w 12198355"/>
              <a:gd name="connsiteY601" fmla="*/ 6225511 h 6858000"/>
              <a:gd name="connsiteX602" fmla="*/ 576185 w 12198355"/>
              <a:gd name="connsiteY602" fmla="*/ 6186958 h 6858000"/>
              <a:gd name="connsiteX603" fmla="*/ 578647 w 12198355"/>
              <a:gd name="connsiteY603" fmla="*/ 6185889 h 6858000"/>
              <a:gd name="connsiteX604" fmla="*/ 581250 w 12198355"/>
              <a:gd name="connsiteY604" fmla="*/ 6185532 h 6858000"/>
              <a:gd name="connsiteX605" fmla="*/ 583855 w 12198355"/>
              <a:gd name="connsiteY605" fmla="*/ 6185889 h 6858000"/>
              <a:gd name="connsiteX606" fmla="*/ 586321 w 12198355"/>
              <a:gd name="connsiteY606" fmla="*/ 6186960 h 6858000"/>
              <a:gd name="connsiteX607" fmla="*/ 649885 w 12198355"/>
              <a:gd name="connsiteY607" fmla="*/ 6225509 h 6858000"/>
              <a:gd name="connsiteX608" fmla="*/ 589785 w 12198355"/>
              <a:gd name="connsiteY608" fmla="*/ 6261958 h 6858000"/>
              <a:gd name="connsiteX609" fmla="*/ 585633 w 12198355"/>
              <a:gd name="connsiteY609" fmla="*/ 6263759 h 6858000"/>
              <a:gd name="connsiteX610" fmla="*/ 581250 w 12198355"/>
              <a:gd name="connsiteY610" fmla="*/ 6264359 h 6858000"/>
              <a:gd name="connsiteX611" fmla="*/ 576868 w 12198355"/>
              <a:gd name="connsiteY611" fmla="*/ 6263758 h 6858000"/>
              <a:gd name="connsiteX612" fmla="*/ 572716 w 12198355"/>
              <a:gd name="connsiteY612" fmla="*/ 6261956 h 6858000"/>
              <a:gd name="connsiteX613" fmla="*/ 529723 w 12198355"/>
              <a:gd name="connsiteY613" fmla="*/ 6235870 h 6858000"/>
              <a:gd name="connsiteX614" fmla="*/ 529693 w 12198355"/>
              <a:gd name="connsiteY614" fmla="*/ 6300334 h 6858000"/>
              <a:gd name="connsiteX615" fmla="*/ 581250 w 12198355"/>
              <a:gd name="connsiteY615" fmla="*/ 6331602 h 6858000"/>
              <a:gd name="connsiteX616" fmla="*/ 692128 w 12198355"/>
              <a:gd name="connsiteY616" fmla="*/ 6264359 h 6858000"/>
              <a:gd name="connsiteX617" fmla="*/ 704667 w 12198355"/>
              <a:gd name="connsiteY617" fmla="*/ 6256755 h 6858000"/>
              <a:gd name="connsiteX618" fmla="*/ 704667 w 12198355"/>
              <a:gd name="connsiteY618" fmla="*/ 6205076 h 6858000"/>
              <a:gd name="connsiteX619" fmla="*/ 703937 w 12198355"/>
              <a:gd name="connsiteY619" fmla="*/ 6199295 h 6858000"/>
              <a:gd name="connsiteX620" fmla="*/ 701842 w 12198355"/>
              <a:gd name="connsiteY620" fmla="*/ 6193998 h 6858000"/>
              <a:gd name="connsiteX621" fmla="*/ 698523 w 12198355"/>
              <a:gd name="connsiteY621" fmla="*/ 6189443 h 6858000"/>
              <a:gd name="connsiteX622" fmla="*/ 694122 w 12198355"/>
              <a:gd name="connsiteY622" fmla="*/ 6185888 h 6858000"/>
              <a:gd name="connsiteX623" fmla="*/ 693534 w 12198355"/>
              <a:gd name="connsiteY623" fmla="*/ 6185532 h 6858000"/>
              <a:gd name="connsiteX624" fmla="*/ 591796 w 12198355"/>
              <a:gd name="connsiteY624" fmla="*/ 6123833 h 6858000"/>
              <a:gd name="connsiteX625" fmla="*/ 586665 w 12198355"/>
              <a:gd name="connsiteY625" fmla="*/ 6121606 h 6858000"/>
              <a:gd name="connsiteX626" fmla="*/ 581250 w 12198355"/>
              <a:gd name="connsiteY626" fmla="*/ 6120863 h 6858000"/>
              <a:gd name="connsiteX627" fmla="*/ 0 w 12198355"/>
              <a:gd name="connsiteY627" fmla="*/ 0 h 6858000"/>
              <a:gd name="connsiteX628" fmla="*/ 12188825 w 12198355"/>
              <a:gd name="connsiteY628" fmla="*/ 0 h 6858000"/>
              <a:gd name="connsiteX629" fmla="*/ 12198355 w 12198355"/>
              <a:gd name="connsiteY629" fmla="*/ 6858000 h 6858000"/>
              <a:gd name="connsiteX630" fmla="*/ 0 w 12198355"/>
              <a:gd name="connsiteY630" fmla="*/ 6858000 h 6858000"/>
              <a:gd name="connsiteX631" fmla="*/ 0 w 12198355"/>
              <a:gd name="connsiteY631" fmla="*/ 0 h 6858000"/>
              <a:gd name="connsiteX0" fmla="*/ 1007893 w 12199272"/>
              <a:gd name="connsiteY0" fmla="*/ 6269265 h 6858000"/>
              <a:gd name="connsiteX1" fmla="*/ 1012666 w 12199272"/>
              <a:gd name="connsiteY1" fmla="*/ 6269568 h 6858000"/>
              <a:gd name="connsiteX2" fmla="*/ 1017275 w 12199272"/>
              <a:gd name="connsiteY2" fmla="*/ 6270481 h 6858000"/>
              <a:gd name="connsiteX3" fmla="*/ 1021659 w 12199272"/>
              <a:gd name="connsiteY3" fmla="*/ 6272007 h 6858000"/>
              <a:gd name="connsiteX4" fmla="*/ 1025757 w 12199272"/>
              <a:gd name="connsiteY4" fmla="*/ 6274150 h 6858000"/>
              <a:gd name="connsiteX5" fmla="*/ 1029507 w 12199272"/>
              <a:gd name="connsiteY5" fmla="*/ 6276915 h 6858000"/>
              <a:gd name="connsiteX6" fmla="*/ 1032848 w 12199272"/>
              <a:gd name="connsiteY6" fmla="*/ 6280306 h 6858000"/>
              <a:gd name="connsiteX7" fmla="*/ 1035719 w 12199272"/>
              <a:gd name="connsiteY7" fmla="*/ 6284326 h 6858000"/>
              <a:gd name="connsiteX8" fmla="*/ 1038059 w 12199272"/>
              <a:gd name="connsiteY8" fmla="*/ 6288981 h 6858000"/>
              <a:gd name="connsiteX9" fmla="*/ 1039806 w 12199272"/>
              <a:gd name="connsiteY9" fmla="*/ 6294273 h 6858000"/>
              <a:gd name="connsiteX10" fmla="*/ 1040899 w 12199272"/>
              <a:gd name="connsiteY10" fmla="*/ 6300208 h 6858000"/>
              <a:gd name="connsiteX11" fmla="*/ 1041277 w 12199272"/>
              <a:gd name="connsiteY11" fmla="*/ 6306788 h 6858000"/>
              <a:gd name="connsiteX12" fmla="*/ 1040899 w 12199272"/>
              <a:gd name="connsiteY12" fmla="*/ 6313376 h 6858000"/>
              <a:gd name="connsiteX13" fmla="*/ 1039806 w 12199272"/>
              <a:gd name="connsiteY13" fmla="*/ 6319330 h 6858000"/>
              <a:gd name="connsiteX14" fmla="*/ 1038059 w 12199272"/>
              <a:gd name="connsiteY14" fmla="*/ 6324652 h 6858000"/>
              <a:gd name="connsiteX15" fmla="*/ 1035719 w 12199272"/>
              <a:gd name="connsiteY15" fmla="*/ 6329342 h 6858000"/>
              <a:gd name="connsiteX16" fmla="*/ 1032848 w 12199272"/>
              <a:gd name="connsiteY16" fmla="*/ 6333403 h 6858000"/>
              <a:gd name="connsiteX17" fmla="*/ 1029507 w 12199272"/>
              <a:gd name="connsiteY17" fmla="*/ 6336835 h 6858000"/>
              <a:gd name="connsiteX18" fmla="*/ 1025757 w 12199272"/>
              <a:gd name="connsiteY18" fmla="*/ 6339641 h 6858000"/>
              <a:gd name="connsiteX19" fmla="*/ 1021659 w 12199272"/>
              <a:gd name="connsiteY19" fmla="*/ 6341820 h 6858000"/>
              <a:gd name="connsiteX20" fmla="*/ 1017275 w 12199272"/>
              <a:gd name="connsiteY20" fmla="*/ 6343375 h 6858000"/>
              <a:gd name="connsiteX21" fmla="*/ 1012666 w 12199272"/>
              <a:gd name="connsiteY21" fmla="*/ 6344307 h 6858000"/>
              <a:gd name="connsiteX22" fmla="*/ 1007893 w 12199272"/>
              <a:gd name="connsiteY22" fmla="*/ 6344618 h 6858000"/>
              <a:gd name="connsiteX23" fmla="*/ 1003193 w 12199272"/>
              <a:gd name="connsiteY23" fmla="*/ 6344300 h 6858000"/>
              <a:gd name="connsiteX24" fmla="*/ 998645 w 12199272"/>
              <a:gd name="connsiteY24" fmla="*/ 6343350 h 6858000"/>
              <a:gd name="connsiteX25" fmla="*/ 994309 w 12199272"/>
              <a:gd name="connsiteY25" fmla="*/ 6341771 h 6858000"/>
              <a:gd name="connsiteX26" fmla="*/ 990249 w 12199272"/>
              <a:gd name="connsiteY26" fmla="*/ 6339564 h 6858000"/>
              <a:gd name="connsiteX27" fmla="*/ 986527 w 12199272"/>
              <a:gd name="connsiteY27" fmla="*/ 6336732 h 6858000"/>
              <a:gd name="connsiteX28" fmla="*/ 983207 w 12199272"/>
              <a:gd name="connsiteY28" fmla="*/ 6333280 h 6858000"/>
              <a:gd name="connsiteX29" fmla="*/ 980349 w 12199272"/>
              <a:gd name="connsiteY29" fmla="*/ 6329208 h 6858000"/>
              <a:gd name="connsiteX30" fmla="*/ 978018 w 12199272"/>
              <a:gd name="connsiteY30" fmla="*/ 6324520 h 6858000"/>
              <a:gd name="connsiteX31" fmla="*/ 976275 w 12199272"/>
              <a:gd name="connsiteY31" fmla="*/ 6319219 h 6858000"/>
              <a:gd name="connsiteX32" fmla="*/ 975184 w 12199272"/>
              <a:gd name="connsiteY32" fmla="*/ 6313308 h 6858000"/>
              <a:gd name="connsiteX33" fmla="*/ 974806 w 12199272"/>
              <a:gd name="connsiteY33" fmla="*/ 6306788 h 6858000"/>
              <a:gd name="connsiteX34" fmla="*/ 975184 w 12199272"/>
              <a:gd name="connsiteY34" fmla="*/ 6300208 h 6858000"/>
              <a:gd name="connsiteX35" fmla="*/ 976275 w 12199272"/>
              <a:gd name="connsiteY35" fmla="*/ 6294273 h 6858000"/>
              <a:gd name="connsiteX36" fmla="*/ 978018 w 12199272"/>
              <a:gd name="connsiteY36" fmla="*/ 6288981 h 6858000"/>
              <a:gd name="connsiteX37" fmla="*/ 980349 w 12199272"/>
              <a:gd name="connsiteY37" fmla="*/ 6284326 h 6858000"/>
              <a:gd name="connsiteX38" fmla="*/ 983207 w 12199272"/>
              <a:gd name="connsiteY38" fmla="*/ 6280306 h 6858000"/>
              <a:gd name="connsiteX39" fmla="*/ 986527 w 12199272"/>
              <a:gd name="connsiteY39" fmla="*/ 6276915 h 6858000"/>
              <a:gd name="connsiteX40" fmla="*/ 990249 w 12199272"/>
              <a:gd name="connsiteY40" fmla="*/ 6274150 h 6858000"/>
              <a:gd name="connsiteX41" fmla="*/ 994309 w 12199272"/>
              <a:gd name="connsiteY41" fmla="*/ 6272007 h 6858000"/>
              <a:gd name="connsiteX42" fmla="*/ 998645 w 12199272"/>
              <a:gd name="connsiteY42" fmla="*/ 6270481 h 6858000"/>
              <a:gd name="connsiteX43" fmla="*/ 1003193 w 12199272"/>
              <a:gd name="connsiteY43" fmla="*/ 6269568 h 6858000"/>
              <a:gd name="connsiteX44" fmla="*/ 1007893 w 12199272"/>
              <a:gd name="connsiteY44" fmla="*/ 6269265 h 6858000"/>
              <a:gd name="connsiteX45" fmla="*/ 1349948 w 12199272"/>
              <a:gd name="connsiteY45" fmla="*/ 6269264 h 6858000"/>
              <a:gd name="connsiteX46" fmla="*/ 1354581 w 12199272"/>
              <a:gd name="connsiteY46" fmla="*/ 6269561 h 6858000"/>
              <a:gd name="connsiteX47" fmla="*/ 1359089 w 12199272"/>
              <a:gd name="connsiteY47" fmla="*/ 6270455 h 6858000"/>
              <a:gd name="connsiteX48" fmla="*/ 1363405 w 12199272"/>
              <a:gd name="connsiteY48" fmla="*/ 6271956 h 6858000"/>
              <a:gd name="connsiteX49" fmla="*/ 1367462 w 12199272"/>
              <a:gd name="connsiteY49" fmla="*/ 6274072 h 6858000"/>
              <a:gd name="connsiteX50" fmla="*/ 1371195 w 12199272"/>
              <a:gd name="connsiteY50" fmla="*/ 6276811 h 6858000"/>
              <a:gd name="connsiteX51" fmla="*/ 1374536 w 12199272"/>
              <a:gd name="connsiteY51" fmla="*/ 6280181 h 6858000"/>
              <a:gd name="connsiteX52" fmla="*/ 1377418 w 12199272"/>
              <a:gd name="connsiteY52" fmla="*/ 6284190 h 6858000"/>
              <a:gd name="connsiteX53" fmla="*/ 1379777 w 12199272"/>
              <a:gd name="connsiteY53" fmla="*/ 6288848 h 6858000"/>
              <a:gd name="connsiteX54" fmla="*/ 1381543 w 12199272"/>
              <a:gd name="connsiteY54" fmla="*/ 6294161 h 6858000"/>
              <a:gd name="connsiteX55" fmla="*/ 1382652 w 12199272"/>
              <a:gd name="connsiteY55" fmla="*/ 6300138 h 6858000"/>
              <a:gd name="connsiteX56" fmla="*/ 1383037 w 12199272"/>
              <a:gd name="connsiteY56" fmla="*/ 6306788 h 6858000"/>
              <a:gd name="connsiteX57" fmla="*/ 1382652 w 12199272"/>
              <a:gd name="connsiteY57" fmla="*/ 6313445 h 6858000"/>
              <a:gd name="connsiteX58" fmla="*/ 1381543 w 12199272"/>
              <a:gd name="connsiteY58" fmla="*/ 6319442 h 6858000"/>
              <a:gd name="connsiteX59" fmla="*/ 1379777 w 12199272"/>
              <a:gd name="connsiteY59" fmla="*/ 6324784 h 6858000"/>
              <a:gd name="connsiteX60" fmla="*/ 1377418 w 12199272"/>
              <a:gd name="connsiteY60" fmla="*/ 6329478 h 6858000"/>
              <a:gd name="connsiteX61" fmla="*/ 1374536 w 12199272"/>
              <a:gd name="connsiteY61" fmla="*/ 6333527 h 6858000"/>
              <a:gd name="connsiteX62" fmla="*/ 1371195 w 12199272"/>
              <a:gd name="connsiteY62" fmla="*/ 6336939 h 6858000"/>
              <a:gd name="connsiteX63" fmla="*/ 1367462 w 12199272"/>
              <a:gd name="connsiteY63" fmla="*/ 6339718 h 6858000"/>
              <a:gd name="connsiteX64" fmla="*/ 1363405 w 12199272"/>
              <a:gd name="connsiteY64" fmla="*/ 6341869 h 6858000"/>
              <a:gd name="connsiteX65" fmla="*/ 1359089 w 12199272"/>
              <a:gd name="connsiteY65" fmla="*/ 6343400 h 6858000"/>
              <a:gd name="connsiteX66" fmla="*/ 1354581 w 12199272"/>
              <a:gd name="connsiteY66" fmla="*/ 6344314 h 6858000"/>
              <a:gd name="connsiteX67" fmla="*/ 1349948 w 12199272"/>
              <a:gd name="connsiteY67" fmla="*/ 6344617 h 6858000"/>
              <a:gd name="connsiteX68" fmla="*/ 1345382 w 12199272"/>
              <a:gd name="connsiteY68" fmla="*/ 6344307 h 6858000"/>
              <a:gd name="connsiteX69" fmla="*/ 1340916 w 12199272"/>
              <a:gd name="connsiteY69" fmla="*/ 6343375 h 6858000"/>
              <a:gd name="connsiteX70" fmla="*/ 1336620 w 12199272"/>
              <a:gd name="connsiteY70" fmla="*/ 6341820 h 6858000"/>
              <a:gd name="connsiteX71" fmla="*/ 1332565 w 12199272"/>
              <a:gd name="connsiteY71" fmla="*/ 6339640 h 6858000"/>
              <a:gd name="connsiteX72" fmla="*/ 1328822 w 12199272"/>
              <a:gd name="connsiteY72" fmla="*/ 6336835 h 6858000"/>
              <a:gd name="connsiteX73" fmla="*/ 1325461 w 12199272"/>
              <a:gd name="connsiteY73" fmla="*/ 6333403 h 6858000"/>
              <a:gd name="connsiteX74" fmla="*/ 1322553 w 12199272"/>
              <a:gd name="connsiteY74" fmla="*/ 6329343 h 6858000"/>
              <a:gd name="connsiteX75" fmla="*/ 1320168 w 12199272"/>
              <a:gd name="connsiteY75" fmla="*/ 6324652 h 6858000"/>
              <a:gd name="connsiteX76" fmla="*/ 1318378 w 12199272"/>
              <a:gd name="connsiteY76" fmla="*/ 6319330 h 6858000"/>
              <a:gd name="connsiteX77" fmla="*/ 1317251 w 12199272"/>
              <a:gd name="connsiteY77" fmla="*/ 6313376 h 6858000"/>
              <a:gd name="connsiteX78" fmla="*/ 1316860 w 12199272"/>
              <a:gd name="connsiteY78" fmla="*/ 6306788 h 6858000"/>
              <a:gd name="connsiteX79" fmla="*/ 1317251 w 12199272"/>
              <a:gd name="connsiteY79" fmla="*/ 6300138 h 6858000"/>
              <a:gd name="connsiteX80" fmla="*/ 1318378 w 12199272"/>
              <a:gd name="connsiteY80" fmla="*/ 6294161 h 6858000"/>
              <a:gd name="connsiteX81" fmla="*/ 1320168 w 12199272"/>
              <a:gd name="connsiteY81" fmla="*/ 6288848 h 6858000"/>
              <a:gd name="connsiteX82" fmla="*/ 1322553 w 12199272"/>
              <a:gd name="connsiteY82" fmla="*/ 6284190 h 6858000"/>
              <a:gd name="connsiteX83" fmla="*/ 1325461 w 12199272"/>
              <a:gd name="connsiteY83" fmla="*/ 6280181 h 6858000"/>
              <a:gd name="connsiteX84" fmla="*/ 1328822 w 12199272"/>
              <a:gd name="connsiteY84" fmla="*/ 6276811 h 6858000"/>
              <a:gd name="connsiteX85" fmla="*/ 1332565 w 12199272"/>
              <a:gd name="connsiteY85" fmla="*/ 6274072 h 6858000"/>
              <a:gd name="connsiteX86" fmla="*/ 1336620 w 12199272"/>
              <a:gd name="connsiteY86" fmla="*/ 6271956 h 6858000"/>
              <a:gd name="connsiteX87" fmla="*/ 1340916 w 12199272"/>
              <a:gd name="connsiteY87" fmla="*/ 6270455 h 6858000"/>
              <a:gd name="connsiteX88" fmla="*/ 1345382 w 12199272"/>
              <a:gd name="connsiteY88" fmla="*/ 6269561 h 6858000"/>
              <a:gd name="connsiteX89" fmla="*/ 1349948 w 12199272"/>
              <a:gd name="connsiteY89" fmla="*/ 6269264 h 6858000"/>
              <a:gd name="connsiteX90" fmla="*/ 1106434 w 12199272"/>
              <a:gd name="connsiteY90" fmla="*/ 6231132 h 6858000"/>
              <a:gd name="connsiteX91" fmla="*/ 1104886 w 12199272"/>
              <a:gd name="connsiteY91" fmla="*/ 6231455 h 6858000"/>
              <a:gd name="connsiteX92" fmla="*/ 1103622 w 12199272"/>
              <a:gd name="connsiteY92" fmla="*/ 6232335 h 6858000"/>
              <a:gd name="connsiteX93" fmla="*/ 1102769 w 12199272"/>
              <a:gd name="connsiteY93" fmla="*/ 6233641 h 6858000"/>
              <a:gd name="connsiteX94" fmla="*/ 1102457 w 12199272"/>
              <a:gd name="connsiteY94" fmla="*/ 6235239 h 6858000"/>
              <a:gd name="connsiteX95" fmla="*/ 1102457 w 12199272"/>
              <a:gd name="connsiteY95" fmla="*/ 6378643 h 6858000"/>
              <a:gd name="connsiteX96" fmla="*/ 1102769 w 12199272"/>
              <a:gd name="connsiteY96" fmla="*/ 6380242 h 6858000"/>
              <a:gd name="connsiteX97" fmla="*/ 1103622 w 12199272"/>
              <a:gd name="connsiteY97" fmla="*/ 6381547 h 6858000"/>
              <a:gd name="connsiteX98" fmla="*/ 1104886 w 12199272"/>
              <a:gd name="connsiteY98" fmla="*/ 6382427 h 6858000"/>
              <a:gd name="connsiteX99" fmla="*/ 1106434 w 12199272"/>
              <a:gd name="connsiteY99" fmla="*/ 6382750 h 6858000"/>
              <a:gd name="connsiteX100" fmla="*/ 1143384 w 12199272"/>
              <a:gd name="connsiteY100" fmla="*/ 6382750 h 6858000"/>
              <a:gd name="connsiteX101" fmla="*/ 1144932 w 12199272"/>
              <a:gd name="connsiteY101" fmla="*/ 6382427 h 6858000"/>
              <a:gd name="connsiteX102" fmla="*/ 1146197 w 12199272"/>
              <a:gd name="connsiteY102" fmla="*/ 6381547 h 6858000"/>
              <a:gd name="connsiteX103" fmla="*/ 1147050 w 12199272"/>
              <a:gd name="connsiteY103" fmla="*/ 6380242 h 6858000"/>
              <a:gd name="connsiteX104" fmla="*/ 1147362 w 12199272"/>
              <a:gd name="connsiteY104" fmla="*/ 6378643 h 6858000"/>
              <a:gd name="connsiteX105" fmla="*/ 1147362 w 12199272"/>
              <a:gd name="connsiteY105" fmla="*/ 6235239 h 6858000"/>
              <a:gd name="connsiteX106" fmla="*/ 1147050 w 12199272"/>
              <a:gd name="connsiteY106" fmla="*/ 6233641 h 6858000"/>
              <a:gd name="connsiteX107" fmla="*/ 1146197 w 12199272"/>
              <a:gd name="connsiteY107" fmla="*/ 6232335 h 6858000"/>
              <a:gd name="connsiteX108" fmla="*/ 1144932 w 12199272"/>
              <a:gd name="connsiteY108" fmla="*/ 6231455 h 6858000"/>
              <a:gd name="connsiteX109" fmla="*/ 1143384 w 12199272"/>
              <a:gd name="connsiteY109" fmla="*/ 6231132 h 6858000"/>
              <a:gd name="connsiteX110" fmla="*/ 1106434 w 12199272"/>
              <a:gd name="connsiteY110" fmla="*/ 6231132 h 6858000"/>
              <a:gd name="connsiteX111" fmla="*/ 1254739 w 12199272"/>
              <a:gd name="connsiteY111" fmla="*/ 6229607 h 6858000"/>
              <a:gd name="connsiteX112" fmla="*/ 1250024 w 12199272"/>
              <a:gd name="connsiteY112" fmla="*/ 6229850 h 6858000"/>
              <a:gd name="connsiteX113" fmla="*/ 1244879 w 12199272"/>
              <a:gd name="connsiteY113" fmla="*/ 6230637 h 6858000"/>
              <a:gd name="connsiteX114" fmla="*/ 1239513 w 12199272"/>
              <a:gd name="connsiteY114" fmla="*/ 6232052 h 6858000"/>
              <a:gd name="connsiteX115" fmla="*/ 1234133 w 12199272"/>
              <a:gd name="connsiteY115" fmla="*/ 6234183 h 6858000"/>
              <a:gd name="connsiteX116" fmla="*/ 1228947 w 12199272"/>
              <a:gd name="connsiteY116" fmla="*/ 6237114 h 6858000"/>
              <a:gd name="connsiteX117" fmla="*/ 1224162 w 12199272"/>
              <a:gd name="connsiteY117" fmla="*/ 6240933 h 6858000"/>
              <a:gd name="connsiteX118" fmla="*/ 1219987 w 12199272"/>
              <a:gd name="connsiteY118" fmla="*/ 6245723 h 6858000"/>
              <a:gd name="connsiteX119" fmla="*/ 1216628 w 12199272"/>
              <a:gd name="connsiteY119" fmla="*/ 6251572 h 6858000"/>
              <a:gd name="connsiteX120" fmla="*/ 1216628 w 12199272"/>
              <a:gd name="connsiteY120" fmla="*/ 6235238 h 6858000"/>
              <a:gd name="connsiteX121" fmla="*/ 1216316 w 12199272"/>
              <a:gd name="connsiteY121" fmla="*/ 6233640 h 6858000"/>
              <a:gd name="connsiteX122" fmla="*/ 1215463 w 12199272"/>
              <a:gd name="connsiteY122" fmla="*/ 6232335 h 6858000"/>
              <a:gd name="connsiteX123" fmla="*/ 1214199 w 12199272"/>
              <a:gd name="connsiteY123" fmla="*/ 6231454 h 6858000"/>
              <a:gd name="connsiteX124" fmla="*/ 1212650 w 12199272"/>
              <a:gd name="connsiteY124" fmla="*/ 6231132 h 6858000"/>
              <a:gd name="connsiteX125" fmla="*/ 1177178 w 12199272"/>
              <a:gd name="connsiteY125" fmla="*/ 6231132 h 6858000"/>
              <a:gd name="connsiteX126" fmla="*/ 1175630 w 12199272"/>
              <a:gd name="connsiteY126" fmla="*/ 6231454 h 6858000"/>
              <a:gd name="connsiteX127" fmla="*/ 1174366 w 12199272"/>
              <a:gd name="connsiteY127" fmla="*/ 6232335 h 6858000"/>
              <a:gd name="connsiteX128" fmla="*/ 1173513 w 12199272"/>
              <a:gd name="connsiteY128" fmla="*/ 6233640 h 6858000"/>
              <a:gd name="connsiteX129" fmla="*/ 1173201 w 12199272"/>
              <a:gd name="connsiteY129" fmla="*/ 6235238 h 6858000"/>
              <a:gd name="connsiteX130" fmla="*/ 1173201 w 12199272"/>
              <a:gd name="connsiteY130" fmla="*/ 6378642 h 6858000"/>
              <a:gd name="connsiteX131" fmla="*/ 1173513 w 12199272"/>
              <a:gd name="connsiteY131" fmla="*/ 6380242 h 6858000"/>
              <a:gd name="connsiteX132" fmla="*/ 1174366 w 12199272"/>
              <a:gd name="connsiteY132" fmla="*/ 6381548 h 6858000"/>
              <a:gd name="connsiteX133" fmla="*/ 1175630 w 12199272"/>
              <a:gd name="connsiteY133" fmla="*/ 6382428 h 6858000"/>
              <a:gd name="connsiteX134" fmla="*/ 1177178 w 12199272"/>
              <a:gd name="connsiteY134" fmla="*/ 6382751 h 6858000"/>
              <a:gd name="connsiteX135" fmla="*/ 1214127 w 12199272"/>
              <a:gd name="connsiteY135" fmla="*/ 6382751 h 6858000"/>
              <a:gd name="connsiteX136" fmla="*/ 1215676 w 12199272"/>
              <a:gd name="connsiteY136" fmla="*/ 6382428 h 6858000"/>
              <a:gd name="connsiteX137" fmla="*/ 1216940 w 12199272"/>
              <a:gd name="connsiteY137" fmla="*/ 6381548 h 6858000"/>
              <a:gd name="connsiteX138" fmla="*/ 1217792 w 12199272"/>
              <a:gd name="connsiteY138" fmla="*/ 6380242 h 6858000"/>
              <a:gd name="connsiteX139" fmla="*/ 1218105 w 12199272"/>
              <a:gd name="connsiteY139" fmla="*/ 6378642 h 6858000"/>
              <a:gd name="connsiteX140" fmla="*/ 1218105 w 12199272"/>
              <a:gd name="connsiteY140" fmla="*/ 6316549 h 6858000"/>
              <a:gd name="connsiteX141" fmla="*/ 1218497 w 12199272"/>
              <a:gd name="connsiteY141" fmla="*/ 6308781 h 6858000"/>
              <a:gd name="connsiteX142" fmla="*/ 1219630 w 12199272"/>
              <a:gd name="connsiteY142" fmla="*/ 6301926 h 6858000"/>
              <a:gd name="connsiteX143" fmla="*/ 1221437 w 12199272"/>
              <a:gd name="connsiteY143" fmla="*/ 6295946 h 6858000"/>
              <a:gd name="connsiteX144" fmla="*/ 1223855 w 12199272"/>
              <a:gd name="connsiteY144" fmla="*/ 6290807 h 6858000"/>
              <a:gd name="connsiteX145" fmla="*/ 1226817 w 12199272"/>
              <a:gd name="connsiteY145" fmla="*/ 6286470 h 6858000"/>
              <a:gd name="connsiteX146" fmla="*/ 1230259 w 12199272"/>
              <a:gd name="connsiteY146" fmla="*/ 6282901 h 6858000"/>
              <a:gd name="connsiteX147" fmla="*/ 1234115 w 12199272"/>
              <a:gd name="connsiteY147" fmla="*/ 6280062 h 6858000"/>
              <a:gd name="connsiteX148" fmla="*/ 1238320 w 12199272"/>
              <a:gd name="connsiteY148" fmla="*/ 6277917 h 6858000"/>
              <a:gd name="connsiteX149" fmla="*/ 1242809 w 12199272"/>
              <a:gd name="connsiteY149" fmla="*/ 6276430 h 6858000"/>
              <a:gd name="connsiteX150" fmla="*/ 1247516 w 12199272"/>
              <a:gd name="connsiteY150" fmla="*/ 6275565 h 6858000"/>
              <a:gd name="connsiteX151" fmla="*/ 1252376 w 12199272"/>
              <a:gd name="connsiteY151" fmla="*/ 6275284 h 6858000"/>
              <a:gd name="connsiteX152" fmla="*/ 1254599 w 12199272"/>
              <a:gd name="connsiteY152" fmla="*/ 6275312 h 6858000"/>
              <a:gd name="connsiteX153" fmla="*/ 1256730 w 12199272"/>
              <a:gd name="connsiteY153" fmla="*/ 6275402 h 6858000"/>
              <a:gd name="connsiteX154" fmla="*/ 1258821 w 12199272"/>
              <a:gd name="connsiteY154" fmla="*/ 6275565 h 6858000"/>
              <a:gd name="connsiteX155" fmla="*/ 1260894 w 12199272"/>
              <a:gd name="connsiteY155" fmla="*/ 6275809 h 6858000"/>
              <a:gd name="connsiteX156" fmla="*/ 1262471 w 12199272"/>
              <a:gd name="connsiteY156" fmla="*/ 6275713 h 6858000"/>
              <a:gd name="connsiteX157" fmla="*/ 1263347 w 12199272"/>
              <a:gd name="connsiteY157" fmla="*/ 6275284 h 6858000"/>
              <a:gd name="connsiteX158" fmla="*/ 1263848 w 12199272"/>
              <a:gd name="connsiteY158" fmla="*/ 6275039 h 6858000"/>
              <a:gd name="connsiteX159" fmla="*/ 1264877 w 12199272"/>
              <a:gd name="connsiteY159" fmla="*/ 6273889 h 6858000"/>
              <a:gd name="connsiteX160" fmla="*/ 1265415 w 12199272"/>
              <a:gd name="connsiteY160" fmla="*/ 6272363 h 6858000"/>
              <a:gd name="connsiteX161" fmla="*/ 1268444 w 12199272"/>
              <a:gd name="connsiteY161" fmla="*/ 6251572 h 6858000"/>
              <a:gd name="connsiteX162" fmla="*/ 1270750 w 12199272"/>
              <a:gd name="connsiteY162" fmla="*/ 6235738 h 6858000"/>
              <a:gd name="connsiteX163" fmla="*/ 1270687 w 12199272"/>
              <a:gd name="connsiteY163" fmla="*/ 6234167 h 6858000"/>
              <a:gd name="connsiteX164" fmla="*/ 1264312 w 12199272"/>
              <a:gd name="connsiteY164" fmla="*/ 6230481 h 6858000"/>
              <a:gd name="connsiteX165" fmla="*/ 1257574 w 12199272"/>
              <a:gd name="connsiteY165" fmla="*/ 6229712 h 6858000"/>
              <a:gd name="connsiteX166" fmla="*/ 1254739 w 12199272"/>
              <a:gd name="connsiteY166" fmla="*/ 6229607 h 6858000"/>
              <a:gd name="connsiteX167" fmla="*/ 1017052 w 12199272"/>
              <a:gd name="connsiteY167" fmla="*/ 6227471 h 6858000"/>
              <a:gd name="connsiteX168" fmla="*/ 1010253 w 12199272"/>
              <a:gd name="connsiteY168" fmla="*/ 6227809 h 6858000"/>
              <a:gd name="connsiteX169" fmla="*/ 1003864 w 12199272"/>
              <a:gd name="connsiteY169" fmla="*/ 6228772 h 6858000"/>
              <a:gd name="connsiteX170" fmla="*/ 997926 w 12199272"/>
              <a:gd name="connsiteY170" fmla="*/ 6230284 h 6858000"/>
              <a:gd name="connsiteX171" fmla="*/ 992476 w 12199272"/>
              <a:gd name="connsiteY171" fmla="*/ 6232272 h 6858000"/>
              <a:gd name="connsiteX172" fmla="*/ 987553 w 12199272"/>
              <a:gd name="connsiteY172" fmla="*/ 6234658 h 6858000"/>
              <a:gd name="connsiteX173" fmla="*/ 983198 w 12199272"/>
              <a:gd name="connsiteY173" fmla="*/ 6237369 h 6858000"/>
              <a:gd name="connsiteX174" fmla="*/ 979447 w 12199272"/>
              <a:gd name="connsiteY174" fmla="*/ 6240328 h 6858000"/>
              <a:gd name="connsiteX175" fmla="*/ 973919 w 12199272"/>
              <a:gd name="connsiteY175" fmla="*/ 6246690 h 6858000"/>
              <a:gd name="connsiteX176" fmla="*/ 973919 w 12199272"/>
              <a:gd name="connsiteY176" fmla="*/ 6235238 h 6858000"/>
              <a:gd name="connsiteX177" fmla="*/ 973606 w 12199272"/>
              <a:gd name="connsiteY177" fmla="*/ 6233640 h 6858000"/>
              <a:gd name="connsiteX178" fmla="*/ 972754 w 12199272"/>
              <a:gd name="connsiteY178" fmla="*/ 6232335 h 6858000"/>
              <a:gd name="connsiteX179" fmla="*/ 971489 w 12199272"/>
              <a:gd name="connsiteY179" fmla="*/ 6231454 h 6858000"/>
              <a:gd name="connsiteX180" fmla="*/ 969940 w 12199272"/>
              <a:gd name="connsiteY180" fmla="*/ 6231132 h 6858000"/>
              <a:gd name="connsiteX181" fmla="*/ 934469 w 12199272"/>
              <a:gd name="connsiteY181" fmla="*/ 6231132 h 6858000"/>
              <a:gd name="connsiteX182" fmla="*/ 932920 w 12199272"/>
              <a:gd name="connsiteY182" fmla="*/ 6231454 h 6858000"/>
              <a:gd name="connsiteX183" fmla="*/ 931655 w 12199272"/>
              <a:gd name="connsiteY183" fmla="*/ 6232335 h 6858000"/>
              <a:gd name="connsiteX184" fmla="*/ 930803 w 12199272"/>
              <a:gd name="connsiteY184" fmla="*/ 6233640 h 6858000"/>
              <a:gd name="connsiteX185" fmla="*/ 930490 w 12199272"/>
              <a:gd name="connsiteY185" fmla="*/ 6235238 h 6858000"/>
              <a:gd name="connsiteX186" fmla="*/ 930490 w 12199272"/>
              <a:gd name="connsiteY186" fmla="*/ 6436605 h 6858000"/>
              <a:gd name="connsiteX187" fmla="*/ 930803 w 12199272"/>
              <a:gd name="connsiteY187" fmla="*/ 6438204 h 6858000"/>
              <a:gd name="connsiteX188" fmla="*/ 931655 w 12199272"/>
              <a:gd name="connsiteY188" fmla="*/ 6439509 h 6858000"/>
              <a:gd name="connsiteX189" fmla="*/ 932920 w 12199272"/>
              <a:gd name="connsiteY189" fmla="*/ 6440389 h 6858000"/>
              <a:gd name="connsiteX190" fmla="*/ 934469 w 12199272"/>
              <a:gd name="connsiteY190" fmla="*/ 6440712 h 6858000"/>
              <a:gd name="connsiteX191" fmla="*/ 971418 w 12199272"/>
              <a:gd name="connsiteY191" fmla="*/ 6440712 h 6858000"/>
              <a:gd name="connsiteX192" fmla="*/ 972966 w 12199272"/>
              <a:gd name="connsiteY192" fmla="*/ 6440389 h 6858000"/>
              <a:gd name="connsiteX193" fmla="*/ 974230 w 12199272"/>
              <a:gd name="connsiteY193" fmla="*/ 6439509 h 6858000"/>
              <a:gd name="connsiteX194" fmla="*/ 975083 w 12199272"/>
              <a:gd name="connsiteY194" fmla="*/ 6438204 h 6858000"/>
              <a:gd name="connsiteX195" fmla="*/ 975395 w 12199272"/>
              <a:gd name="connsiteY195" fmla="*/ 6436605 h 6858000"/>
              <a:gd name="connsiteX196" fmla="*/ 975395 w 12199272"/>
              <a:gd name="connsiteY196" fmla="*/ 6370853 h 6858000"/>
              <a:gd name="connsiteX197" fmla="*/ 978285 w 12199272"/>
              <a:gd name="connsiteY197" fmla="*/ 6373960 h 6858000"/>
              <a:gd name="connsiteX198" fmla="*/ 981835 w 12199272"/>
              <a:gd name="connsiteY198" fmla="*/ 6376839 h 6858000"/>
              <a:gd name="connsiteX199" fmla="*/ 986016 w 12199272"/>
              <a:gd name="connsiteY199" fmla="*/ 6379433 h 6858000"/>
              <a:gd name="connsiteX200" fmla="*/ 990795 w 12199272"/>
              <a:gd name="connsiteY200" fmla="*/ 6381683 h 6858000"/>
              <a:gd name="connsiteX201" fmla="*/ 996142 w 12199272"/>
              <a:gd name="connsiteY201" fmla="*/ 6383532 h 6858000"/>
              <a:gd name="connsiteX202" fmla="*/ 1002026 w 12199272"/>
              <a:gd name="connsiteY202" fmla="*/ 6384925 h 6858000"/>
              <a:gd name="connsiteX203" fmla="*/ 1008415 w 12199272"/>
              <a:gd name="connsiteY203" fmla="*/ 6385802 h 6858000"/>
              <a:gd name="connsiteX204" fmla="*/ 1015278 w 12199272"/>
              <a:gd name="connsiteY204" fmla="*/ 6386107 h 6858000"/>
              <a:gd name="connsiteX205" fmla="*/ 1020801 w 12199272"/>
              <a:gd name="connsiteY205" fmla="*/ 6385903 h 6858000"/>
              <a:gd name="connsiteX206" fmla="*/ 1026165 w 12199272"/>
              <a:gd name="connsiteY206" fmla="*/ 6385298 h 6858000"/>
              <a:gd name="connsiteX207" fmla="*/ 1031359 w 12199272"/>
              <a:gd name="connsiteY207" fmla="*/ 6384303 h 6858000"/>
              <a:gd name="connsiteX208" fmla="*/ 1036375 w 12199272"/>
              <a:gd name="connsiteY208" fmla="*/ 6382930 h 6858000"/>
              <a:gd name="connsiteX209" fmla="*/ 1041203 w 12199272"/>
              <a:gd name="connsiteY209" fmla="*/ 6381190 h 6858000"/>
              <a:gd name="connsiteX210" fmla="*/ 1045833 w 12199272"/>
              <a:gd name="connsiteY210" fmla="*/ 6379095 h 6858000"/>
              <a:gd name="connsiteX211" fmla="*/ 1050256 w 12199272"/>
              <a:gd name="connsiteY211" fmla="*/ 6376656 h 6858000"/>
              <a:gd name="connsiteX212" fmla="*/ 1054462 w 12199272"/>
              <a:gd name="connsiteY212" fmla="*/ 6373884 h 6858000"/>
              <a:gd name="connsiteX213" fmla="*/ 1058363 w 12199272"/>
              <a:gd name="connsiteY213" fmla="*/ 6370853 h 6858000"/>
              <a:gd name="connsiteX214" fmla="*/ 1062187 w 12199272"/>
              <a:gd name="connsiteY214" fmla="*/ 6367387 h 6858000"/>
              <a:gd name="connsiteX215" fmla="*/ 1065687 w 12199272"/>
              <a:gd name="connsiteY215" fmla="*/ 6363684 h 6858000"/>
              <a:gd name="connsiteX216" fmla="*/ 1068932 w 12199272"/>
              <a:gd name="connsiteY216" fmla="*/ 6359694 h 6858000"/>
              <a:gd name="connsiteX217" fmla="*/ 1071913 w 12199272"/>
              <a:gd name="connsiteY217" fmla="*/ 6355428 h 6858000"/>
              <a:gd name="connsiteX218" fmla="*/ 1074621 w 12199272"/>
              <a:gd name="connsiteY218" fmla="*/ 6350898 h 6858000"/>
              <a:gd name="connsiteX219" fmla="*/ 1077046 w 12199272"/>
              <a:gd name="connsiteY219" fmla="*/ 6346114 h 6858000"/>
              <a:gd name="connsiteX220" fmla="*/ 1077680 w 12199272"/>
              <a:gd name="connsiteY220" fmla="*/ 6344618 h 6858000"/>
              <a:gd name="connsiteX221" fmla="*/ 1081008 w 12199272"/>
              <a:gd name="connsiteY221" fmla="*/ 6335831 h 6858000"/>
              <a:gd name="connsiteX222" fmla="*/ 1082527 w 12199272"/>
              <a:gd name="connsiteY222" fmla="*/ 6330355 h 6858000"/>
              <a:gd name="connsiteX223" fmla="*/ 1083727 w 12199272"/>
              <a:gd name="connsiteY223" fmla="*/ 6324652 h 6858000"/>
              <a:gd name="connsiteX224" fmla="*/ 1084591 w 12199272"/>
              <a:gd name="connsiteY224" fmla="*/ 6318790 h 6858000"/>
              <a:gd name="connsiteX225" fmla="*/ 1085119 w 12199272"/>
              <a:gd name="connsiteY225" fmla="*/ 6312724 h 6858000"/>
              <a:gd name="connsiteX226" fmla="*/ 1085297 w 12199272"/>
              <a:gd name="connsiteY226" fmla="*/ 6306484 h 6858000"/>
              <a:gd name="connsiteX227" fmla="*/ 1085138 w 12199272"/>
              <a:gd name="connsiteY227" fmla="*/ 6300361 h 6858000"/>
              <a:gd name="connsiteX228" fmla="*/ 1084666 w 12199272"/>
              <a:gd name="connsiteY228" fmla="*/ 6294398 h 6858000"/>
              <a:gd name="connsiteX229" fmla="*/ 1083885 w 12199272"/>
              <a:gd name="connsiteY229" fmla="*/ 6288607 h 6858000"/>
              <a:gd name="connsiteX230" fmla="*/ 1082801 w 12199272"/>
              <a:gd name="connsiteY230" fmla="*/ 6283000 h 6858000"/>
              <a:gd name="connsiteX231" fmla="*/ 1081418 w 12199272"/>
              <a:gd name="connsiteY231" fmla="*/ 6277590 h 6858000"/>
              <a:gd name="connsiteX232" fmla="*/ 1079741 w 12199272"/>
              <a:gd name="connsiteY232" fmla="*/ 6272388 h 6858000"/>
              <a:gd name="connsiteX233" fmla="*/ 1078509 w 12199272"/>
              <a:gd name="connsiteY233" fmla="*/ 6269265 h 6858000"/>
              <a:gd name="connsiteX234" fmla="*/ 1077776 w 12199272"/>
              <a:gd name="connsiteY234" fmla="*/ 6267406 h 6858000"/>
              <a:gd name="connsiteX235" fmla="*/ 1075527 w 12199272"/>
              <a:gd name="connsiteY235" fmla="*/ 6262658 h 6858000"/>
              <a:gd name="connsiteX236" fmla="*/ 1072999 w 12199272"/>
              <a:gd name="connsiteY236" fmla="*/ 6258154 h 6858000"/>
              <a:gd name="connsiteX237" fmla="*/ 1070198 w 12199272"/>
              <a:gd name="connsiteY237" fmla="*/ 6253908 h 6858000"/>
              <a:gd name="connsiteX238" fmla="*/ 1067128 w 12199272"/>
              <a:gd name="connsiteY238" fmla="*/ 6249932 h 6858000"/>
              <a:gd name="connsiteX239" fmla="*/ 1064203 w 12199272"/>
              <a:gd name="connsiteY239" fmla="*/ 6246690 h 6858000"/>
              <a:gd name="connsiteX240" fmla="*/ 1060201 w 12199272"/>
              <a:gd name="connsiteY240" fmla="*/ 6242836 h 6858000"/>
              <a:gd name="connsiteX241" fmla="*/ 1056355 w 12199272"/>
              <a:gd name="connsiteY241" fmla="*/ 6239742 h 6858000"/>
              <a:gd name="connsiteX242" fmla="*/ 1052260 w 12199272"/>
              <a:gd name="connsiteY242" fmla="*/ 6236966 h 6858000"/>
              <a:gd name="connsiteX243" fmla="*/ 1047922 w 12199272"/>
              <a:gd name="connsiteY243" fmla="*/ 6234520 h 6858000"/>
              <a:gd name="connsiteX244" fmla="*/ 1043344 w 12199272"/>
              <a:gd name="connsiteY244" fmla="*/ 6232417 h 6858000"/>
              <a:gd name="connsiteX245" fmla="*/ 1038533 w 12199272"/>
              <a:gd name="connsiteY245" fmla="*/ 6230669 h 6858000"/>
              <a:gd name="connsiteX246" fmla="*/ 1033494 w 12199272"/>
              <a:gd name="connsiteY246" fmla="*/ 6229288 h 6858000"/>
              <a:gd name="connsiteX247" fmla="*/ 1028230 w 12199272"/>
              <a:gd name="connsiteY247" fmla="*/ 6228287 h 6858000"/>
              <a:gd name="connsiteX248" fmla="*/ 1022748 w 12199272"/>
              <a:gd name="connsiteY248" fmla="*/ 6227677 h 6858000"/>
              <a:gd name="connsiteX249" fmla="*/ 1017052 w 12199272"/>
              <a:gd name="connsiteY249" fmla="*/ 6227471 h 6858000"/>
              <a:gd name="connsiteX250" fmla="*/ 1518121 w 12199272"/>
              <a:gd name="connsiteY250" fmla="*/ 6226556 h 6858000"/>
              <a:gd name="connsiteX251" fmla="*/ 1512547 w 12199272"/>
              <a:gd name="connsiteY251" fmla="*/ 6226743 h 6858000"/>
              <a:gd name="connsiteX252" fmla="*/ 1507086 w 12199272"/>
              <a:gd name="connsiteY252" fmla="*/ 6227298 h 6858000"/>
              <a:gd name="connsiteX253" fmla="*/ 1501751 w 12199272"/>
              <a:gd name="connsiteY253" fmla="*/ 6228211 h 6858000"/>
              <a:gd name="connsiteX254" fmla="*/ 1496554 w 12199272"/>
              <a:gd name="connsiteY254" fmla="*/ 6229472 h 6858000"/>
              <a:gd name="connsiteX255" fmla="*/ 1491508 w 12199272"/>
              <a:gd name="connsiteY255" fmla="*/ 6231073 h 6858000"/>
              <a:gd name="connsiteX256" fmla="*/ 1486625 w 12199272"/>
              <a:gd name="connsiteY256" fmla="*/ 6233004 h 6858000"/>
              <a:gd name="connsiteX257" fmla="*/ 1481918 w 12199272"/>
              <a:gd name="connsiteY257" fmla="*/ 6235254 h 6858000"/>
              <a:gd name="connsiteX258" fmla="*/ 1477398 w 12199272"/>
              <a:gd name="connsiteY258" fmla="*/ 6237816 h 6858000"/>
              <a:gd name="connsiteX259" fmla="*/ 1473080 w 12199272"/>
              <a:gd name="connsiteY259" fmla="*/ 6240679 h 6858000"/>
              <a:gd name="connsiteX260" fmla="*/ 1468975 w 12199272"/>
              <a:gd name="connsiteY260" fmla="*/ 6243834 h 6858000"/>
              <a:gd name="connsiteX261" fmla="*/ 1465095 w 12199272"/>
              <a:gd name="connsiteY261" fmla="*/ 6247271 h 6858000"/>
              <a:gd name="connsiteX262" fmla="*/ 1461455 w 12199272"/>
              <a:gd name="connsiteY262" fmla="*/ 6250981 h 6858000"/>
              <a:gd name="connsiteX263" fmla="*/ 1458064 w 12199272"/>
              <a:gd name="connsiteY263" fmla="*/ 6254955 h 6858000"/>
              <a:gd name="connsiteX264" fmla="*/ 1454938 w 12199272"/>
              <a:gd name="connsiteY264" fmla="*/ 6259182 h 6858000"/>
              <a:gd name="connsiteX265" fmla="*/ 1452087 w 12199272"/>
              <a:gd name="connsiteY265" fmla="*/ 6263654 h 6858000"/>
              <a:gd name="connsiteX266" fmla="*/ 1449525 w 12199272"/>
              <a:gd name="connsiteY266" fmla="*/ 6268361 h 6858000"/>
              <a:gd name="connsiteX267" fmla="*/ 1447263 w 12199272"/>
              <a:gd name="connsiteY267" fmla="*/ 6273294 h 6858000"/>
              <a:gd name="connsiteX268" fmla="*/ 1445310 w 12199272"/>
              <a:gd name="connsiteY268" fmla="*/ 6278461 h 6858000"/>
              <a:gd name="connsiteX269" fmla="*/ 1443694 w 12199272"/>
              <a:gd name="connsiteY269" fmla="*/ 6283797 h 6858000"/>
              <a:gd name="connsiteX270" fmla="*/ 1442411 w 12199272"/>
              <a:gd name="connsiteY270" fmla="*/ 6289349 h 6858000"/>
              <a:gd name="connsiteX271" fmla="*/ 1441479 w 12199272"/>
              <a:gd name="connsiteY271" fmla="*/ 6295089 h 6858000"/>
              <a:gd name="connsiteX272" fmla="*/ 1440910 w 12199272"/>
              <a:gd name="connsiteY272" fmla="*/ 6301007 h 6858000"/>
              <a:gd name="connsiteX273" fmla="*/ 1440718 w 12199272"/>
              <a:gd name="connsiteY273" fmla="*/ 6307094 h 6858000"/>
              <a:gd name="connsiteX274" fmla="*/ 1440899 w 12199272"/>
              <a:gd name="connsiteY274" fmla="*/ 6312893 h 6858000"/>
              <a:gd name="connsiteX275" fmla="*/ 1441435 w 12199272"/>
              <a:gd name="connsiteY275" fmla="*/ 6318541 h 6858000"/>
              <a:gd name="connsiteX276" fmla="*/ 1442314 w 12199272"/>
              <a:gd name="connsiteY276" fmla="*/ 6324029 h 6858000"/>
              <a:gd name="connsiteX277" fmla="*/ 1443524 w 12199272"/>
              <a:gd name="connsiteY277" fmla="*/ 6329349 h 6858000"/>
              <a:gd name="connsiteX278" fmla="*/ 1445055 w 12199272"/>
              <a:gd name="connsiteY278" fmla="*/ 6334492 h 6858000"/>
              <a:gd name="connsiteX279" fmla="*/ 1446894 w 12199272"/>
              <a:gd name="connsiteY279" fmla="*/ 6339450 h 6858000"/>
              <a:gd name="connsiteX280" fmla="*/ 1449030 w 12199272"/>
              <a:gd name="connsiteY280" fmla="*/ 6344213 h 6858000"/>
              <a:gd name="connsiteX281" fmla="*/ 1451452 w 12199272"/>
              <a:gd name="connsiteY281" fmla="*/ 6348774 h 6858000"/>
              <a:gd name="connsiteX282" fmla="*/ 1454147 w 12199272"/>
              <a:gd name="connsiteY282" fmla="*/ 6353125 h 6858000"/>
              <a:gd name="connsiteX283" fmla="*/ 1457105 w 12199272"/>
              <a:gd name="connsiteY283" fmla="*/ 6357256 h 6858000"/>
              <a:gd name="connsiteX284" fmla="*/ 1460313 w 12199272"/>
              <a:gd name="connsiteY284" fmla="*/ 6361160 h 6858000"/>
              <a:gd name="connsiteX285" fmla="*/ 1463761 w 12199272"/>
              <a:gd name="connsiteY285" fmla="*/ 6364827 h 6858000"/>
              <a:gd name="connsiteX286" fmla="*/ 1467436 w 12199272"/>
              <a:gd name="connsiteY286" fmla="*/ 6368250 h 6858000"/>
              <a:gd name="connsiteX287" fmla="*/ 1471328 w 12199272"/>
              <a:gd name="connsiteY287" fmla="*/ 6371419 h 6858000"/>
              <a:gd name="connsiteX288" fmla="*/ 1475425 w 12199272"/>
              <a:gd name="connsiteY288" fmla="*/ 6374327 h 6858000"/>
              <a:gd name="connsiteX289" fmla="*/ 1479714 w 12199272"/>
              <a:gd name="connsiteY289" fmla="*/ 6376964 h 6858000"/>
              <a:gd name="connsiteX290" fmla="*/ 1484185 w 12199272"/>
              <a:gd name="connsiteY290" fmla="*/ 6379324 h 6858000"/>
              <a:gd name="connsiteX291" fmla="*/ 1488826 w 12199272"/>
              <a:gd name="connsiteY291" fmla="*/ 6381396 h 6858000"/>
              <a:gd name="connsiteX292" fmla="*/ 1493626 w 12199272"/>
              <a:gd name="connsiteY292" fmla="*/ 6383172 h 6858000"/>
              <a:gd name="connsiteX293" fmla="*/ 1498572 w 12199272"/>
              <a:gd name="connsiteY293" fmla="*/ 6384645 h 6858000"/>
              <a:gd name="connsiteX294" fmla="*/ 1503654 w 12199272"/>
              <a:gd name="connsiteY294" fmla="*/ 6385805 h 6858000"/>
              <a:gd name="connsiteX295" fmla="*/ 1508860 w 12199272"/>
              <a:gd name="connsiteY295" fmla="*/ 6386644 h 6858000"/>
              <a:gd name="connsiteX296" fmla="*/ 1514178 w 12199272"/>
              <a:gd name="connsiteY296" fmla="*/ 6387153 h 6858000"/>
              <a:gd name="connsiteX297" fmla="*/ 1519597 w 12199272"/>
              <a:gd name="connsiteY297" fmla="*/ 6387325 h 6858000"/>
              <a:gd name="connsiteX298" fmla="*/ 1526428 w 12199272"/>
              <a:gd name="connsiteY298" fmla="*/ 6387054 h 6858000"/>
              <a:gd name="connsiteX299" fmla="*/ 1532938 w 12199272"/>
              <a:gd name="connsiteY299" fmla="*/ 6386261 h 6858000"/>
              <a:gd name="connsiteX300" fmla="*/ 1539123 w 12199272"/>
              <a:gd name="connsiteY300" fmla="*/ 6384980 h 6858000"/>
              <a:gd name="connsiteX301" fmla="*/ 1544980 w 12199272"/>
              <a:gd name="connsiteY301" fmla="*/ 6383243 h 6858000"/>
              <a:gd name="connsiteX302" fmla="*/ 1550506 w 12199272"/>
              <a:gd name="connsiteY302" fmla="*/ 6381082 h 6858000"/>
              <a:gd name="connsiteX303" fmla="*/ 1555698 w 12199272"/>
              <a:gd name="connsiteY303" fmla="*/ 6378529 h 6858000"/>
              <a:gd name="connsiteX304" fmla="*/ 1560552 w 12199272"/>
              <a:gd name="connsiteY304" fmla="*/ 6375618 h 6858000"/>
              <a:gd name="connsiteX305" fmla="*/ 1565064 w 12199272"/>
              <a:gd name="connsiteY305" fmla="*/ 6372380 h 6858000"/>
              <a:gd name="connsiteX306" fmla="*/ 1569232 w 12199272"/>
              <a:gd name="connsiteY306" fmla="*/ 6368848 h 6858000"/>
              <a:gd name="connsiteX307" fmla="*/ 1573052 w 12199272"/>
              <a:gd name="connsiteY307" fmla="*/ 6365054 h 6858000"/>
              <a:gd name="connsiteX308" fmla="*/ 1576520 w 12199272"/>
              <a:gd name="connsiteY308" fmla="*/ 6361031 h 6858000"/>
              <a:gd name="connsiteX309" fmla="*/ 1579635 w 12199272"/>
              <a:gd name="connsiteY309" fmla="*/ 6356812 h 6858000"/>
              <a:gd name="connsiteX310" fmla="*/ 1582391 w 12199272"/>
              <a:gd name="connsiteY310" fmla="*/ 6352428 h 6858000"/>
              <a:gd name="connsiteX311" fmla="*/ 1584786 w 12199272"/>
              <a:gd name="connsiteY311" fmla="*/ 6347913 h 6858000"/>
              <a:gd name="connsiteX312" fmla="*/ 1586236 w 12199272"/>
              <a:gd name="connsiteY312" fmla="*/ 6344617 h 6858000"/>
              <a:gd name="connsiteX313" fmla="*/ 1586816 w 12199272"/>
              <a:gd name="connsiteY313" fmla="*/ 6343297 h 6858000"/>
              <a:gd name="connsiteX314" fmla="*/ 1588479 w 12199272"/>
              <a:gd name="connsiteY314" fmla="*/ 6338615 h 6858000"/>
              <a:gd name="connsiteX315" fmla="*/ 1588664 w 12199272"/>
              <a:gd name="connsiteY315" fmla="*/ 6336960 h 6858000"/>
              <a:gd name="connsiteX316" fmla="*/ 1588235 w 12199272"/>
              <a:gd name="connsiteY316" fmla="*/ 6335417 h 6858000"/>
              <a:gd name="connsiteX317" fmla="*/ 1587274 w 12199272"/>
              <a:gd name="connsiteY317" fmla="*/ 6334160 h 6858000"/>
              <a:gd name="connsiteX318" fmla="*/ 1585862 w 12199272"/>
              <a:gd name="connsiteY318" fmla="*/ 6333362 h 6858000"/>
              <a:gd name="connsiteX319" fmla="*/ 1553627 w 12199272"/>
              <a:gd name="connsiteY319" fmla="*/ 6323178 h 6858000"/>
              <a:gd name="connsiteX320" fmla="*/ 1552160 w 12199272"/>
              <a:gd name="connsiteY320" fmla="*/ 6323012 h 6858000"/>
              <a:gd name="connsiteX321" fmla="*/ 1550782 w 12199272"/>
              <a:gd name="connsiteY321" fmla="*/ 6323397 h 6858000"/>
              <a:gd name="connsiteX322" fmla="*/ 1549622 w 12199272"/>
              <a:gd name="connsiteY322" fmla="*/ 6324263 h 6858000"/>
              <a:gd name="connsiteX323" fmla="*/ 1548805 w 12199272"/>
              <a:gd name="connsiteY323" fmla="*/ 6325541 h 6858000"/>
              <a:gd name="connsiteX324" fmla="*/ 1546706 w 12199272"/>
              <a:gd name="connsiteY324" fmla="*/ 6329749 h 6858000"/>
              <a:gd name="connsiteX325" fmla="*/ 1543941 w 12199272"/>
              <a:gd name="connsiteY325" fmla="*/ 6333699 h 6858000"/>
              <a:gd name="connsiteX326" fmla="*/ 1540495 w 12199272"/>
              <a:gd name="connsiteY326" fmla="*/ 6337251 h 6858000"/>
              <a:gd name="connsiteX327" fmla="*/ 1536352 w 12199272"/>
              <a:gd name="connsiteY327" fmla="*/ 6340260 h 6858000"/>
              <a:gd name="connsiteX328" fmla="*/ 1531498 w 12199272"/>
              <a:gd name="connsiteY328" fmla="*/ 6342586 h 6858000"/>
              <a:gd name="connsiteX329" fmla="*/ 1525918 w 12199272"/>
              <a:gd name="connsiteY329" fmla="*/ 6344086 h 6858000"/>
              <a:gd name="connsiteX330" fmla="*/ 1519597 w 12199272"/>
              <a:gd name="connsiteY330" fmla="*/ 6344617 h 6858000"/>
              <a:gd name="connsiteX331" fmla="*/ 1514604 w 12199272"/>
              <a:gd name="connsiteY331" fmla="*/ 6344286 h 6858000"/>
              <a:gd name="connsiteX332" fmla="*/ 1509815 w 12199272"/>
              <a:gd name="connsiteY332" fmla="*/ 6343302 h 6858000"/>
              <a:gd name="connsiteX333" fmla="*/ 1505287 w 12199272"/>
              <a:gd name="connsiteY333" fmla="*/ 6341678 h 6858000"/>
              <a:gd name="connsiteX334" fmla="*/ 1501076 w 12199272"/>
              <a:gd name="connsiteY334" fmla="*/ 6339424 h 6858000"/>
              <a:gd name="connsiteX335" fmla="*/ 1497242 w 12199272"/>
              <a:gd name="connsiteY335" fmla="*/ 6336555 h 6858000"/>
              <a:gd name="connsiteX336" fmla="*/ 1493840 w 12199272"/>
              <a:gd name="connsiteY336" fmla="*/ 6333082 h 6858000"/>
              <a:gd name="connsiteX337" fmla="*/ 1490928 w 12199272"/>
              <a:gd name="connsiteY337" fmla="*/ 6329017 h 6858000"/>
              <a:gd name="connsiteX338" fmla="*/ 1488564 w 12199272"/>
              <a:gd name="connsiteY338" fmla="*/ 6324374 h 6858000"/>
              <a:gd name="connsiteX339" fmla="*/ 1486804 w 12199272"/>
              <a:gd name="connsiteY339" fmla="*/ 6319164 h 6858000"/>
              <a:gd name="connsiteX340" fmla="*/ 1485706 w 12199272"/>
              <a:gd name="connsiteY340" fmla="*/ 6313400 h 6858000"/>
              <a:gd name="connsiteX341" fmla="*/ 1485327 w 12199272"/>
              <a:gd name="connsiteY341" fmla="*/ 6307094 h 6858000"/>
              <a:gd name="connsiteX342" fmla="*/ 1485692 w 12199272"/>
              <a:gd name="connsiteY342" fmla="*/ 6300711 h 6858000"/>
              <a:gd name="connsiteX343" fmla="*/ 1486752 w 12199272"/>
              <a:gd name="connsiteY343" fmla="*/ 6294885 h 6858000"/>
              <a:gd name="connsiteX344" fmla="*/ 1488456 w 12199272"/>
              <a:gd name="connsiteY344" fmla="*/ 6289625 h 6858000"/>
              <a:gd name="connsiteX345" fmla="*/ 1490750 w 12199272"/>
              <a:gd name="connsiteY345" fmla="*/ 6284943 h 6858000"/>
              <a:gd name="connsiteX346" fmla="*/ 1493584 w 12199272"/>
              <a:gd name="connsiteY346" fmla="*/ 6280849 h 6858000"/>
              <a:gd name="connsiteX347" fmla="*/ 1496906 w 12199272"/>
              <a:gd name="connsiteY347" fmla="*/ 6277355 h 6858000"/>
              <a:gd name="connsiteX348" fmla="*/ 1500663 w 12199272"/>
              <a:gd name="connsiteY348" fmla="*/ 6274472 h 6858000"/>
              <a:gd name="connsiteX349" fmla="*/ 1504804 w 12199272"/>
              <a:gd name="connsiteY349" fmla="*/ 6272210 h 6858000"/>
              <a:gd name="connsiteX350" fmla="*/ 1509276 w 12199272"/>
              <a:gd name="connsiteY350" fmla="*/ 6270581 h 6858000"/>
              <a:gd name="connsiteX351" fmla="*/ 1514028 w 12199272"/>
              <a:gd name="connsiteY351" fmla="*/ 6269595 h 6858000"/>
              <a:gd name="connsiteX352" fmla="*/ 1519008 w 12199272"/>
              <a:gd name="connsiteY352" fmla="*/ 6269264 h 6858000"/>
              <a:gd name="connsiteX353" fmla="*/ 1525289 w 12199272"/>
              <a:gd name="connsiteY353" fmla="*/ 6269783 h 6858000"/>
              <a:gd name="connsiteX354" fmla="*/ 1530765 w 12199272"/>
              <a:gd name="connsiteY354" fmla="*/ 6271251 h 6858000"/>
              <a:gd name="connsiteX355" fmla="*/ 1535471 w 12199272"/>
              <a:gd name="connsiteY355" fmla="*/ 6273539 h 6858000"/>
              <a:gd name="connsiteX356" fmla="*/ 1539447 w 12199272"/>
              <a:gd name="connsiteY356" fmla="*/ 6276516 h 6858000"/>
              <a:gd name="connsiteX357" fmla="*/ 1542728 w 12199272"/>
              <a:gd name="connsiteY357" fmla="*/ 6280050 h 6858000"/>
              <a:gd name="connsiteX358" fmla="*/ 1545352 w 12199272"/>
              <a:gd name="connsiteY358" fmla="*/ 6284012 h 6858000"/>
              <a:gd name="connsiteX359" fmla="*/ 1547356 w 12199272"/>
              <a:gd name="connsiteY359" fmla="*/ 6288270 h 6858000"/>
              <a:gd name="connsiteX360" fmla="*/ 1548161 w 12199272"/>
              <a:gd name="connsiteY360" fmla="*/ 6289574 h 6858000"/>
              <a:gd name="connsiteX361" fmla="*/ 1549322 w 12199272"/>
              <a:gd name="connsiteY361" fmla="*/ 6290463 h 6858000"/>
              <a:gd name="connsiteX362" fmla="*/ 1550709 w 12199272"/>
              <a:gd name="connsiteY362" fmla="*/ 6290865 h 6858000"/>
              <a:gd name="connsiteX363" fmla="*/ 1552192 w 12199272"/>
              <a:gd name="connsiteY363" fmla="*/ 6290706 h 6858000"/>
              <a:gd name="connsiteX364" fmla="*/ 1584982 w 12199272"/>
              <a:gd name="connsiteY364" fmla="*/ 6280499 h 6858000"/>
              <a:gd name="connsiteX365" fmla="*/ 1586395 w 12199272"/>
              <a:gd name="connsiteY365" fmla="*/ 6279710 h 6858000"/>
              <a:gd name="connsiteX366" fmla="*/ 1587360 w 12199272"/>
              <a:gd name="connsiteY366" fmla="*/ 6278461 h 6858000"/>
              <a:gd name="connsiteX367" fmla="*/ 1587797 w 12199272"/>
              <a:gd name="connsiteY367" fmla="*/ 6276923 h 6858000"/>
              <a:gd name="connsiteX368" fmla="*/ 1587624 w 12199272"/>
              <a:gd name="connsiteY368" fmla="*/ 6275269 h 6858000"/>
              <a:gd name="connsiteX369" fmla="*/ 1586087 w 12199272"/>
              <a:gd name="connsiteY369" fmla="*/ 6270783 h 6858000"/>
              <a:gd name="connsiteX370" fmla="*/ 1585447 w 12199272"/>
              <a:gd name="connsiteY370" fmla="*/ 6269264 h 6858000"/>
              <a:gd name="connsiteX371" fmla="*/ 1584229 w 12199272"/>
              <a:gd name="connsiteY371" fmla="*/ 6266374 h 6858000"/>
              <a:gd name="connsiteX372" fmla="*/ 1582051 w 12199272"/>
              <a:gd name="connsiteY372" fmla="*/ 6262066 h 6858000"/>
              <a:gd name="connsiteX373" fmla="*/ 1579553 w 12199272"/>
              <a:gd name="connsiteY373" fmla="*/ 6257885 h 6858000"/>
              <a:gd name="connsiteX374" fmla="*/ 1576736 w 12199272"/>
              <a:gd name="connsiteY374" fmla="*/ 6253856 h 6858000"/>
              <a:gd name="connsiteX375" fmla="*/ 1573599 w 12199272"/>
              <a:gd name="connsiteY375" fmla="*/ 6250004 h 6858000"/>
              <a:gd name="connsiteX376" fmla="*/ 1570144 w 12199272"/>
              <a:gd name="connsiteY376" fmla="*/ 6246355 h 6858000"/>
              <a:gd name="connsiteX377" fmla="*/ 1566370 w 12199272"/>
              <a:gd name="connsiteY377" fmla="*/ 6242934 h 6858000"/>
              <a:gd name="connsiteX378" fmla="*/ 1562278 w 12199272"/>
              <a:gd name="connsiteY378" fmla="*/ 6239766 h 6858000"/>
              <a:gd name="connsiteX379" fmla="*/ 1557868 w 12199272"/>
              <a:gd name="connsiteY379" fmla="*/ 6236876 h 6858000"/>
              <a:gd name="connsiteX380" fmla="*/ 1553140 w 12199272"/>
              <a:gd name="connsiteY380" fmla="*/ 6234289 h 6858000"/>
              <a:gd name="connsiteX381" fmla="*/ 1548095 w 12199272"/>
              <a:gd name="connsiteY381" fmla="*/ 6232031 h 6858000"/>
              <a:gd name="connsiteX382" fmla="*/ 1542733 w 12199272"/>
              <a:gd name="connsiteY382" fmla="*/ 6230128 h 6858000"/>
              <a:gd name="connsiteX383" fmla="*/ 1537054 w 12199272"/>
              <a:gd name="connsiteY383" fmla="*/ 6228603 h 6858000"/>
              <a:gd name="connsiteX384" fmla="*/ 1531059 w 12199272"/>
              <a:gd name="connsiteY384" fmla="*/ 6227483 h 6858000"/>
              <a:gd name="connsiteX385" fmla="*/ 1524748 w 12199272"/>
              <a:gd name="connsiteY385" fmla="*/ 6226792 h 6858000"/>
              <a:gd name="connsiteX386" fmla="*/ 1518121 w 12199272"/>
              <a:gd name="connsiteY386" fmla="*/ 6226556 h 6858000"/>
              <a:gd name="connsiteX387" fmla="*/ 1349948 w 12199272"/>
              <a:gd name="connsiteY387" fmla="*/ 6226556 h 6858000"/>
              <a:gd name="connsiteX388" fmla="*/ 1344301 w 12199272"/>
              <a:gd name="connsiteY388" fmla="*/ 6226743 h 6858000"/>
              <a:gd name="connsiteX389" fmla="*/ 1338773 w 12199272"/>
              <a:gd name="connsiteY389" fmla="*/ 6227298 h 6858000"/>
              <a:gd name="connsiteX390" fmla="*/ 1333377 w 12199272"/>
              <a:gd name="connsiteY390" fmla="*/ 6228210 h 6858000"/>
              <a:gd name="connsiteX391" fmla="*/ 1328124 w 12199272"/>
              <a:gd name="connsiteY391" fmla="*/ 6229471 h 6858000"/>
              <a:gd name="connsiteX392" fmla="*/ 1323028 w 12199272"/>
              <a:gd name="connsiteY392" fmla="*/ 6231070 h 6858000"/>
              <a:gd name="connsiteX393" fmla="*/ 1318101 w 12199272"/>
              <a:gd name="connsiteY393" fmla="*/ 6232998 h 6858000"/>
              <a:gd name="connsiteX394" fmla="*/ 1313353 w 12199272"/>
              <a:gd name="connsiteY394" fmla="*/ 6235246 h 6858000"/>
              <a:gd name="connsiteX395" fmla="*/ 1308799 w 12199272"/>
              <a:gd name="connsiteY395" fmla="*/ 6237803 h 6858000"/>
              <a:gd name="connsiteX396" fmla="*/ 1304450 w 12199272"/>
              <a:gd name="connsiteY396" fmla="*/ 6240661 h 6858000"/>
              <a:gd name="connsiteX397" fmla="*/ 1300319 w 12199272"/>
              <a:gd name="connsiteY397" fmla="*/ 6243809 h 6858000"/>
              <a:gd name="connsiteX398" fmla="*/ 1296416 w 12199272"/>
              <a:gd name="connsiteY398" fmla="*/ 6247238 h 6858000"/>
              <a:gd name="connsiteX399" fmla="*/ 1292756 w 12199272"/>
              <a:gd name="connsiteY399" fmla="*/ 6250938 h 6858000"/>
              <a:gd name="connsiteX400" fmla="*/ 1289350 w 12199272"/>
              <a:gd name="connsiteY400" fmla="*/ 6254900 h 6858000"/>
              <a:gd name="connsiteX401" fmla="*/ 1286210 w 12199272"/>
              <a:gd name="connsiteY401" fmla="*/ 6259113 h 6858000"/>
              <a:gd name="connsiteX402" fmla="*/ 1283349 w 12199272"/>
              <a:gd name="connsiteY402" fmla="*/ 6263569 h 6858000"/>
              <a:gd name="connsiteX403" fmla="*/ 1280778 w 12199272"/>
              <a:gd name="connsiteY403" fmla="*/ 6268258 h 6858000"/>
              <a:gd name="connsiteX404" fmla="*/ 1278511 w 12199272"/>
              <a:gd name="connsiteY404" fmla="*/ 6273170 h 6858000"/>
              <a:gd name="connsiteX405" fmla="*/ 1276559 w 12199272"/>
              <a:gd name="connsiteY405" fmla="*/ 6278296 h 6858000"/>
              <a:gd name="connsiteX406" fmla="*/ 1274934 w 12199272"/>
              <a:gd name="connsiteY406" fmla="*/ 6283625 h 6858000"/>
              <a:gd name="connsiteX407" fmla="*/ 1273649 w 12199272"/>
              <a:gd name="connsiteY407" fmla="*/ 6289148 h 6858000"/>
              <a:gd name="connsiteX408" fmla="*/ 1272716 w 12199272"/>
              <a:gd name="connsiteY408" fmla="*/ 6294856 h 6858000"/>
              <a:gd name="connsiteX409" fmla="*/ 1272147 w 12199272"/>
              <a:gd name="connsiteY409" fmla="*/ 6300739 h 6858000"/>
              <a:gd name="connsiteX410" fmla="*/ 1271955 w 12199272"/>
              <a:gd name="connsiteY410" fmla="*/ 6306788 h 6858000"/>
              <a:gd name="connsiteX411" fmla="*/ 1272132 w 12199272"/>
              <a:gd name="connsiteY411" fmla="*/ 6312589 h 6858000"/>
              <a:gd name="connsiteX412" fmla="*/ 1272655 w 12199272"/>
              <a:gd name="connsiteY412" fmla="*/ 6318242 h 6858000"/>
              <a:gd name="connsiteX413" fmla="*/ 1273513 w 12199272"/>
              <a:gd name="connsiteY413" fmla="*/ 6323737 h 6858000"/>
              <a:gd name="connsiteX414" fmla="*/ 1274696 w 12199272"/>
              <a:gd name="connsiteY414" fmla="*/ 6329067 h 6858000"/>
              <a:gd name="connsiteX415" fmla="*/ 1276193 w 12199272"/>
              <a:gd name="connsiteY415" fmla="*/ 6334221 h 6858000"/>
              <a:gd name="connsiteX416" fmla="*/ 1277993 w 12199272"/>
              <a:gd name="connsiteY416" fmla="*/ 6339192 h 6858000"/>
              <a:gd name="connsiteX417" fmla="*/ 1280085 w 12199272"/>
              <a:gd name="connsiteY417" fmla="*/ 6343971 h 6858000"/>
              <a:gd name="connsiteX418" fmla="*/ 1282459 w 12199272"/>
              <a:gd name="connsiteY418" fmla="*/ 6348549 h 6858000"/>
              <a:gd name="connsiteX419" fmla="*/ 1285104 w 12199272"/>
              <a:gd name="connsiteY419" fmla="*/ 6352916 h 6858000"/>
              <a:gd name="connsiteX420" fmla="*/ 1288009 w 12199272"/>
              <a:gd name="connsiteY420" fmla="*/ 6357066 h 6858000"/>
              <a:gd name="connsiteX421" fmla="*/ 1291163 w 12199272"/>
              <a:gd name="connsiteY421" fmla="*/ 6360988 h 6858000"/>
              <a:gd name="connsiteX422" fmla="*/ 1294555 w 12199272"/>
              <a:gd name="connsiteY422" fmla="*/ 6364675 h 6858000"/>
              <a:gd name="connsiteX423" fmla="*/ 1298175 w 12199272"/>
              <a:gd name="connsiteY423" fmla="*/ 6368116 h 6858000"/>
              <a:gd name="connsiteX424" fmla="*/ 1302013 w 12199272"/>
              <a:gd name="connsiteY424" fmla="*/ 6371304 h 6858000"/>
              <a:gd name="connsiteX425" fmla="*/ 1306056 w 12199272"/>
              <a:gd name="connsiteY425" fmla="*/ 6374230 h 6858000"/>
              <a:gd name="connsiteX426" fmla="*/ 1310295 w 12199272"/>
              <a:gd name="connsiteY426" fmla="*/ 6376886 h 6858000"/>
              <a:gd name="connsiteX427" fmla="*/ 1314719 w 12199272"/>
              <a:gd name="connsiteY427" fmla="*/ 6379261 h 6858000"/>
              <a:gd name="connsiteX428" fmla="*/ 1319316 w 12199272"/>
              <a:gd name="connsiteY428" fmla="*/ 6381348 h 6858000"/>
              <a:gd name="connsiteX429" fmla="*/ 1324077 w 12199272"/>
              <a:gd name="connsiteY429" fmla="*/ 6383138 h 6858000"/>
              <a:gd name="connsiteX430" fmla="*/ 1328989 w 12199272"/>
              <a:gd name="connsiteY430" fmla="*/ 6384622 h 6858000"/>
              <a:gd name="connsiteX431" fmla="*/ 1334044 w 12199272"/>
              <a:gd name="connsiteY431" fmla="*/ 6385792 h 6858000"/>
              <a:gd name="connsiteX432" fmla="*/ 1339229 w 12199272"/>
              <a:gd name="connsiteY432" fmla="*/ 6386638 h 6858000"/>
              <a:gd name="connsiteX433" fmla="*/ 1344534 w 12199272"/>
              <a:gd name="connsiteY433" fmla="*/ 6387152 h 6858000"/>
              <a:gd name="connsiteX434" fmla="*/ 1349948 w 12199272"/>
              <a:gd name="connsiteY434" fmla="*/ 6387325 h 6858000"/>
              <a:gd name="connsiteX435" fmla="*/ 1355397 w 12199272"/>
              <a:gd name="connsiteY435" fmla="*/ 6387152 h 6858000"/>
              <a:gd name="connsiteX436" fmla="*/ 1360730 w 12199272"/>
              <a:gd name="connsiteY436" fmla="*/ 6386638 h 6858000"/>
              <a:gd name="connsiteX437" fmla="*/ 1365938 w 12199272"/>
              <a:gd name="connsiteY437" fmla="*/ 6385792 h 6858000"/>
              <a:gd name="connsiteX438" fmla="*/ 1371010 w 12199272"/>
              <a:gd name="connsiteY438" fmla="*/ 6384622 h 6858000"/>
              <a:gd name="connsiteX439" fmla="*/ 1375936 w 12199272"/>
              <a:gd name="connsiteY439" fmla="*/ 6383138 h 6858000"/>
              <a:gd name="connsiteX440" fmla="*/ 1380706 w 12199272"/>
              <a:gd name="connsiteY440" fmla="*/ 6381348 h 6858000"/>
              <a:gd name="connsiteX441" fmla="*/ 1385308 w 12199272"/>
              <a:gd name="connsiteY441" fmla="*/ 6379261 h 6858000"/>
              <a:gd name="connsiteX442" fmla="*/ 1389734 w 12199272"/>
              <a:gd name="connsiteY442" fmla="*/ 6376886 h 6858000"/>
              <a:gd name="connsiteX443" fmla="*/ 1393971 w 12199272"/>
              <a:gd name="connsiteY443" fmla="*/ 6374230 h 6858000"/>
              <a:gd name="connsiteX444" fmla="*/ 1398010 w 12199272"/>
              <a:gd name="connsiteY444" fmla="*/ 6371304 h 6858000"/>
              <a:gd name="connsiteX445" fmla="*/ 1401841 w 12199272"/>
              <a:gd name="connsiteY445" fmla="*/ 6368116 h 6858000"/>
              <a:gd name="connsiteX446" fmla="*/ 1405453 w 12199272"/>
              <a:gd name="connsiteY446" fmla="*/ 6364675 h 6858000"/>
              <a:gd name="connsiteX447" fmla="*/ 1408836 w 12199272"/>
              <a:gd name="connsiteY447" fmla="*/ 6360988 h 6858000"/>
              <a:gd name="connsiteX448" fmla="*/ 1411979 w 12199272"/>
              <a:gd name="connsiteY448" fmla="*/ 6357066 h 6858000"/>
              <a:gd name="connsiteX449" fmla="*/ 1414872 w 12199272"/>
              <a:gd name="connsiteY449" fmla="*/ 6352916 h 6858000"/>
              <a:gd name="connsiteX450" fmla="*/ 1417504 w 12199272"/>
              <a:gd name="connsiteY450" fmla="*/ 6348549 h 6858000"/>
              <a:gd name="connsiteX451" fmla="*/ 1419533 w 12199272"/>
              <a:gd name="connsiteY451" fmla="*/ 6344617 h 6858000"/>
              <a:gd name="connsiteX452" fmla="*/ 1421947 w 12199272"/>
              <a:gd name="connsiteY452" fmla="*/ 6339192 h 6858000"/>
              <a:gd name="connsiteX453" fmla="*/ 1423736 w 12199272"/>
              <a:gd name="connsiteY453" fmla="*/ 6334221 h 6858000"/>
              <a:gd name="connsiteX454" fmla="*/ 1425223 w 12199272"/>
              <a:gd name="connsiteY454" fmla="*/ 6329067 h 6858000"/>
              <a:gd name="connsiteX455" fmla="*/ 1426398 w 12199272"/>
              <a:gd name="connsiteY455" fmla="*/ 6323737 h 6858000"/>
              <a:gd name="connsiteX456" fmla="*/ 1427249 w 12199272"/>
              <a:gd name="connsiteY456" fmla="*/ 6318242 h 6858000"/>
              <a:gd name="connsiteX457" fmla="*/ 1427768 w 12199272"/>
              <a:gd name="connsiteY457" fmla="*/ 6312589 h 6858000"/>
              <a:gd name="connsiteX458" fmla="*/ 1427943 w 12199272"/>
              <a:gd name="connsiteY458" fmla="*/ 6306788 h 6858000"/>
              <a:gd name="connsiteX459" fmla="*/ 1427753 w 12199272"/>
              <a:gd name="connsiteY459" fmla="*/ 6300739 h 6858000"/>
              <a:gd name="connsiteX460" fmla="*/ 1427188 w 12199272"/>
              <a:gd name="connsiteY460" fmla="*/ 6294856 h 6858000"/>
              <a:gd name="connsiteX461" fmla="*/ 1426262 w 12199272"/>
              <a:gd name="connsiteY461" fmla="*/ 6289148 h 6858000"/>
              <a:gd name="connsiteX462" fmla="*/ 1424986 w 12199272"/>
              <a:gd name="connsiteY462" fmla="*/ 6283625 h 6858000"/>
              <a:gd name="connsiteX463" fmla="*/ 1423372 w 12199272"/>
              <a:gd name="connsiteY463" fmla="*/ 6278296 h 6858000"/>
              <a:gd name="connsiteX464" fmla="*/ 1421432 w 12199272"/>
              <a:gd name="connsiteY464" fmla="*/ 6273170 h 6858000"/>
              <a:gd name="connsiteX465" fmla="*/ 1419639 w 12199272"/>
              <a:gd name="connsiteY465" fmla="*/ 6269264 h 6858000"/>
              <a:gd name="connsiteX466" fmla="*/ 1419177 w 12199272"/>
              <a:gd name="connsiteY466" fmla="*/ 6268258 h 6858000"/>
              <a:gd name="connsiteX467" fmla="*/ 1416619 w 12199272"/>
              <a:gd name="connsiteY467" fmla="*/ 6263569 h 6858000"/>
              <a:gd name="connsiteX468" fmla="*/ 1413770 w 12199272"/>
              <a:gd name="connsiteY468" fmla="*/ 6259113 h 6858000"/>
              <a:gd name="connsiteX469" fmla="*/ 1410643 w 12199272"/>
              <a:gd name="connsiteY469" fmla="*/ 6254900 h 6858000"/>
              <a:gd name="connsiteX470" fmla="*/ 1407247 w 12199272"/>
              <a:gd name="connsiteY470" fmla="*/ 6250938 h 6858000"/>
              <a:gd name="connsiteX471" fmla="*/ 1403597 w 12199272"/>
              <a:gd name="connsiteY471" fmla="*/ 6247238 h 6858000"/>
              <a:gd name="connsiteX472" fmla="*/ 1399702 w 12199272"/>
              <a:gd name="connsiteY472" fmla="*/ 6243809 h 6858000"/>
              <a:gd name="connsiteX473" fmla="*/ 1395576 w 12199272"/>
              <a:gd name="connsiteY473" fmla="*/ 6240661 h 6858000"/>
              <a:gd name="connsiteX474" fmla="*/ 1391230 w 12199272"/>
              <a:gd name="connsiteY474" fmla="*/ 6237803 h 6858000"/>
              <a:gd name="connsiteX475" fmla="*/ 1386675 w 12199272"/>
              <a:gd name="connsiteY475" fmla="*/ 6235246 h 6858000"/>
              <a:gd name="connsiteX476" fmla="*/ 1381923 w 12199272"/>
              <a:gd name="connsiteY476" fmla="*/ 6232998 h 6858000"/>
              <a:gd name="connsiteX477" fmla="*/ 1376987 w 12199272"/>
              <a:gd name="connsiteY477" fmla="*/ 6231070 h 6858000"/>
              <a:gd name="connsiteX478" fmla="*/ 1371878 w 12199272"/>
              <a:gd name="connsiteY478" fmla="*/ 6229471 h 6858000"/>
              <a:gd name="connsiteX479" fmla="*/ 1366608 w 12199272"/>
              <a:gd name="connsiteY479" fmla="*/ 6228210 h 6858000"/>
              <a:gd name="connsiteX480" fmla="*/ 1361188 w 12199272"/>
              <a:gd name="connsiteY480" fmla="*/ 6227298 h 6858000"/>
              <a:gd name="connsiteX481" fmla="*/ 1355631 w 12199272"/>
              <a:gd name="connsiteY481" fmla="*/ 6226743 h 6858000"/>
              <a:gd name="connsiteX482" fmla="*/ 1349948 w 12199272"/>
              <a:gd name="connsiteY482" fmla="*/ 6226556 h 6858000"/>
              <a:gd name="connsiteX483" fmla="*/ 782044 w 12199272"/>
              <a:gd name="connsiteY483" fmla="*/ 6166457 h 6858000"/>
              <a:gd name="connsiteX484" fmla="*/ 780496 w 12199272"/>
              <a:gd name="connsiteY484" fmla="*/ 6166780 h 6858000"/>
              <a:gd name="connsiteX485" fmla="*/ 779232 w 12199272"/>
              <a:gd name="connsiteY485" fmla="*/ 6167660 h 6858000"/>
              <a:gd name="connsiteX486" fmla="*/ 778380 w 12199272"/>
              <a:gd name="connsiteY486" fmla="*/ 6168966 h 6858000"/>
              <a:gd name="connsiteX487" fmla="*/ 778067 w 12199272"/>
              <a:gd name="connsiteY487" fmla="*/ 6170564 h 6858000"/>
              <a:gd name="connsiteX488" fmla="*/ 778067 w 12199272"/>
              <a:gd name="connsiteY488" fmla="*/ 6378643 h 6858000"/>
              <a:gd name="connsiteX489" fmla="*/ 778380 w 12199272"/>
              <a:gd name="connsiteY489" fmla="*/ 6380242 h 6858000"/>
              <a:gd name="connsiteX490" fmla="*/ 779232 w 12199272"/>
              <a:gd name="connsiteY490" fmla="*/ 6381547 h 6858000"/>
              <a:gd name="connsiteX491" fmla="*/ 780496 w 12199272"/>
              <a:gd name="connsiteY491" fmla="*/ 6382427 h 6858000"/>
              <a:gd name="connsiteX492" fmla="*/ 782044 w 12199272"/>
              <a:gd name="connsiteY492" fmla="*/ 6382750 h 6858000"/>
              <a:gd name="connsiteX493" fmla="*/ 907033 w 12199272"/>
              <a:gd name="connsiteY493" fmla="*/ 6382750 h 6858000"/>
              <a:gd name="connsiteX494" fmla="*/ 908581 w 12199272"/>
              <a:gd name="connsiteY494" fmla="*/ 6382427 h 6858000"/>
              <a:gd name="connsiteX495" fmla="*/ 909845 w 12199272"/>
              <a:gd name="connsiteY495" fmla="*/ 6381547 h 6858000"/>
              <a:gd name="connsiteX496" fmla="*/ 910697 w 12199272"/>
              <a:gd name="connsiteY496" fmla="*/ 6380242 h 6858000"/>
              <a:gd name="connsiteX497" fmla="*/ 911010 w 12199272"/>
              <a:gd name="connsiteY497" fmla="*/ 6378643 h 6858000"/>
              <a:gd name="connsiteX498" fmla="*/ 911010 w 12199272"/>
              <a:gd name="connsiteY498" fmla="*/ 6341097 h 6858000"/>
              <a:gd name="connsiteX499" fmla="*/ 908581 w 12199272"/>
              <a:gd name="connsiteY499" fmla="*/ 6337313 h 6858000"/>
              <a:gd name="connsiteX500" fmla="*/ 828722 w 12199272"/>
              <a:gd name="connsiteY500" fmla="*/ 6336990 h 6858000"/>
              <a:gd name="connsiteX501" fmla="*/ 827174 w 12199272"/>
              <a:gd name="connsiteY501" fmla="*/ 6336667 h 6858000"/>
              <a:gd name="connsiteX502" fmla="*/ 825910 w 12199272"/>
              <a:gd name="connsiteY502" fmla="*/ 6335787 h 6858000"/>
              <a:gd name="connsiteX503" fmla="*/ 825057 w 12199272"/>
              <a:gd name="connsiteY503" fmla="*/ 6334481 h 6858000"/>
              <a:gd name="connsiteX504" fmla="*/ 824744 w 12199272"/>
              <a:gd name="connsiteY504" fmla="*/ 6332883 h 6858000"/>
              <a:gd name="connsiteX505" fmla="*/ 824744 w 12199272"/>
              <a:gd name="connsiteY505" fmla="*/ 6299607 h 6858000"/>
              <a:gd name="connsiteX506" fmla="*/ 825057 w 12199272"/>
              <a:gd name="connsiteY506" fmla="*/ 6298009 h 6858000"/>
              <a:gd name="connsiteX507" fmla="*/ 825910 w 12199272"/>
              <a:gd name="connsiteY507" fmla="*/ 6296703 h 6858000"/>
              <a:gd name="connsiteX508" fmla="*/ 827174 w 12199272"/>
              <a:gd name="connsiteY508" fmla="*/ 6295823 h 6858000"/>
              <a:gd name="connsiteX509" fmla="*/ 828722 w 12199272"/>
              <a:gd name="connsiteY509" fmla="*/ 6295500 h 6858000"/>
              <a:gd name="connsiteX510" fmla="*/ 898759 w 12199272"/>
              <a:gd name="connsiteY510" fmla="*/ 6295500 h 6858000"/>
              <a:gd name="connsiteX511" fmla="*/ 900308 w 12199272"/>
              <a:gd name="connsiteY511" fmla="*/ 6295178 h 6858000"/>
              <a:gd name="connsiteX512" fmla="*/ 901572 w 12199272"/>
              <a:gd name="connsiteY512" fmla="*/ 6294298 h 6858000"/>
              <a:gd name="connsiteX513" fmla="*/ 902425 w 12199272"/>
              <a:gd name="connsiteY513" fmla="*/ 6292992 h 6858000"/>
              <a:gd name="connsiteX514" fmla="*/ 902738 w 12199272"/>
              <a:gd name="connsiteY514" fmla="*/ 6291393 h 6858000"/>
              <a:gd name="connsiteX515" fmla="*/ 902738 w 12199272"/>
              <a:gd name="connsiteY515" fmla="*/ 6257204 h 6858000"/>
              <a:gd name="connsiteX516" fmla="*/ 902425 w 12199272"/>
              <a:gd name="connsiteY516" fmla="*/ 6255605 h 6858000"/>
              <a:gd name="connsiteX517" fmla="*/ 901572 w 12199272"/>
              <a:gd name="connsiteY517" fmla="*/ 6254300 h 6858000"/>
              <a:gd name="connsiteX518" fmla="*/ 900308 w 12199272"/>
              <a:gd name="connsiteY518" fmla="*/ 6253419 h 6858000"/>
              <a:gd name="connsiteX519" fmla="*/ 898759 w 12199272"/>
              <a:gd name="connsiteY519" fmla="*/ 6253097 h 6858000"/>
              <a:gd name="connsiteX520" fmla="*/ 828722 w 12199272"/>
              <a:gd name="connsiteY520" fmla="*/ 6253097 h 6858000"/>
              <a:gd name="connsiteX521" fmla="*/ 827174 w 12199272"/>
              <a:gd name="connsiteY521" fmla="*/ 6252774 h 6858000"/>
              <a:gd name="connsiteX522" fmla="*/ 825910 w 12199272"/>
              <a:gd name="connsiteY522" fmla="*/ 6251894 h 6858000"/>
              <a:gd name="connsiteX523" fmla="*/ 825057 w 12199272"/>
              <a:gd name="connsiteY523" fmla="*/ 6250589 h 6858000"/>
              <a:gd name="connsiteX524" fmla="*/ 824744 w 12199272"/>
              <a:gd name="connsiteY524" fmla="*/ 6248990 h 6858000"/>
              <a:gd name="connsiteX525" fmla="*/ 824744 w 12199272"/>
              <a:gd name="connsiteY525" fmla="*/ 6216020 h 6858000"/>
              <a:gd name="connsiteX526" fmla="*/ 825057 w 12199272"/>
              <a:gd name="connsiteY526" fmla="*/ 6214421 h 6858000"/>
              <a:gd name="connsiteX527" fmla="*/ 825910 w 12199272"/>
              <a:gd name="connsiteY527" fmla="*/ 6213116 h 6858000"/>
              <a:gd name="connsiteX528" fmla="*/ 827174 w 12199272"/>
              <a:gd name="connsiteY528" fmla="*/ 6212236 h 6858000"/>
              <a:gd name="connsiteX529" fmla="*/ 828722 w 12199272"/>
              <a:gd name="connsiteY529" fmla="*/ 6211913 h 6858000"/>
              <a:gd name="connsiteX530" fmla="*/ 906737 w 12199272"/>
              <a:gd name="connsiteY530" fmla="*/ 6211913 h 6858000"/>
              <a:gd name="connsiteX531" fmla="*/ 908285 w 12199272"/>
              <a:gd name="connsiteY531" fmla="*/ 6211590 h 6858000"/>
              <a:gd name="connsiteX532" fmla="*/ 909549 w 12199272"/>
              <a:gd name="connsiteY532" fmla="*/ 6210710 h 6858000"/>
              <a:gd name="connsiteX533" fmla="*/ 910401 w 12199272"/>
              <a:gd name="connsiteY533" fmla="*/ 6209405 h 6858000"/>
              <a:gd name="connsiteX534" fmla="*/ 910714 w 12199272"/>
              <a:gd name="connsiteY534" fmla="*/ 6207806 h 6858000"/>
              <a:gd name="connsiteX535" fmla="*/ 910714 w 12199272"/>
              <a:gd name="connsiteY535" fmla="*/ 6170564 h 6858000"/>
              <a:gd name="connsiteX536" fmla="*/ 910401 w 12199272"/>
              <a:gd name="connsiteY536" fmla="*/ 6168966 h 6858000"/>
              <a:gd name="connsiteX537" fmla="*/ 909549 w 12199272"/>
              <a:gd name="connsiteY537" fmla="*/ 6167660 h 6858000"/>
              <a:gd name="connsiteX538" fmla="*/ 908285 w 12199272"/>
              <a:gd name="connsiteY538" fmla="*/ 6166780 h 6858000"/>
              <a:gd name="connsiteX539" fmla="*/ 906737 w 12199272"/>
              <a:gd name="connsiteY539" fmla="*/ 6166457 h 6858000"/>
              <a:gd name="connsiteX540" fmla="*/ 782044 w 12199272"/>
              <a:gd name="connsiteY540" fmla="*/ 6166457 h 6858000"/>
              <a:gd name="connsiteX541" fmla="*/ 1124613 w 12199272"/>
              <a:gd name="connsiteY541" fmla="*/ 6157611 h 6858000"/>
              <a:gd name="connsiteX542" fmla="*/ 1119425 w 12199272"/>
              <a:gd name="connsiteY542" fmla="*/ 6158165 h 6858000"/>
              <a:gd name="connsiteX543" fmla="*/ 1114569 w 12199272"/>
              <a:gd name="connsiteY543" fmla="*/ 6159751 h 6858000"/>
              <a:gd name="connsiteX544" fmla="*/ 1110156 w 12199272"/>
              <a:gd name="connsiteY544" fmla="*/ 6162260 h 6858000"/>
              <a:gd name="connsiteX545" fmla="*/ 1106297 w 12199272"/>
              <a:gd name="connsiteY545" fmla="*/ 6165581 h 6858000"/>
              <a:gd name="connsiteX546" fmla="*/ 1103103 w 12199272"/>
              <a:gd name="connsiteY546" fmla="*/ 6169602 h 6858000"/>
              <a:gd name="connsiteX547" fmla="*/ 1100684 w 12199272"/>
              <a:gd name="connsiteY547" fmla="*/ 6174213 h 6858000"/>
              <a:gd name="connsiteX548" fmla="*/ 1099151 w 12199272"/>
              <a:gd name="connsiteY548" fmla="*/ 6179304 h 6858000"/>
              <a:gd name="connsiteX549" fmla="*/ 1098616 w 12199272"/>
              <a:gd name="connsiteY549" fmla="*/ 6184762 h 6858000"/>
              <a:gd name="connsiteX550" fmla="*/ 1099151 w 12199272"/>
              <a:gd name="connsiteY550" fmla="*/ 6190221 h 6858000"/>
              <a:gd name="connsiteX551" fmla="*/ 1100684 w 12199272"/>
              <a:gd name="connsiteY551" fmla="*/ 6195311 h 6858000"/>
              <a:gd name="connsiteX552" fmla="*/ 1103103 w 12199272"/>
              <a:gd name="connsiteY552" fmla="*/ 6199922 h 6858000"/>
              <a:gd name="connsiteX553" fmla="*/ 1106297 w 12199272"/>
              <a:gd name="connsiteY553" fmla="*/ 6203943 h 6858000"/>
              <a:gd name="connsiteX554" fmla="*/ 1110156 w 12199272"/>
              <a:gd name="connsiteY554" fmla="*/ 6207264 h 6858000"/>
              <a:gd name="connsiteX555" fmla="*/ 1114569 w 12199272"/>
              <a:gd name="connsiteY555" fmla="*/ 6209773 h 6858000"/>
              <a:gd name="connsiteX556" fmla="*/ 1119425 w 12199272"/>
              <a:gd name="connsiteY556" fmla="*/ 6211360 h 6858000"/>
              <a:gd name="connsiteX557" fmla="*/ 1124613 w 12199272"/>
              <a:gd name="connsiteY557" fmla="*/ 6211913 h 6858000"/>
              <a:gd name="connsiteX558" fmla="*/ 1129997 w 12199272"/>
              <a:gd name="connsiteY558" fmla="*/ 6211360 h 6858000"/>
              <a:gd name="connsiteX559" fmla="*/ 1135000 w 12199272"/>
              <a:gd name="connsiteY559" fmla="*/ 6209773 h 6858000"/>
              <a:gd name="connsiteX560" fmla="*/ 1139518 w 12199272"/>
              <a:gd name="connsiteY560" fmla="*/ 6207264 h 6858000"/>
              <a:gd name="connsiteX561" fmla="*/ 1143447 w 12199272"/>
              <a:gd name="connsiteY561" fmla="*/ 6203943 h 6858000"/>
              <a:gd name="connsiteX562" fmla="*/ 1146685 w 12199272"/>
              <a:gd name="connsiteY562" fmla="*/ 6199922 h 6858000"/>
              <a:gd name="connsiteX563" fmla="*/ 1149125 w 12199272"/>
              <a:gd name="connsiteY563" fmla="*/ 6195311 h 6858000"/>
              <a:gd name="connsiteX564" fmla="*/ 1150666 w 12199272"/>
              <a:gd name="connsiteY564" fmla="*/ 6190221 h 6858000"/>
              <a:gd name="connsiteX565" fmla="*/ 1151203 w 12199272"/>
              <a:gd name="connsiteY565" fmla="*/ 6184762 h 6858000"/>
              <a:gd name="connsiteX566" fmla="*/ 1150666 w 12199272"/>
              <a:gd name="connsiteY566" fmla="*/ 6179304 h 6858000"/>
              <a:gd name="connsiteX567" fmla="*/ 1149125 w 12199272"/>
              <a:gd name="connsiteY567" fmla="*/ 6174213 h 6858000"/>
              <a:gd name="connsiteX568" fmla="*/ 1146685 w 12199272"/>
              <a:gd name="connsiteY568" fmla="*/ 6169602 h 6858000"/>
              <a:gd name="connsiteX569" fmla="*/ 1143447 w 12199272"/>
              <a:gd name="connsiteY569" fmla="*/ 6165581 h 6858000"/>
              <a:gd name="connsiteX570" fmla="*/ 1139518 w 12199272"/>
              <a:gd name="connsiteY570" fmla="*/ 6162260 h 6858000"/>
              <a:gd name="connsiteX571" fmla="*/ 1135000 w 12199272"/>
              <a:gd name="connsiteY571" fmla="*/ 6159751 h 6858000"/>
              <a:gd name="connsiteX572" fmla="*/ 1129997 w 12199272"/>
              <a:gd name="connsiteY572" fmla="*/ 6158165 h 6858000"/>
              <a:gd name="connsiteX573" fmla="*/ 1124613 w 12199272"/>
              <a:gd name="connsiteY573" fmla="*/ 6157611 h 6858000"/>
              <a:gd name="connsiteX574" fmla="*/ 581250 w 12199272"/>
              <a:gd name="connsiteY574" fmla="*/ 6120863 h 6858000"/>
              <a:gd name="connsiteX575" fmla="*/ 575834 w 12199272"/>
              <a:gd name="connsiteY575" fmla="*/ 6121606 h 6858000"/>
              <a:gd name="connsiteX576" fmla="*/ 570703 w 12199272"/>
              <a:gd name="connsiteY576" fmla="*/ 6123833 h 6858000"/>
              <a:gd name="connsiteX577" fmla="*/ 468377 w 12199272"/>
              <a:gd name="connsiteY577" fmla="*/ 6185889 h 6858000"/>
              <a:gd name="connsiteX578" fmla="*/ 463977 w 12199272"/>
              <a:gd name="connsiteY578" fmla="*/ 6189443 h 6858000"/>
              <a:gd name="connsiteX579" fmla="*/ 460658 w 12199272"/>
              <a:gd name="connsiteY579" fmla="*/ 6193998 h 6858000"/>
              <a:gd name="connsiteX580" fmla="*/ 458562 w 12199272"/>
              <a:gd name="connsiteY580" fmla="*/ 6199295 h 6858000"/>
              <a:gd name="connsiteX581" fmla="*/ 457832 w 12199272"/>
              <a:gd name="connsiteY581" fmla="*/ 6205076 h 6858000"/>
              <a:gd name="connsiteX582" fmla="*/ 457832 w 12199272"/>
              <a:gd name="connsiteY582" fmla="*/ 6329188 h 6858000"/>
              <a:gd name="connsiteX583" fmla="*/ 458562 w 12199272"/>
              <a:gd name="connsiteY583" fmla="*/ 6334969 h 6858000"/>
              <a:gd name="connsiteX584" fmla="*/ 460658 w 12199272"/>
              <a:gd name="connsiteY584" fmla="*/ 6340266 h 6858000"/>
              <a:gd name="connsiteX585" fmla="*/ 463977 w 12199272"/>
              <a:gd name="connsiteY585" fmla="*/ 6344822 h 6858000"/>
              <a:gd name="connsiteX586" fmla="*/ 468378 w 12199272"/>
              <a:gd name="connsiteY586" fmla="*/ 6348377 h 6858000"/>
              <a:gd name="connsiteX587" fmla="*/ 570703 w 12199272"/>
              <a:gd name="connsiteY587" fmla="*/ 6410433 h 6858000"/>
              <a:gd name="connsiteX588" fmla="*/ 575834 w 12199272"/>
              <a:gd name="connsiteY588" fmla="*/ 6412659 h 6858000"/>
              <a:gd name="connsiteX589" fmla="*/ 581250 w 12199272"/>
              <a:gd name="connsiteY589" fmla="*/ 6413401 h 6858000"/>
              <a:gd name="connsiteX590" fmla="*/ 586665 w 12199272"/>
              <a:gd name="connsiteY590" fmla="*/ 6412659 h 6858000"/>
              <a:gd name="connsiteX591" fmla="*/ 591796 w 12199272"/>
              <a:gd name="connsiteY591" fmla="*/ 6410433 h 6858000"/>
              <a:gd name="connsiteX592" fmla="*/ 687555 w 12199272"/>
              <a:gd name="connsiteY592" fmla="*/ 6352359 h 6858000"/>
              <a:gd name="connsiteX593" fmla="*/ 694122 w 12199272"/>
              <a:gd name="connsiteY593" fmla="*/ 6348377 h 6858000"/>
              <a:gd name="connsiteX594" fmla="*/ 698523 w 12199272"/>
              <a:gd name="connsiteY594" fmla="*/ 6344822 h 6858000"/>
              <a:gd name="connsiteX595" fmla="*/ 701842 w 12199272"/>
              <a:gd name="connsiteY595" fmla="*/ 6340266 h 6858000"/>
              <a:gd name="connsiteX596" fmla="*/ 703937 w 12199272"/>
              <a:gd name="connsiteY596" fmla="*/ 6334969 h 6858000"/>
              <a:gd name="connsiteX597" fmla="*/ 704667 w 12199272"/>
              <a:gd name="connsiteY597" fmla="*/ 6329188 h 6858000"/>
              <a:gd name="connsiteX598" fmla="*/ 704667 w 12199272"/>
              <a:gd name="connsiteY598" fmla="*/ 6277512 h 6858000"/>
              <a:gd name="connsiteX599" fmla="*/ 581250 w 12199272"/>
              <a:gd name="connsiteY599" fmla="*/ 6352359 h 6858000"/>
              <a:gd name="connsiteX600" fmla="*/ 512614 w 12199272"/>
              <a:gd name="connsiteY600" fmla="*/ 6310735 h 6858000"/>
              <a:gd name="connsiteX601" fmla="*/ 512651 w 12199272"/>
              <a:gd name="connsiteY601" fmla="*/ 6225511 h 6858000"/>
              <a:gd name="connsiteX602" fmla="*/ 576185 w 12199272"/>
              <a:gd name="connsiteY602" fmla="*/ 6186958 h 6858000"/>
              <a:gd name="connsiteX603" fmla="*/ 578647 w 12199272"/>
              <a:gd name="connsiteY603" fmla="*/ 6185889 h 6858000"/>
              <a:gd name="connsiteX604" fmla="*/ 581250 w 12199272"/>
              <a:gd name="connsiteY604" fmla="*/ 6185532 h 6858000"/>
              <a:gd name="connsiteX605" fmla="*/ 583855 w 12199272"/>
              <a:gd name="connsiteY605" fmla="*/ 6185889 h 6858000"/>
              <a:gd name="connsiteX606" fmla="*/ 586321 w 12199272"/>
              <a:gd name="connsiteY606" fmla="*/ 6186960 h 6858000"/>
              <a:gd name="connsiteX607" fmla="*/ 649885 w 12199272"/>
              <a:gd name="connsiteY607" fmla="*/ 6225509 h 6858000"/>
              <a:gd name="connsiteX608" fmla="*/ 589785 w 12199272"/>
              <a:gd name="connsiteY608" fmla="*/ 6261958 h 6858000"/>
              <a:gd name="connsiteX609" fmla="*/ 585633 w 12199272"/>
              <a:gd name="connsiteY609" fmla="*/ 6263759 h 6858000"/>
              <a:gd name="connsiteX610" fmla="*/ 581250 w 12199272"/>
              <a:gd name="connsiteY610" fmla="*/ 6264359 h 6858000"/>
              <a:gd name="connsiteX611" fmla="*/ 576868 w 12199272"/>
              <a:gd name="connsiteY611" fmla="*/ 6263758 h 6858000"/>
              <a:gd name="connsiteX612" fmla="*/ 572716 w 12199272"/>
              <a:gd name="connsiteY612" fmla="*/ 6261956 h 6858000"/>
              <a:gd name="connsiteX613" fmla="*/ 529723 w 12199272"/>
              <a:gd name="connsiteY613" fmla="*/ 6235870 h 6858000"/>
              <a:gd name="connsiteX614" fmla="*/ 529693 w 12199272"/>
              <a:gd name="connsiteY614" fmla="*/ 6300334 h 6858000"/>
              <a:gd name="connsiteX615" fmla="*/ 581250 w 12199272"/>
              <a:gd name="connsiteY615" fmla="*/ 6331602 h 6858000"/>
              <a:gd name="connsiteX616" fmla="*/ 692128 w 12199272"/>
              <a:gd name="connsiteY616" fmla="*/ 6264359 h 6858000"/>
              <a:gd name="connsiteX617" fmla="*/ 704667 w 12199272"/>
              <a:gd name="connsiteY617" fmla="*/ 6256755 h 6858000"/>
              <a:gd name="connsiteX618" fmla="*/ 704667 w 12199272"/>
              <a:gd name="connsiteY618" fmla="*/ 6205076 h 6858000"/>
              <a:gd name="connsiteX619" fmla="*/ 703937 w 12199272"/>
              <a:gd name="connsiteY619" fmla="*/ 6199295 h 6858000"/>
              <a:gd name="connsiteX620" fmla="*/ 701842 w 12199272"/>
              <a:gd name="connsiteY620" fmla="*/ 6193998 h 6858000"/>
              <a:gd name="connsiteX621" fmla="*/ 698523 w 12199272"/>
              <a:gd name="connsiteY621" fmla="*/ 6189443 h 6858000"/>
              <a:gd name="connsiteX622" fmla="*/ 694122 w 12199272"/>
              <a:gd name="connsiteY622" fmla="*/ 6185888 h 6858000"/>
              <a:gd name="connsiteX623" fmla="*/ 693534 w 12199272"/>
              <a:gd name="connsiteY623" fmla="*/ 6185532 h 6858000"/>
              <a:gd name="connsiteX624" fmla="*/ 591796 w 12199272"/>
              <a:gd name="connsiteY624" fmla="*/ 6123833 h 6858000"/>
              <a:gd name="connsiteX625" fmla="*/ 586665 w 12199272"/>
              <a:gd name="connsiteY625" fmla="*/ 6121606 h 6858000"/>
              <a:gd name="connsiteX626" fmla="*/ 581250 w 12199272"/>
              <a:gd name="connsiteY626" fmla="*/ 6120863 h 6858000"/>
              <a:gd name="connsiteX627" fmla="*/ 0 w 12199272"/>
              <a:gd name="connsiteY627" fmla="*/ 0 h 6858000"/>
              <a:gd name="connsiteX628" fmla="*/ 12198355 w 12199272"/>
              <a:gd name="connsiteY628" fmla="*/ 3175 h 6858000"/>
              <a:gd name="connsiteX629" fmla="*/ 12198355 w 12199272"/>
              <a:gd name="connsiteY629" fmla="*/ 6858000 h 6858000"/>
              <a:gd name="connsiteX630" fmla="*/ 0 w 12199272"/>
              <a:gd name="connsiteY630" fmla="*/ 6858000 h 6858000"/>
              <a:gd name="connsiteX631" fmla="*/ 0 w 12199272"/>
              <a:gd name="connsiteY631" fmla="*/ 0 h 6858000"/>
              <a:gd name="connsiteX0" fmla="*/ 1007893 w 12199272"/>
              <a:gd name="connsiteY0" fmla="*/ 6278790 h 6867525"/>
              <a:gd name="connsiteX1" fmla="*/ 1012666 w 12199272"/>
              <a:gd name="connsiteY1" fmla="*/ 6279093 h 6867525"/>
              <a:gd name="connsiteX2" fmla="*/ 1017275 w 12199272"/>
              <a:gd name="connsiteY2" fmla="*/ 6280006 h 6867525"/>
              <a:gd name="connsiteX3" fmla="*/ 1021659 w 12199272"/>
              <a:gd name="connsiteY3" fmla="*/ 6281532 h 6867525"/>
              <a:gd name="connsiteX4" fmla="*/ 1025757 w 12199272"/>
              <a:gd name="connsiteY4" fmla="*/ 6283675 h 6867525"/>
              <a:gd name="connsiteX5" fmla="*/ 1029507 w 12199272"/>
              <a:gd name="connsiteY5" fmla="*/ 6286440 h 6867525"/>
              <a:gd name="connsiteX6" fmla="*/ 1032848 w 12199272"/>
              <a:gd name="connsiteY6" fmla="*/ 6289831 h 6867525"/>
              <a:gd name="connsiteX7" fmla="*/ 1035719 w 12199272"/>
              <a:gd name="connsiteY7" fmla="*/ 6293851 h 6867525"/>
              <a:gd name="connsiteX8" fmla="*/ 1038059 w 12199272"/>
              <a:gd name="connsiteY8" fmla="*/ 6298506 h 6867525"/>
              <a:gd name="connsiteX9" fmla="*/ 1039806 w 12199272"/>
              <a:gd name="connsiteY9" fmla="*/ 6303798 h 6867525"/>
              <a:gd name="connsiteX10" fmla="*/ 1040899 w 12199272"/>
              <a:gd name="connsiteY10" fmla="*/ 6309733 h 6867525"/>
              <a:gd name="connsiteX11" fmla="*/ 1041277 w 12199272"/>
              <a:gd name="connsiteY11" fmla="*/ 6316313 h 6867525"/>
              <a:gd name="connsiteX12" fmla="*/ 1040899 w 12199272"/>
              <a:gd name="connsiteY12" fmla="*/ 6322901 h 6867525"/>
              <a:gd name="connsiteX13" fmla="*/ 1039806 w 12199272"/>
              <a:gd name="connsiteY13" fmla="*/ 6328855 h 6867525"/>
              <a:gd name="connsiteX14" fmla="*/ 1038059 w 12199272"/>
              <a:gd name="connsiteY14" fmla="*/ 6334177 h 6867525"/>
              <a:gd name="connsiteX15" fmla="*/ 1035719 w 12199272"/>
              <a:gd name="connsiteY15" fmla="*/ 6338867 h 6867525"/>
              <a:gd name="connsiteX16" fmla="*/ 1032848 w 12199272"/>
              <a:gd name="connsiteY16" fmla="*/ 6342928 h 6867525"/>
              <a:gd name="connsiteX17" fmla="*/ 1029507 w 12199272"/>
              <a:gd name="connsiteY17" fmla="*/ 6346360 h 6867525"/>
              <a:gd name="connsiteX18" fmla="*/ 1025757 w 12199272"/>
              <a:gd name="connsiteY18" fmla="*/ 6349166 h 6867525"/>
              <a:gd name="connsiteX19" fmla="*/ 1021659 w 12199272"/>
              <a:gd name="connsiteY19" fmla="*/ 6351345 h 6867525"/>
              <a:gd name="connsiteX20" fmla="*/ 1017275 w 12199272"/>
              <a:gd name="connsiteY20" fmla="*/ 6352900 h 6867525"/>
              <a:gd name="connsiteX21" fmla="*/ 1012666 w 12199272"/>
              <a:gd name="connsiteY21" fmla="*/ 6353832 h 6867525"/>
              <a:gd name="connsiteX22" fmla="*/ 1007893 w 12199272"/>
              <a:gd name="connsiteY22" fmla="*/ 6354143 h 6867525"/>
              <a:gd name="connsiteX23" fmla="*/ 1003193 w 12199272"/>
              <a:gd name="connsiteY23" fmla="*/ 6353825 h 6867525"/>
              <a:gd name="connsiteX24" fmla="*/ 998645 w 12199272"/>
              <a:gd name="connsiteY24" fmla="*/ 6352875 h 6867525"/>
              <a:gd name="connsiteX25" fmla="*/ 994309 w 12199272"/>
              <a:gd name="connsiteY25" fmla="*/ 6351296 h 6867525"/>
              <a:gd name="connsiteX26" fmla="*/ 990249 w 12199272"/>
              <a:gd name="connsiteY26" fmla="*/ 6349089 h 6867525"/>
              <a:gd name="connsiteX27" fmla="*/ 986527 w 12199272"/>
              <a:gd name="connsiteY27" fmla="*/ 6346257 h 6867525"/>
              <a:gd name="connsiteX28" fmla="*/ 983207 w 12199272"/>
              <a:gd name="connsiteY28" fmla="*/ 6342805 h 6867525"/>
              <a:gd name="connsiteX29" fmla="*/ 980349 w 12199272"/>
              <a:gd name="connsiteY29" fmla="*/ 6338733 h 6867525"/>
              <a:gd name="connsiteX30" fmla="*/ 978018 w 12199272"/>
              <a:gd name="connsiteY30" fmla="*/ 6334045 h 6867525"/>
              <a:gd name="connsiteX31" fmla="*/ 976275 w 12199272"/>
              <a:gd name="connsiteY31" fmla="*/ 6328744 h 6867525"/>
              <a:gd name="connsiteX32" fmla="*/ 975184 w 12199272"/>
              <a:gd name="connsiteY32" fmla="*/ 6322833 h 6867525"/>
              <a:gd name="connsiteX33" fmla="*/ 974806 w 12199272"/>
              <a:gd name="connsiteY33" fmla="*/ 6316313 h 6867525"/>
              <a:gd name="connsiteX34" fmla="*/ 975184 w 12199272"/>
              <a:gd name="connsiteY34" fmla="*/ 6309733 h 6867525"/>
              <a:gd name="connsiteX35" fmla="*/ 976275 w 12199272"/>
              <a:gd name="connsiteY35" fmla="*/ 6303798 h 6867525"/>
              <a:gd name="connsiteX36" fmla="*/ 978018 w 12199272"/>
              <a:gd name="connsiteY36" fmla="*/ 6298506 h 6867525"/>
              <a:gd name="connsiteX37" fmla="*/ 980349 w 12199272"/>
              <a:gd name="connsiteY37" fmla="*/ 6293851 h 6867525"/>
              <a:gd name="connsiteX38" fmla="*/ 983207 w 12199272"/>
              <a:gd name="connsiteY38" fmla="*/ 6289831 h 6867525"/>
              <a:gd name="connsiteX39" fmla="*/ 986527 w 12199272"/>
              <a:gd name="connsiteY39" fmla="*/ 6286440 h 6867525"/>
              <a:gd name="connsiteX40" fmla="*/ 990249 w 12199272"/>
              <a:gd name="connsiteY40" fmla="*/ 6283675 h 6867525"/>
              <a:gd name="connsiteX41" fmla="*/ 994309 w 12199272"/>
              <a:gd name="connsiteY41" fmla="*/ 6281532 h 6867525"/>
              <a:gd name="connsiteX42" fmla="*/ 998645 w 12199272"/>
              <a:gd name="connsiteY42" fmla="*/ 6280006 h 6867525"/>
              <a:gd name="connsiteX43" fmla="*/ 1003193 w 12199272"/>
              <a:gd name="connsiteY43" fmla="*/ 6279093 h 6867525"/>
              <a:gd name="connsiteX44" fmla="*/ 1007893 w 12199272"/>
              <a:gd name="connsiteY44" fmla="*/ 6278790 h 6867525"/>
              <a:gd name="connsiteX45" fmla="*/ 1349948 w 12199272"/>
              <a:gd name="connsiteY45" fmla="*/ 6278789 h 6867525"/>
              <a:gd name="connsiteX46" fmla="*/ 1354581 w 12199272"/>
              <a:gd name="connsiteY46" fmla="*/ 6279086 h 6867525"/>
              <a:gd name="connsiteX47" fmla="*/ 1359089 w 12199272"/>
              <a:gd name="connsiteY47" fmla="*/ 6279980 h 6867525"/>
              <a:gd name="connsiteX48" fmla="*/ 1363405 w 12199272"/>
              <a:gd name="connsiteY48" fmla="*/ 6281481 h 6867525"/>
              <a:gd name="connsiteX49" fmla="*/ 1367462 w 12199272"/>
              <a:gd name="connsiteY49" fmla="*/ 6283597 h 6867525"/>
              <a:gd name="connsiteX50" fmla="*/ 1371195 w 12199272"/>
              <a:gd name="connsiteY50" fmla="*/ 6286336 h 6867525"/>
              <a:gd name="connsiteX51" fmla="*/ 1374536 w 12199272"/>
              <a:gd name="connsiteY51" fmla="*/ 6289706 h 6867525"/>
              <a:gd name="connsiteX52" fmla="*/ 1377418 w 12199272"/>
              <a:gd name="connsiteY52" fmla="*/ 6293715 h 6867525"/>
              <a:gd name="connsiteX53" fmla="*/ 1379777 w 12199272"/>
              <a:gd name="connsiteY53" fmla="*/ 6298373 h 6867525"/>
              <a:gd name="connsiteX54" fmla="*/ 1381543 w 12199272"/>
              <a:gd name="connsiteY54" fmla="*/ 6303686 h 6867525"/>
              <a:gd name="connsiteX55" fmla="*/ 1382652 w 12199272"/>
              <a:gd name="connsiteY55" fmla="*/ 6309663 h 6867525"/>
              <a:gd name="connsiteX56" fmla="*/ 1383037 w 12199272"/>
              <a:gd name="connsiteY56" fmla="*/ 6316313 h 6867525"/>
              <a:gd name="connsiteX57" fmla="*/ 1382652 w 12199272"/>
              <a:gd name="connsiteY57" fmla="*/ 6322970 h 6867525"/>
              <a:gd name="connsiteX58" fmla="*/ 1381543 w 12199272"/>
              <a:gd name="connsiteY58" fmla="*/ 6328967 h 6867525"/>
              <a:gd name="connsiteX59" fmla="*/ 1379777 w 12199272"/>
              <a:gd name="connsiteY59" fmla="*/ 6334309 h 6867525"/>
              <a:gd name="connsiteX60" fmla="*/ 1377418 w 12199272"/>
              <a:gd name="connsiteY60" fmla="*/ 6339003 h 6867525"/>
              <a:gd name="connsiteX61" fmla="*/ 1374536 w 12199272"/>
              <a:gd name="connsiteY61" fmla="*/ 6343052 h 6867525"/>
              <a:gd name="connsiteX62" fmla="*/ 1371195 w 12199272"/>
              <a:gd name="connsiteY62" fmla="*/ 6346464 h 6867525"/>
              <a:gd name="connsiteX63" fmla="*/ 1367462 w 12199272"/>
              <a:gd name="connsiteY63" fmla="*/ 6349243 h 6867525"/>
              <a:gd name="connsiteX64" fmla="*/ 1363405 w 12199272"/>
              <a:gd name="connsiteY64" fmla="*/ 6351394 h 6867525"/>
              <a:gd name="connsiteX65" fmla="*/ 1359089 w 12199272"/>
              <a:gd name="connsiteY65" fmla="*/ 6352925 h 6867525"/>
              <a:gd name="connsiteX66" fmla="*/ 1354581 w 12199272"/>
              <a:gd name="connsiteY66" fmla="*/ 6353839 h 6867525"/>
              <a:gd name="connsiteX67" fmla="*/ 1349948 w 12199272"/>
              <a:gd name="connsiteY67" fmla="*/ 6354142 h 6867525"/>
              <a:gd name="connsiteX68" fmla="*/ 1345382 w 12199272"/>
              <a:gd name="connsiteY68" fmla="*/ 6353832 h 6867525"/>
              <a:gd name="connsiteX69" fmla="*/ 1340916 w 12199272"/>
              <a:gd name="connsiteY69" fmla="*/ 6352900 h 6867525"/>
              <a:gd name="connsiteX70" fmla="*/ 1336620 w 12199272"/>
              <a:gd name="connsiteY70" fmla="*/ 6351345 h 6867525"/>
              <a:gd name="connsiteX71" fmla="*/ 1332565 w 12199272"/>
              <a:gd name="connsiteY71" fmla="*/ 6349165 h 6867525"/>
              <a:gd name="connsiteX72" fmla="*/ 1328822 w 12199272"/>
              <a:gd name="connsiteY72" fmla="*/ 6346360 h 6867525"/>
              <a:gd name="connsiteX73" fmla="*/ 1325461 w 12199272"/>
              <a:gd name="connsiteY73" fmla="*/ 6342928 h 6867525"/>
              <a:gd name="connsiteX74" fmla="*/ 1322553 w 12199272"/>
              <a:gd name="connsiteY74" fmla="*/ 6338868 h 6867525"/>
              <a:gd name="connsiteX75" fmla="*/ 1320168 w 12199272"/>
              <a:gd name="connsiteY75" fmla="*/ 6334177 h 6867525"/>
              <a:gd name="connsiteX76" fmla="*/ 1318378 w 12199272"/>
              <a:gd name="connsiteY76" fmla="*/ 6328855 h 6867525"/>
              <a:gd name="connsiteX77" fmla="*/ 1317251 w 12199272"/>
              <a:gd name="connsiteY77" fmla="*/ 6322901 h 6867525"/>
              <a:gd name="connsiteX78" fmla="*/ 1316860 w 12199272"/>
              <a:gd name="connsiteY78" fmla="*/ 6316313 h 6867525"/>
              <a:gd name="connsiteX79" fmla="*/ 1317251 w 12199272"/>
              <a:gd name="connsiteY79" fmla="*/ 6309663 h 6867525"/>
              <a:gd name="connsiteX80" fmla="*/ 1318378 w 12199272"/>
              <a:gd name="connsiteY80" fmla="*/ 6303686 h 6867525"/>
              <a:gd name="connsiteX81" fmla="*/ 1320168 w 12199272"/>
              <a:gd name="connsiteY81" fmla="*/ 6298373 h 6867525"/>
              <a:gd name="connsiteX82" fmla="*/ 1322553 w 12199272"/>
              <a:gd name="connsiteY82" fmla="*/ 6293715 h 6867525"/>
              <a:gd name="connsiteX83" fmla="*/ 1325461 w 12199272"/>
              <a:gd name="connsiteY83" fmla="*/ 6289706 h 6867525"/>
              <a:gd name="connsiteX84" fmla="*/ 1328822 w 12199272"/>
              <a:gd name="connsiteY84" fmla="*/ 6286336 h 6867525"/>
              <a:gd name="connsiteX85" fmla="*/ 1332565 w 12199272"/>
              <a:gd name="connsiteY85" fmla="*/ 6283597 h 6867525"/>
              <a:gd name="connsiteX86" fmla="*/ 1336620 w 12199272"/>
              <a:gd name="connsiteY86" fmla="*/ 6281481 h 6867525"/>
              <a:gd name="connsiteX87" fmla="*/ 1340916 w 12199272"/>
              <a:gd name="connsiteY87" fmla="*/ 6279980 h 6867525"/>
              <a:gd name="connsiteX88" fmla="*/ 1345382 w 12199272"/>
              <a:gd name="connsiteY88" fmla="*/ 6279086 h 6867525"/>
              <a:gd name="connsiteX89" fmla="*/ 1349948 w 12199272"/>
              <a:gd name="connsiteY89" fmla="*/ 6278789 h 6867525"/>
              <a:gd name="connsiteX90" fmla="*/ 1106434 w 12199272"/>
              <a:gd name="connsiteY90" fmla="*/ 6240657 h 6867525"/>
              <a:gd name="connsiteX91" fmla="*/ 1104886 w 12199272"/>
              <a:gd name="connsiteY91" fmla="*/ 6240980 h 6867525"/>
              <a:gd name="connsiteX92" fmla="*/ 1103622 w 12199272"/>
              <a:gd name="connsiteY92" fmla="*/ 6241860 h 6867525"/>
              <a:gd name="connsiteX93" fmla="*/ 1102769 w 12199272"/>
              <a:gd name="connsiteY93" fmla="*/ 6243166 h 6867525"/>
              <a:gd name="connsiteX94" fmla="*/ 1102457 w 12199272"/>
              <a:gd name="connsiteY94" fmla="*/ 6244764 h 6867525"/>
              <a:gd name="connsiteX95" fmla="*/ 1102457 w 12199272"/>
              <a:gd name="connsiteY95" fmla="*/ 6388168 h 6867525"/>
              <a:gd name="connsiteX96" fmla="*/ 1102769 w 12199272"/>
              <a:gd name="connsiteY96" fmla="*/ 6389767 h 6867525"/>
              <a:gd name="connsiteX97" fmla="*/ 1103622 w 12199272"/>
              <a:gd name="connsiteY97" fmla="*/ 6391072 h 6867525"/>
              <a:gd name="connsiteX98" fmla="*/ 1104886 w 12199272"/>
              <a:gd name="connsiteY98" fmla="*/ 6391952 h 6867525"/>
              <a:gd name="connsiteX99" fmla="*/ 1106434 w 12199272"/>
              <a:gd name="connsiteY99" fmla="*/ 6392275 h 6867525"/>
              <a:gd name="connsiteX100" fmla="*/ 1143384 w 12199272"/>
              <a:gd name="connsiteY100" fmla="*/ 6392275 h 6867525"/>
              <a:gd name="connsiteX101" fmla="*/ 1144932 w 12199272"/>
              <a:gd name="connsiteY101" fmla="*/ 6391952 h 6867525"/>
              <a:gd name="connsiteX102" fmla="*/ 1146197 w 12199272"/>
              <a:gd name="connsiteY102" fmla="*/ 6391072 h 6867525"/>
              <a:gd name="connsiteX103" fmla="*/ 1147050 w 12199272"/>
              <a:gd name="connsiteY103" fmla="*/ 6389767 h 6867525"/>
              <a:gd name="connsiteX104" fmla="*/ 1147362 w 12199272"/>
              <a:gd name="connsiteY104" fmla="*/ 6388168 h 6867525"/>
              <a:gd name="connsiteX105" fmla="*/ 1147362 w 12199272"/>
              <a:gd name="connsiteY105" fmla="*/ 6244764 h 6867525"/>
              <a:gd name="connsiteX106" fmla="*/ 1147050 w 12199272"/>
              <a:gd name="connsiteY106" fmla="*/ 6243166 h 6867525"/>
              <a:gd name="connsiteX107" fmla="*/ 1146197 w 12199272"/>
              <a:gd name="connsiteY107" fmla="*/ 6241860 h 6867525"/>
              <a:gd name="connsiteX108" fmla="*/ 1144932 w 12199272"/>
              <a:gd name="connsiteY108" fmla="*/ 6240980 h 6867525"/>
              <a:gd name="connsiteX109" fmla="*/ 1143384 w 12199272"/>
              <a:gd name="connsiteY109" fmla="*/ 6240657 h 6867525"/>
              <a:gd name="connsiteX110" fmla="*/ 1106434 w 12199272"/>
              <a:gd name="connsiteY110" fmla="*/ 6240657 h 6867525"/>
              <a:gd name="connsiteX111" fmla="*/ 1254739 w 12199272"/>
              <a:gd name="connsiteY111" fmla="*/ 6239132 h 6867525"/>
              <a:gd name="connsiteX112" fmla="*/ 1250024 w 12199272"/>
              <a:gd name="connsiteY112" fmla="*/ 6239375 h 6867525"/>
              <a:gd name="connsiteX113" fmla="*/ 1244879 w 12199272"/>
              <a:gd name="connsiteY113" fmla="*/ 6240162 h 6867525"/>
              <a:gd name="connsiteX114" fmla="*/ 1239513 w 12199272"/>
              <a:gd name="connsiteY114" fmla="*/ 6241577 h 6867525"/>
              <a:gd name="connsiteX115" fmla="*/ 1234133 w 12199272"/>
              <a:gd name="connsiteY115" fmla="*/ 6243708 h 6867525"/>
              <a:gd name="connsiteX116" fmla="*/ 1228947 w 12199272"/>
              <a:gd name="connsiteY116" fmla="*/ 6246639 h 6867525"/>
              <a:gd name="connsiteX117" fmla="*/ 1224162 w 12199272"/>
              <a:gd name="connsiteY117" fmla="*/ 6250458 h 6867525"/>
              <a:gd name="connsiteX118" fmla="*/ 1219987 w 12199272"/>
              <a:gd name="connsiteY118" fmla="*/ 6255248 h 6867525"/>
              <a:gd name="connsiteX119" fmla="*/ 1216628 w 12199272"/>
              <a:gd name="connsiteY119" fmla="*/ 6261097 h 6867525"/>
              <a:gd name="connsiteX120" fmla="*/ 1216628 w 12199272"/>
              <a:gd name="connsiteY120" fmla="*/ 6244763 h 6867525"/>
              <a:gd name="connsiteX121" fmla="*/ 1216316 w 12199272"/>
              <a:gd name="connsiteY121" fmla="*/ 6243165 h 6867525"/>
              <a:gd name="connsiteX122" fmla="*/ 1215463 w 12199272"/>
              <a:gd name="connsiteY122" fmla="*/ 6241860 h 6867525"/>
              <a:gd name="connsiteX123" fmla="*/ 1214199 w 12199272"/>
              <a:gd name="connsiteY123" fmla="*/ 6240979 h 6867525"/>
              <a:gd name="connsiteX124" fmla="*/ 1212650 w 12199272"/>
              <a:gd name="connsiteY124" fmla="*/ 6240657 h 6867525"/>
              <a:gd name="connsiteX125" fmla="*/ 1177178 w 12199272"/>
              <a:gd name="connsiteY125" fmla="*/ 6240657 h 6867525"/>
              <a:gd name="connsiteX126" fmla="*/ 1175630 w 12199272"/>
              <a:gd name="connsiteY126" fmla="*/ 6240979 h 6867525"/>
              <a:gd name="connsiteX127" fmla="*/ 1174366 w 12199272"/>
              <a:gd name="connsiteY127" fmla="*/ 6241860 h 6867525"/>
              <a:gd name="connsiteX128" fmla="*/ 1173513 w 12199272"/>
              <a:gd name="connsiteY128" fmla="*/ 6243165 h 6867525"/>
              <a:gd name="connsiteX129" fmla="*/ 1173201 w 12199272"/>
              <a:gd name="connsiteY129" fmla="*/ 6244763 h 6867525"/>
              <a:gd name="connsiteX130" fmla="*/ 1173201 w 12199272"/>
              <a:gd name="connsiteY130" fmla="*/ 6388167 h 6867525"/>
              <a:gd name="connsiteX131" fmla="*/ 1173513 w 12199272"/>
              <a:gd name="connsiteY131" fmla="*/ 6389767 h 6867525"/>
              <a:gd name="connsiteX132" fmla="*/ 1174366 w 12199272"/>
              <a:gd name="connsiteY132" fmla="*/ 6391073 h 6867525"/>
              <a:gd name="connsiteX133" fmla="*/ 1175630 w 12199272"/>
              <a:gd name="connsiteY133" fmla="*/ 6391953 h 6867525"/>
              <a:gd name="connsiteX134" fmla="*/ 1177178 w 12199272"/>
              <a:gd name="connsiteY134" fmla="*/ 6392276 h 6867525"/>
              <a:gd name="connsiteX135" fmla="*/ 1214127 w 12199272"/>
              <a:gd name="connsiteY135" fmla="*/ 6392276 h 6867525"/>
              <a:gd name="connsiteX136" fmla="*/ 1215676 w 12199272"/>
              <a:gd name="connsiteY136" fmla="*/ 6391953 h 6867525"/>
              <a:gd name="connsiteX137" fmla="*/ 1216940 w 12199272"/>
              <a:gd name="connsiteY137" fmla="*/ 6391073 h 6867525"/>
              <a:gd name="connsiteX138" fmla="*/ 1217792 w 12199272"/>
              <a:gd name="connsiteY138" fmla="*/ 6389767 h 6867525"/>
              <a:gd name="connsiteX139" fmla="*/ 1218105 w 12199272"/>
              <a:gd name="connsiteY139" fmla="*/ 6388167 h 6867525"/>
              <a:gd name="connsiteX140" fmla="*/ 1218105 w 12199272"/>
              <a:gd name="connsiteY140" fmla="*/ 6326074 h 6867525"/>
              <a:gd name="connsiteX141" fmla="*/ 1218497 w 12199272"/>
              <a:gd name="connsiteY141" fmla="*/ 6318306 h 6867525"/>
              <a:gd name="connsiteX142" fmla="*/ 1219630 w 12199272"/>
              <a:gd name="connsiteY142" fmla="*/ 6311451 h 6867525"/>
              <a:gd name="connsiteX143" fmla="*/ 1221437 w 12199272"/>
              <a:gd name="connsiteY143" fmla="*/ 6305471 h 6867525"/>
              <a:gd name="connsiteX144" fmla="*/ 1223855 w 12199272"/>
              <a:gd name="connsiteY144" fmla="*/ 6300332 h 6867525"/>
              <a:gd name="connsiteX145" fmla="*/ 1226817 w 12199272"/>
              <a:gd name="connsiteY145" fmla="*/ 6295995 h 6867525"/>
              <a:gd name="connsiteX146" fmla="*/ 1230259 w 12199272"/>
              <a:gd name="connsiteY146" fmla="*/ 6292426 h 6867525"/>
              <a:gd name="connsiteX147" fmla="*/ 1234115 w 12199272"/>
              <a:gd name="connsiteY147" fmla="*/ 6289587 h 6867525"/>
              <a:gd name="connsiteX148" fmla="*/ 1238320 w 12199272"/>
              <a:gd name="connsiteY148" fmla="*/ 6287442 h 6867525"/>
              <a:gd name="connsiteX149" fmla="*/ 1242809 w 12199272"/>
              <a:gd name="connsiteY149" fmla="*/ 6285955 h 6867525"/>
              <a:gd name="connsiteX150" fmla="*/ 1247516 w 12199272"/>
              <a:gd name="connsiteY150" fmla="*/ 6285090 h 6867525"/>
              <a:gd name="connsiteX151" fmla="*/ 1252376 w 12199272"/>
              <a:gd name="connsiteY151" fmla="*/ 6284809 h 6867525"/>
              <a:gd name="connsiteX152" fmla="*/ 1254599 w 12199272"/>
              <a:gd name="connsiteY152" fmla="*/ 6284837 h 6867525"/>
              <a:gd name="connsiteX153" fmla="*/ 1256730 w 12199272"/>
              <a:gd name="connsiteY153" fmla="*/ 6284927 h 6867525"/>
              <a:gd name="connsiteX154" fmla="*/ 1258821 w 12199272"/>
              <a:gd name="connsiteY154" fmla="*/ 6285090 h 6867525"/>
              <a:gd name="connsiteX155" fmla="*/ 1260894 w 12199272"/>
              <a:gd name="connsiteY155" fmla="*/ 6285334 h 6867525"/>
              <a:gd name="connsiteX156" fmla="*/ 1262471 w 12199272"/>
              <a:gd name="connsiteY156" fmla="*/ 6285238 h 6867525"/>
              <a:gd name="connsiteX157" fmla="*/ 1263347 w 12199272"/>
              <a:gd name="connsiteY157" fmla="*/ 6284809 h 6867525"/>
              <a:gd name="connsiteX158" fmla="*/ 1263848 w 12199272"/>
              <a:gd name="connsiteY158" fmla="*/ 6284564 h 6867525"/>
              <a:gd name="connsiteX159" fmla="*/ 1264877 w 12199272"/>
              <a:gd name="connsiteY159" fmla="*/ 6283414 h 6867525"/>
              <a:gd name="connsiteX160" fmla="*/ 1265415 w 12199272"/>
              <a:gd name="connsiteY160" fmla="*/ 6281888 h 6867525"/>
              <a:gd name="connsiteX161" fmla="*/ 1268444 w 12199272"/>
              <a:gd name="connsiteY161" fmla="*/ 6261097 h 6867525"/>
              <a:gd name="connsiteX162" fmla="*/ 1270750 w 12199272"/>
              <a:gd name="connsiteY162" fmla="*/ 6245263 h 6867525"/>
              <a:gd name="connsiteX163" fmla="*/ 1270687 w 12199272"/>
              <a:gd name="connsiteY163" fmla="*/ 6243692 h 6867525"/>
              <a:gd name="connsiteX164" fmla="*/ 1264312 w 12199272"/>
              <a:gd name="connsiteY164" fmla="*/ 6240006 h 6867525"/>
              <a:gd name="connsiteX165" fmla="*/ 1257574 w 12199272"/>
              <a:gd name="connsiteY165" fmla="*/ 6239237 h 6867525"/>
              <a:gd name="connsiteX166" fmla="*/ 1254739 w 12199272"/>
              <a:gd name="connsiteY166" fmla="*/ 6239132 h 6867525"/>
              <a:gd name="connsiteX167" fmla="*/ 1017052 w 12199272"/>
              <a:gd name="connsiteY167" fmla="*/ 6236996 h 6867525"/>
              <a:gd name="connsiteX168" fmla="*/ 1010253 w 12199272"/>
              <a:gd name="connsiteY168" fmla="*/ 6237334 h 6867525"/>
              <a:gd name="connsiteX169" fmla="*/ 1003864 w 12199272"/>
              <a:gd name="connsiteY169" fmla="*/ 6238297 h 6867525"/>
              <a:gd name="connsiteX170" fmla="*/ 997926 w 12199272"/>
              <a:gd name="connsiteY170" fmla="*/ 6239809 h 6867525"/>
              <a:gd name="connsiteX171" fmla="*/ 992476 w 12199272"/>
              <a:gd name="connsiteY171" fmla="*/ 6241797 h 6867525"/>
              <a:gd name="connsiteX172" fmla="*/ 987553 w 12199272"/>
              <a:gd name="connsiteY172" fmla="*/ 6244183 h 6867525"/>
              <a:gd name="connsiteX173" fmla="*/ 983198 w 12199272"/>
              <a:gd name="connsiteY173" fmla="*/ 6246894 h 6867525"/>
              <a:gd name="connsiteX174" fmla="*/ 979447 w 12199272"/>
              <a:gd name="connsiteY174" fmla="*/ 6249853 h 6867525"/>
              <a:gd name="connsiteX175" fmla="*/ 973919 w 12199272"/>
              <a:gd name="connsiteY175" fmla="*/ 6256215 h 6867525"/>
              <a:gd name="connsiteX176" fmla="*/ 973919 w 12199272"/>
              <a:gd name="connsiteY176" fmla="*/ 6244763 h 6867525"/>
              <a:gd name="connsiteX177" fmla="*/ 973606 w 12199272"/>
              <a:gd name="connsiteY177" fmla="*/ 6243165 h 6867525"/>
              <a:gd name="connsiteX178" fmla="*/ 972754 w 12199272"/>
              <a:gd name="connsiteY178" fmla="*/ 6241860 h 6867525"/>
              <a:gd name="connsiteX179" fmla="*/ 971489 w 12199272"/>
              <a:gd name="connsiteY179" fmla="*/ 6240979 h 6867525"/>
              <a:gd name="connsiteX180" fmla="*/ 969940 w 12199272"/>
              <a:gd name="connsiteY180" fmla="*/ 6240657 h 6867525"/>
              <a:gd name="connsiteX181" fmla="*/ 934469 w 12199272"/>
              <a:gd name="connsiteY181" fmla="*/ 6240657 h 6867525"/>
              <a:gd name="connsiteX182" fmla="*/ 932920 w 12199272"/>
              <a:gd name="connsiteY182" fmla="*/ 6240979 h 6867525"/>
              <a:gd name="connsiteX183" fmla="*/ 931655 w 12199272"/>
              <a:gd name="connsiteY183" fmla="*/ 6241860 h 6867525"/>
              <a:gd name="connsiteX184" fmla="*/ 930803 w 12199272"/>
              <a:gd name="connsiteY184" fmla="*/ 6243165 h 6867525"/>
              <a:gd name="connsiteX185" fmla="*/ 930490 w 12199272"/>
              <a:gd name="connsiteY185" fmla="*/ 6244763 h 6867525"/>
              <a:gd name="connsiteX186" fmla="*/ 930490 w 12199272"/>
              <a:gd name="connsiteY186" fmla="*/ 6446130 h 6867525"/>
              <a:gd name="connsiteX187" fmla="*/ 930803 w 12199272"/>
              <a:gd name="connsiteY187" fmla="*/ 6447729 h 6867525"/>
              <a:gd name="connsiteX188" fmla="*/ 931655 w 12199272"/>
              <a:gd name="connsiteY188" fmla="*/ 6449034 h 6867525"/>
              <a:gd name="connsiteX189" fmla="*/ 932920 w 12199272"/>
              <a:gd name="connsiteY189" fmla="*/ 6449914 h 6867525"/>
              <a:gd name="connsiteX190" fmla="*/ 934469 w 12199272"/>
              <a:gd name="connsiteY190" fmla="*/ 6450237 h 6867525"/>
              <a:gd name="connsiteX191" fmla="*/ 971418 w 12199272"/>
              <a:gd name="connsiteY191" fmla="*/ 6450237 h 6867525"/>
              <a:gd name="connsiteX192" fmla="*/ 972966 w 12199272"/>
              <a:gd name="connsiteY192" fmla="*/ 6449914 h 6867525"/>
              <a:gd name="connsiteX193" fmla="*/ 974230 w 12199272"/>
              <a:gd name="connsiteY193" fmla="*/ 6449034 h 6867525"/>
              <a:gd name="connsiteX194" fmla="*/ 975083 w 12199272"/>
              <a:gd name="connsiteY194" fmla="*/ 6447729 h 6867525"/>
              <a:gd name="connsiteX195" fmla="*/ 975395 w 12199272"/>
              <a:gd name="connsiteY195" fmla="*/ 6446130 h 6867525"/>
              <a:gd name="connsiteX196" fmla="*/ 975395 w 12199272"/>
              <a:gd name="connsiteY196" fmla="*/ 6380378 h 6867525"/>
              <a:gd name="connsiteX197" fmla="*/ 978285 w 12199272"/>
              <a:gd name="connsiteY197" fmla="*/ 6383485 h 6867525"/>
              <a:gd name="connsiteX198" fmla="*/ 981835 w 12199272"/>
              <a:gd name="connsiteY198" fmla="*/ 6386364 h 6867525"/>
              <a:gd name="connsiteX199" fmla="*/ 986016 w 12199272"/>
              <a:gd name="connsiteY199" fmla="*/ 6388958 h 6867525"/>
              <a:gd name="connsiteX200" fmla="*/ 990795 w 12199272"/>
              <a:gd name="connsiteY200" fmla="*/ 6391208 h 6867525"/>
              <a:gd name="connsiteX201" fmla="*/ 996142 w 12199272"/>
              <a:gd name="connsiteY201" fmla="*/ 6393057 h 6867525"/>
              <a:gd name="connsiteX202" fmla="*/ 1002026 w 12199272"/>
              <a:gd name="connsiteY202" fmla="*/ 6394450 h 6867525"/>
              <a:gd name="connsiteX203" fmla="*/ 1008415 w 12199272"/>
              <a:gd name="connsiteY203" fmla="*/ 6395327 h 6867525"/>
              <a:gd name="connsiteX204" fmla="*/ 1015278 w 12199272"/>
              <a:gd name="connsiteY204" fmla="*/ 6395632 h 6867525"/>
              <a:gd name="connsiteX205" fmla="*/ 1020801 w 12199272"/>
              <a:gd name="connsiteY205" fmla="*/ 6395428 h 6867525"/>
              <a:gd name="connsiteX206" fmla="*/ 1026165 w 12199272"/>
              <a:gd name="connsiteY206" fmla="*/ 6394823 h 6867525"/>
              <a:gd name="connsiteX207" fmla="*/ 1031359 w 12199272"/>
              <a:gd name="connsiteY207" fmla="*/ 6393828 h 6867525"/>
              <a:gd name="connsiteX208" fmla="*/ 1036375 w 12199272"/>
              <a:gd name="connsiteY208" fmla="*/ 6392455 h 6867525"/>
              <a:gd name="connsiteX209" fmla="*/ 1041203 w 12199272"/>
              <a:gd name="connsiteY209" fmla="*/ 6390715 h 6867525"/>
              <a:gd name="connsiteX210" fmla="*/ 1045833 w 12199272"/>
              <a:gd name="connsiteY210" fmla="*/ 6388620 h 6867525"/>
              <a:gd name="connsiteX211" fmla="*/ 1050256 w 12199272"/>
              <a:gd name="connsiteY211" fmla="*/ 6386181 h 6867525"/>
              <a:gd name="connsiteX212" fmla="*/ 1054462 w 12199272"/>
              <a:gd name="connsiteY212" fmla="*/ 6383409 h 6867525"/>
              <a:gd name="connsiteX213" fmla="*/ 1058363 w 12199272"/>
              <a:gd name="connsiteY213" fmla="*/ 6380378 h 6867525"/>
              <a:gd name="connsiteX214" fmla="*/ 1062187 w 12199272"/>
              <a:gd name="connsiteY214" fmla="*/ 6376912 h 6867525"/>
              <a:gd name="connsiteX215" fmla="*/ 1065687 w 12199272"/>
              <a:gd name="connsiteY215" fmla="*/ 6373209 h 6867525"/>
              <a:gd name="connsiteX216" fmla="*/ 1068932 w 12199272"/>
              <a:gd name="connsiteY216" fmla="*/ 6369219 h 6867525"/>
              <a:gd name="connsiteX217" fmla="*/ 1071913 w 12199272"/>
              <a:gd name="connsiteY217" fmla="*/ 6364953 h 6867525"/>
              <a:gd name="connsiteX218" fmla="*/ 1074621 w 12199272"/>
              <a:gd name="connsiteY218" fmla="*/ 6360423 h 6867525"/>
              <a:gd name="connsiteX219" fmla="*/ 1077046 w 12199272"/>
              <a:gd name="connsiteY219" fmla="*/ 6355639 h 6867525"/>
              <a:gd name="connsiteX220" fmla="*/ 1077680 w 12199272"/>
              <a:gd name="connsiteY220" fmla="*/ 6354143 h 6867525"/>
              <a:gd name="connsiteX221" fmla="*/ 1081008 w 12199272"/>
              <a:gd name="connsiteY221" fmla="*/ 6345356 h 6867525"/>
              <a:gd name="connsiteX222" fmla="*/ 1082527 w 12199272"/>
              <a:gd name="connsiteY222" fmla="*/ 6339880 h 6867525"/>
              <a:gd name="connsiteX223" fmla="*/ 1083727 w 12199272"/>
              <a:gd name="connsiteY223" fmla="*/ 6334177 h 6867525"/>
              <a:gd name="connsiteX224" fmla="*/ 1084591 w 12199272"/>
              <a:gd name="connsiteY224" fmla="*/ 6328315 h 6867525"/>
              <a:gd name="connsiteX225" fmla="*/ 1085119 w 12199272"/>
              <a:gd name="connsiteY225" fmla="*/ 6322249 h 6867525"/>
              <a:gd name="connsiteX226" fmla="*/ 1085297 w 12199272"/>
              <a:gd name="connsiteY226" fmla="*/ 6316009 h 6867525"/>
              <a:gd name="connsiteX227" fmla="*/ 1085138 w 12199272"/>
              <a:gd name="connsiteY227" fmla="*/ 6309886 h 6867525"/>
              <a:gd name="connsiteX228" fmla="*/ 1084666 w 12199272"/>
              <a:gd name="connsiteY228" fmla="*/ 6303923 h 6867525"/>
              <a:gd name="connsiteX229" fmla="*/ 1083885 w 12199272"/>
              <a:gd name="connsiteY229" fmla="*/ 6298132 h 6867525"/>
              <a:gd name="connsiteX230" fmla="*/ 1082801 w 12199272"/>
              <a:gd name="connsiteY230" fmla="*/ 6292525 h 6867525"/>
              <a:gd name="connsiteX231" fmla="*/ 1081418 w 12199272"/>
              <a:gd name="connsiteY231" fmla="*/ 6287115 h 6867525"/>
              <a:gd name="connsiteX232" fmla="*/ 1079741 w 12199272"/>
              <a:gd name="connsiteY232" fmla="*/ 6281913 h 6867525"/>
              <a:gd name="connsiteX233" fmla="*/ 1078509 w 12199272"/>
              <a:gd name="connsiteY233" fmla="*/ 6278790 h 6867525"/>
              <a:gd name="connsiteX234" fmla="*/ 1077776 w 12199272"/>
              <a:gd name="connsiteY234" fmla="*/ 6276931 h 6867525"/>
              <a:gd name="connsiteX235" fmla="*/ 1075527 w 12199272"/>
              <a:gd name="connsiteY235" fmla="*/ 6272183 h 6867525"/>
              <a:gd name="connsiteX236" fmla="*/ 1072999 w 12199272"/>
              <a:gd name="connsiteY236" fmla="*/ 6267679 h 6867525"/>
              <a:gd name="connsiteX237" fmla="*/ 1070198 w 12199272"/>
              <a:gd name="connsiteY237" fmla="*/ 6263433 h 6867525"/>
              <a:gd name="connsiteX238" fmla="*/ 1067128 w 12199272"/>
              <a:gd name="connsiteY238" fmla="*/ 6259457 h 6867525"/>
              <a:gd name="connsiteX239" fmla="*/ 1064203 w 12199272"/>
              <a:gd name="connsiteY239" fmla="*/ 6256215 h 6867525"/>
              <a:gd name="connsiteX240" fmla="*/ 1060201 w 12199272"/>
              <a:gd name="connsiteY240" fmla="*/ 6252361 h 6867525"/>
              <a:gd name="connsiteX241" fmla="*/ 1056355 w 12199272"/>
              <a:gd name="connsiteY241" fmla="*/ 6249267 h 6867525"/>
              <a:gd name="connsiteX242" fmla="*/ 1052260 w 12199272"/>
              <a:gd name="connsiteY242" fmla="*/ 6246491 h 6867525"/>
              <a:gd name="connsiteX243" fmla="*/ 1047922 w 12199272"/>
              <a:gd name="connsiteY243" fmla="*/ 6244045 h 6867525"/>
              <a:gd name="connsiteX244" fmla="*/ 1043344 w 12199272"/>
              <a:gd name="connsiteY244" fmla="*/ 6241942 h 6867525"/>
              <a:gd name="connsiteX245" fmla="*/ 1038533 w 12199272"/>
              <a:gd name="connsiteY245" fmla="*/ 6240194 h 6867525"/>
              <a:gd name="connsiteX246" fmla="*/ 1033494 w 12199272"/>
              <a:gd name="connsiteY246" fmla="*/ 6238813 h 6867525"/>
              <a:gd name="connsiteX247" fmla="*/ 1028230 w 12199272"/>
              <a:gd name="connsiteY247" fmla="*/ 6237812 h 6867525"/>
              <a:gd name="connsiteX248" fmla="*/ 1022748 w 12199272"/>
              <a:gd name="connsiteY248" fmla="*/ 6237202 h 6867525"/>
              <a:gd name="connsiteX249" fmla="*/ 1017052 w 12199272"/>
              <a:gd name="connsiteY249" fmla="*/ 6236996 h 6867525"/>
              <a:gd name="connsiteX250" fmla="*/ 1518121 w 12199272"/>
              <a:gd name="connsiteY250" fmla="*/ 6236081 h 6867525"/>
              <a:gd name="connsiteX251" fmla="*/ 1512547 w 12199272"/>
              <a:gd name="connsiteY251" fmla="*/ 6236268 h 6867525"/>
              <a:gd name="connsiteX252" fmla="*/ 1507086 w 12199272"/>
              <a:gd name="connsiteY252" fmla="*/ 6236823 h 6867525"/>
              <a:gd name="connsiteX253" fmla="*/ 1501751 w 12199272"/>
              <a:gd name="connsiteY253" fmla="*/ 6237736 h 6867525"/>
              <a:gd name="connsiteX254" fmla="*/ 1496554 w 12199272"/>
              <a:gd name="connsiteY254" fmla="*/ 6238997 h 6867525"/>
              <a:gd name="connsiteX255" fmla="*/ 1491508 w 12199272"/>
              <a:gd name="connsiteY255" fmla="*/ 6240598 h 6867525"/>
              <a:gd name="connsiteX256" fmla="*/ 1486625 w 12199272"/>
              <a:gd name="connsiteY256" fmla="*/ 6242529 h 6867525"/>
              <a:gd name="connsiteX257" fmla="*/ 1481918 w 12199272"/>
              <a:gd name="connsiteY257" fmla="*/ 6244779 h 6867525"/>
              <a:gd name="connsiteX258" fmla="*/ 1477398 w 12199272"/>
              <a:gd name="connsiteY258" fmla="*/ 6247341 h 6867525"/>
              <a:gd name="connsiteX259" fmla="*/ 1473080 w 12199272"/>
              <a:gd name="connsiteY259" fmla="*/ 6250204 h 6867525"/>
              <a:gd name="connsiteX260" fmla="*/ 1468975 w 12199272"/>
              <a:gd name="connsiteY260" fmla="*/ 6253359 h 6867525"/>
              <a:gd name="connsiteX261" fmla="*/ 1465095 w 12199272"/>
              <a:gd name="connsiteY261" fmla="*/ 6256796 h 6867525"/>
              <a:gd name="connsiteX262" fmla="*/ 1461455 w 12199272"/>
              <a:gd name="connsiteY262" fmla="*/ 6260506 h 6867525"/>
              <a:gd name="connsiteX263" fmla="*/ 1458064 w 12199272"/>
              <a:gd name="connsiteY263" fmla="*/ 6264480 h 6867525"/>
              <a:gd name="connsiteX264" fmla="*/ 1454938 w 12199272"/>
              <a:gd name="connsiteY264" fmla="*/ 6268707 h 6867525"/>
              <a:gd name="connsiteX265" fmla="*/ 1452087 w 12199272"/>
              <a:gd name="connsiteY265" fmla="*/ 6273179 h 6867525"/>
              <a:gd name="connsiteX266" fmla="*/ 1449525 w 12199272"/>
              <a:gd name="connsiteY266" fmla="*/ 6277886 h 6867525"/>
              <a:gd name="connsiteX267" fmla="*/ 1447263 w 12199272"/>
              <a:gd name="connsiteY267" fmla="*/ 6282819 h 6867525"/>
              <a:gd name="connsiteX268" fmla="*/ 1445310 w 12199272"/>
              <a:gd name="connsiteY268" fmla="*/ 6287986 h 6867525"/>
              <a:gd name="connsiteX269" fmla="*/ 1443694 w 12199272"/>
              <a:gd name="connsiteY269" fmla="*/ 6293322 h 6867525"/>
              <a:gd name="connsiteX270" fmla="*/ 1442411 w 12199272"/>
              <a:gd name="connsiteY270" fmla="*/ 6298874 h 6867525"/>
              <a:gd name="connsiteX271" fmla="*/ 1441479 w 12199272"/>
              <a:gd name="connsiteY271" fmla="*/ 6304614 h 6867525"/>
              <a:gd name="connsiteX272" fmla="*/ 1440910 w 12199272"/>
              <a:gd name="connsiteY272" fmla="*/ 6310532 h 6867525"/>
              <a:gd name="connsiteX273" fmla="*/ 1440718 w 12199272"/>
              <a:gd name="connsiteY273" fmla="*/ 6316619 h 6867525"/>
              <a:gd name="connsiteX274" fmla="*/ 1440899 w 12199272"/>
              <a:gd name="connsiteY274" fmla="*/ 6322418 h 6867525"/>
              <a:gd name="connsiteX275" fmla="*/ 1441435 w 12199272"/>
              <a:gd name="connsiteY275" fmla="*/ 6328066 h 6867525"/>
              <a:gd name="connsiteX276" fmla="*/ 1442314 w 12199272"/>
              <a:gd name="connsiteY276" fmla="*/ 6333554 h 6867525"/>
              <a:gd name="connsiteX277" fmla="*/ 1443524 w 12199272"/>
              <a:gd name="connsiteY277" fmla="*/ 6338874 h 6867525"/>
              <a:gd name="connsiteX278" fmla="*/ 1445055 w 12199272"/>
              <a:gd name="connsiteY278" fmla="*/ 6344017 h 6867525"/>
              <a:gd name="connsiteX279" fmla="*/ 1446894 w 12199272"/>
              <a:gd name="connsiteY279" fmla="*/ 6348975 h 6867525"/>
              <a:gd name="connsiteX280" fmla="*/ 1449030 w 12199272"/>
              <a:gd name="connsiteY280" fmla="*/ 6353738 h 6867525"/>
              <a:gd name="connsiteX281" fmla="*/ 1451452 w 12199272"/>
              <a:gd name="connsiteY281" fmla="*/ 6358299 h 6867525"/>
              <a:gd name="connsiteX282" fmla="*/ 1454147 w 12199272"/>
              <a:gd name="connsiteY282" fmla="*/ 6362650 h 6867525"/>
              <a:gd name="connsiteX283" fmla="*/ 1457105 w 12199272"/>
              <a:gd name="connsiteY283" fmla="*/ 6366781 h 6867525"/>
              <a:gd name="connsiteX284" fmla="*/ 1460313 w 12199272"/>
              <a:gd name="connsiteY284" fmla="*/ 6370685 h 6867525"/>
              <a:gd name="connsiteX285" fmla="*/ 1463761 w 12199272"/>
              <a:gd name="connsiteY285" fmla="*/ 6374352 h 6867525"/>
              <a:gd name="connsiteX286" fmla="*/ 1467436 w 12199272"/>
              <a:gd name="connsiteY286" fmla="*/ 6377775 h 6867525"/>
              <a:gd name="connsiteX287" fmla="*/ 1471328 w 12199272"/>
              <a:gd name="connsiteY287" fmla="*/ 6380944 h 6867525"/>
              <a:gd name="connsiteX288" fmla="*/ 1475425 w 12199272"/>
              <a:gd name="connsiteY288" fmla="*/ 6383852 h 6867525"/>
              <a:gd name="connsiteX289" fmla="*/ 1479714 w 12199272"/>
              <a:gd name="connsiteY289" fmla="*/ 6386489 h 6867525"/>
              <a:gd name="connsiteX290" fmla="*/ 1484185 w 12199272"/>
              <a:gd name="connsiteY290" fmla="*/ 6388849 h 6867525"/>
              <a:gd name="connsiteX291" fmla="*/ 1488826 w 12199272"/>
              <a:gd name="connsiteY291" fmla="*/ 6390921 h 6867525"/>
              <a:gd name="connsiteX292" fmla="*/ 1493626 w 12199272"/>
              <a:gd name="connsiteY292" fmla="*/ 6392697 h 6867525"/>
              <a:gd name="connsiteX293" fmla="*/ 1498572 w 12199272"/>
              <a:gd name="connsiteY293" fmla="*/ 6394170 h 6867525"/>
              <a:gd name="connsiteX294" fmla="*/ 1503654 w 12199272"/>
              <a:gd name="connsiteY294" fmla="*/ 6395330 h 6867525"/>
              <a:gd name="connsiteX295" fmla="*/ 1508860 w 12199272"/>
              <a:gd name="connsiteY295" fmla="*/ 6396169 h 6867525"/>
              <a:gd name="connsiteX296" fmla="*/ 1514178 w 12199272"/>
              <a:gd name="connsiteY296" fmla="*/ 6396678 h 6867525"/>
              <a:gd name="connsiteX297" fmla="*/ 1519597 w 12199272"/>
              <a:gd name="connsiteY297" fmla="*/ 6396850 h 6867525"/>
              <a:gd name="connsiteX298" fmla="*/ 1526428 w 12199272"/>
              <a:gd name="connsiteY298" fmla="*/ 6396579 h 6867525"/>
              <a:gd name="connsiteX299" fmla="*/ 1532938 w 12199272"/>
              <a:gd name="connsiteY299" fmla="*/ 6395786 h 6867525"/>
              <a:gd name="connsiteX300" fmla="*/ 1539123 w 12199272"/>
              <a:gd name="connsiteY300" fmla="*/ 6394505 h 6867525"/>
              <a:gd name="connsiteX301" fmla="*/ 1544980 w 12199272"/>
              <a:gd name="connsiteY301" fmla="*/ 6392768 h 6867525"/>
              <a:gd name="connsiteX302" fmla="*/ 1550506 w 12199272"/>
              <a:gd name="connsiteY302" fmla="*/ 6390607 h 6867525"/>
              <a:gd name="connsiteX303" fmla="*/ 1555698 w 12199272"/>
              <a:gd name="connsiteY303" fmla="*/ 6388054 h 6867525"/>
              <a:gd name="connsiteX304" fmla="*/ 1560552 w 12199272"/>
              <a:gd name="connsiteY304" fmla="*/ 6385143 h 6867525"/>
              <a:gd name="connsiteX305" fmla="*/ 1565064 w 12199272"/>
              <a:gd name="connsiteY305" fmla="*/ 6381905 h 6867525"/>
              <a:gd name="connsiteX306" fmla="*/ 1569232 w 12199272"/>
              <a:gd name="connsiteY306" fmla="*/ 6378373 h 6867525"/>
              <a:gd name="connsiteX307" fmla="*/ 1573052 w 12199272"/>
              <a:gd name="connsiteY307" fmla="*/ 6374579 h 6867525"/>
              <a:gd name="connsiteX308" fmla="*/ 1576520 w 12199272"/>
              <a:gd name="connsiteY308" fmla="*/ 6370556 h 6867525"/>
              <a:gd name="connsiteX309" fmla="*/ 1579635 w 12199272"/>
              <a:gd name="connsiteY309" fmla="*/ 6366337 h 6867525"/>
              <a:gd name="connsiteX310" fmla="*/ 1582391 w 12199272"/>
              <a:gd name="connsiteY310" fmla="*/ 6361953 h 6867525"/>
              <a:gd name="connsiteX311" fmla="*/ 1584786 w 12199272"/>
              <a:gd name="connsiteY311" fmla="*/ 6357438 h 6867525"/>
              <a:gd name="connsiteX312" fmla="*/ 1586236 w 12199272"/>
              <a:gd name="connsiteY312" fmla="*/ 6354142 h 6867525"/>
              <a:gd name="connsiteX313" fmla="*/ 1586816 w 12199272"/>
              <a:gd name="connsiteY313" fmla="*/ 6352822 h 6867525"/>
              <a:gd name="connsiteX314" fmla="*/ 1588479 w 12199272"/>
              <a:gd name="connsiteY314" fmla="*/ 6348140 h 6867525"/>
              <a:gd name="connsiteX315" fmla="*/ 1588664 w 12199272"/>
              <a:gd name="connsiteY315" fmla="*/ 6346485 h 6867525"/>
              <a:gd name="connsiteX316" fmla="*/ 1588235 w 12199272"/>
              <a:gd name="connsiteY316" fmla="*/ 6344942 h 6867525"/>
              <a:gd name="connsiteX317" fmla="*/ 1587274 w 12199272"/>
              <a:gd name="connsiteY317" fmla="*/ 6343685 h 6867525"/>
              <a:gd name="connsiteX318" fmla="*/ 1585862 w 12199272"/>
              <a:gd name="connsiteY318" fmla="*/ 6342887 h 6867525"/>
              <a:gd name="connsiteX319" fmla="*/ 1553627 w 12199272"/>
              <a:gd name="connsiteY319" fmla="*/ 6332703 h 6867525"/>
              <a:gd name="connsiteX320" fmla="*/ 1552160 w 12199272"/>
              <a:gd name="connsiteY320" fmla="*/ 6332537 h 6867525"/>
              <a:gd name="connsiteX321" fmla="*/ 1550782 w 12199272"/>
              <a:gd name="connsiteY321" fmla="*/ 6332922 h 6867525"/>
              <a:gd name="connsiteX322" fmla="*/ 1549622 w 12199272"/>
              <a:gd name="connsiteY322" fmla="*/ 6333788 h 6867525"/>
              <a:gd name="connsiteX323" fmla="*/ 1548805 w 12199272"/>
              <a:gd name="connsiteY323" fmla="*/ 6335066 h 6867525"/>
              <a:gd name="connsiteX324" fmla="*/ 1546706 w 12199272"/>
              <a:gd name="connsiteY324" fmla="*/ 6339274 h 6867525"/>
              <a:gd name="connsiteX325" fmla="*/ 1543941 w 12199272"/>
              <a:gd name="connsiteY325" fmla="*/ 6343224 h 6867525"/>
              <a:gd name="connsiteX326" fmla="*/ 1540495 w 12199272"/>
              <a:gd name="connsiteY326" fmla="*/ 6346776 h 6867525"/>
              <a:gd name="connsiteX327" fmla="*/ 1536352 w 12199272"/>
              <a:gd name="connsiteY327" fmla="*/ 6349785 h 6867525"/>
              <a:gd name="connsiteX328" fmla="*/ 1531498 w 12199272"/>
              <a:gd name="connsiteY328" fmla="*/ 6352111 h 6867525"/>
              <a:gd name="connsiteX329" fmla="*/ 1525918 w 12199272"/>
              <a:gd name="connsiteY329" fmla="*/ 6353611 h 6867525"/>
              <a:gd name="connsiteX330" fmla="*/ 1519597 w 12199272"/>
              <a:gd name="connsiteY330" fmla="*/ 6354142 h 6867525"/>
              <a:gd name="connsiteX331" fmla="*/ 1514604 w 12199272"/>
              <a:gd name="connsiteY331" fmla="*/ 6353811 h 6867525"/>
              <a:gd name="connsiteX332" fmla="*/ 1509815 w 12199272"/>
              <a:gd name="connsiteY332" fmla="*/ 6352827 h 6867525"/>
              <a:gd name="connsiteX333" fmla="*/ 1505287 w 12199272"/>
              <a:gd name="connsiteY333" fmla="*/ 6351203 h 6867525"/>
              <a:gd name="connsiteX334" fmla="*/ 1501076 w 12199272"/>
              <a:gd name="connsiteY334" fmla="*/ 6348949 h 6867525"/>
              <a:gd name="connsiteX335" fmla="*/ 1497242 w 12199272"/>
              <a:gd name="connsiteY335" fmla="*/ 6346080 h 6867525"/>
              <a:gd name="connsiteX336" fmla="*/ 1493840 w 12199272"/>
              <a:gd name="connsiteY336" fmla="*/ 6342607 h 6867525"/>
              <a:gd name="connsiteX337" fmla="*/ 1490928 w 12199272"/>
              <a:gd name="connsiteY337" fmla="*/ 6338542 h 6867525"/>
              <a:gd name="connsiteX338" fmla="*/ 1488564 w 12199272"/>
              <a:gd name="connsiteY338" fmla="*/ 6333899 h 6867525"/>
              <a:gd name="connsiteX339" fmla="*/ 1486804 w 12199272"/>
              <a:gd name="connsiteY339" fmla="*/ 6328689 h 6867525"/>
              <a:gd name="connsiteX340" fmla="*/ 1485706 w 12199272"/>
              <a:gd name="connsiteY340" fmla="*/ 6322925 h 6867525"/>
              <a:gd name="connsiteX341" fmla="*/ 1485327 w 12199272"/>
              <a:gd name="connsiteY341" fmla="*/ 6316619 h 6867525"/>
              <a:gd name="connsiteX342" fmla="*/ 1485692 w 12199272"/>
              <a:gd name="connsiteY342" fmla="*/ 6310236 h 6867525"/>
              <a:gd name="connsiteX343" fmla="*/ 1486752 w 12199272"/>
              <a:gd name="connsiteY343" fmla="*/ 6304410 h 6867525"/>
              <a:gd name="connsiteX344" fmla="*/ 1488456 w 12199272"/>
              <a:gd name="connsiteY344" fmla="*/ 6299150 h 6867525"/>
              <a:gd name="connsiteX345" fmla="*/ 1490750 w 12199272"/>
              <a:gd name="connsiteY345" fmla="*/ 6294468 h 6867525"/>
              <a:gd name="connsiteX346" fmla="*/ 1493584 w 12199272"/>
              <a:gd name="connsiteY346" fmla="*/ 6290374 h 6867525"/>
              <a:gd name="connsiteX347" fmla="*/ 1496906 w 12199272"/>
              <a:gd name="connsiteY347" fmla="*/ 6286880 h 6867525"/>
              <a:gd name="connsiteX348" fmla="*/ 1500663 w 12199272"/>
              <a:gd name="connsiteY348" fmla="*/ 6283997 h 6867525"/>
              <a:gd name="connsiteX349" fmla="*/ 1504804 w 12199272"/>
              <a:gd name="connsiteY349" fmla="*/ 6281735 h 6867525"/>
              <a:gd name="connsiteX350" fmla="*/ 1509276 w 12199272"/>
              <a:gd name="connsiteY350" fmla="*/ 6280106 h 6867525"/>
              <a:gd name="connsiteX351" fmla="*/ 1514028 w 12199272"/>
              <a:gd name="connsiteY351" fmla="*/ 6279120 h 6867525"/>
              <a:gd name="connsiteX352" fmla="*/ 1519008 w 12199272"/>
              <a:gd name="connsiteY352" fmla="*/ 6278789 h 6867525"/>
              <a:gd name="connsiteX353" fmla="*/ 1525289 w 12199272"/>
              <a:gd name="connsiteY353" fmla="*/ 6279308 h 6867525"/>
              <a:gd name="connsiteX354" fmla="*/ 1530765 w 12199272"/>
              <a:gd name="connsiteY354" fmla="*/ 6280776 h 6867525"/>
              <a:gd name="connsiteX355" fmla="*/ 1535471 w 12199272"/>
              <a:gd name="connsiteY355" fmla="*/ 6283064 h 6867525"/>
              <a:gd name="connsiteX356" fmla="*/ 1539447 w 12199272"/>
              <a:gd name="connsiteY356" fmla="*/ 6286041 h 6867525"/>
              <a:gd name="connsiteX357" fmla="*/ 1542728 w 12199272"/>
              <a:gd name="connsiteY357" fmla="*/ 6289575 h 6867525"/>
              <a:gd name="connsiteX358" fmla="*/ 1545352 w 12199272"/>
              <a:gd name="connsiteY358" fmla="*/ 6293537 h 6867525"/>
              <a:gd name="connsiteX359" fmla="*/ 1547356 w 12199272"/>
              <a:gd name="connsiteY359" fmla="*/ 6297795 h 6867525"/>
              <a:gd name="connsiteX360" fmla="*/ 1548161 w 12199272"/>
              <a:gd name="connsiteY360" fmla="*/ 6299099 h 6867525"/>
              <a:gd name="connsiteX361" fmla="*/ 1549322 w 12199272"/>
              <a:gd name="connsiteY361" fmla="*/ 6299988 h 6867525"/>
              <a:gd name="connsiteX362" fmla="*/ 1550709 w 12199272"/>
              <a:gd name="connsiteY362" fmla="*/ 6300390 h 6867525"/>
              <a:gd name="connsiteX363" fmla="*/ 1552192 w 12199272"/>
              <a:gd name="connsiteY363" fmla="*/ 6300231 h 6867525"/>
              <a:gd name="connsiteX364" fmla="*/ 1584982 w 12199272"/>
              <a:gd name="connsiteY364" fmla="*/ 6290024 h 6867525"/>
              <a:gd name="connsiteX365" fmla="*/ 1586395 w 12199272"/>
              <a:gd name="connsiteY365" fmla="*/ 6289235 h 6867525"/>
              <a:gd name="connsiteX366" fmla="*/ 1587360 w 12199272"/>
              <a:gd name="connsiteY366" fmla="*/ 6287986 h 6867525"/>
              <a:gd name="connsiteX367" fmla="*/ 1587797 w 12199272"/>
              <a:gd name="connsiteY367" fmla="*/ 6286448 h 6867525"/>
              <a:gd name="connsiteX368" fmla="*/ 1587624 w 12199272"/>
              <a:gd name="connsiteY368" fmla="*/ 6284794 h 6867525"/>
              <a:gd name="connsiteX369" fmla="*/ 1586087 w 12199272"/>
              <a:gd name="connsiteY369" fmla="*/ 6280308 h 6867525"/>
              <a:gd name="connsiteX370" fmla="*/ 1585447 w 12199272"/>
              <a:gd name="connsiteY370" fmla="*/ 6278789 h 6867525"/>
              <a:gd name="connsiteX371" fmla="*/ 1584229 w 12199272"/>
              <a:gd name="connsiteY371" fmla="*/ 6275899 h 6867525"/>
              <a:gd name="connsiteX372" fmla="*/ 1582051 w 12199272"/>
              <a:gd name="connsiteY372" fmla="*/ 6271591 h 6867525"/>
              <a:gd name="connsiteX373" fmla="*/ 1579553 w 12199272"/>
              <a:gd name="connsiteY373" fmla="*/ 6267410 h 6867525"/>
              <a:gd name="connsiteX374" fmla="*/ 1576736 w 12199272"/>
              <a:gd name="connsiteY374" fmla="*/ 6263381 h 6867525"/>
              <a:gd name="connsiteX375" fmla="*/ 1573599 w 12199272"/>
              <a:gd name="connsiteY375" fmla="*/ 6259529 h 6867525"/>
              <a:gd name="connsiteX376" fmla="*/ 1570144 w 12199272"/>
              <a:gd name="connsiteY376" fmla="*/ 6255880 h 6867525"/>
              <a:gd name="connsiteX377" fmla="*/ 1566370 w 12199272"/>
              <a:gd name="connsiteY377" fmla="*/ 6252459 h 6867525"/>
              <a:gd name="connsiteX378" fmla="*/ 1562278 w 12199272"/>
              <a:gd name="connsiteY378" fmla="*/ 6249291 h 6867525"/>
              <a:gd name="connsiteX379" fmla="*/ 1557868 w 12199272"/>
              <a:gd name="connsiteY379" fmla="*/ 6246401 h 6867525"/>
              <a:gd name="connsiteX380" fmla="*/ 1553140 w 12199272"/>
              <a:gd name="connsiteY380" fmla="*/ 6243814 h 6867525"/>
              <a:gd name="connsiteX381" fmla="*/ 1548095 w 12199272"/>
              <a:gd name="connsiteY381" fmla="*/ 6241556 h 6867525"/>
              <a:gd name="connsiteX382" fmla="*/ 1542733 w 12199272"/>
              <a:gd name="connsiteY382" fmla="*/ 6239653 h 6867525"/>
              <a:gd name="connsiteX383" fmla="*/ 1537054 w 12199272"/>
              <a:gd name="connsiteY383" fmla="*/ 6238128 h 6867525"/>
              <a:gd name="connsiteX384" fmla="*/ 1531059 w 12199272"/>
              <a:gd name="connsiteY384" fmla="*/ 6237008 h 6867525"/>
              <a:gd name="connsiteX385" fmla="*/ 1524748 w 12199272"/>
              <a:gd name="connsiteY385" fmla="*/ 6236317 h 6867525"/>
              <a:gd name="connsiteX386" fmla="*/ 1518121 w 12199272"/>
              <a:gd name="connsiteY386" fmla="*/ 6236081 h 6867525"/>
              <a:gd name="connsiteX387" fmla="*/ 1349948 w 12199272"/>
              <a:gd name="connsiteY387" fmla="*/ 6236081 h 6867525"/>
              <a:gd name="connsiteX388" fmla="*/ 1344301 w 12199272"/>
              <a:gd name="connsiteY388" fmla="*/ 6236268 h 6867525"/>
              <a:gd name="connsiteX389" fmla="*/ 1338773 w 12199272"/>
              <a:gd name="connsiteY389" fmla="*/ 6236823 h 6867525"/>
              <a:gd name="connsiteX390" fmla="*/ 1333377 w 12199272"/>
              <a:gd name="connsiteY390" fmla="*/ 6237735 h 6867525"/>
              <a:gd name="connsiteX391" fmla="*/ 1328124 w 12199272"/>
              <a:gd name="connsiteY391" fmla="*/ 6238996 h 6867525"/>
              <a:gd name="connsiteX392" fmla="*/ 1323028 w 12199272"/>
              <a:gd name="connsiteY392" fmla="*/ 6240595 h 6867525"/>
              <a:gd name="connsiteX393" fmla="*/ 1318101 w 12199272"/>
              <a:gd name="connsiteY393" fmla="*/ 6242523 h 6867525"/>
              <a:gd name="connsiteX394" fmla="*/ 1313353 w 12199272"/>
              <a:gd name="connsiteY394" fmla="*/ 6244771 h 6867525"/>
              <a:gd name="connsiteX395" fmla="*/ 1308799 w 12199272"/>
              <a:gd name="connsiteY395" fmla="*/ 6247328 h 6867525"/>
              <a:gd name="connsiteX396" fmla="*/ 1304450 w 12199272"/>
              <a:gd name="connsiteY396" fmla="*/ 6250186 h 6867525"/>
              <a:gd name="connsiteX397" fmla="*/ 1300319 w 12199272"/>
              <a:gd name="connsiteY397" fmla="*/ 6253334 h 6867525"/>
              <a:gd name="connsiteX398" fmla="*/ 1296416 w 12199272"/>
              <a:gd name="connsiteY398" fmla="*/ 6256763 h 6867525"/>
              <a:gd name="connsiteX399" fmla="*/ 1292756 w 12199272"/>
              <a:gd name="connsiteY399" fmla="*/ 6260463 h 6867525"/>
              <a:gd name="connsiteX400" fmla="*/ 1289350 w 12199272"/>
              <a:gd name="connsiteY400" fmla="*/ 6264425 h 6867525"/>
              <a:gd name="connsiteX401" fmla="*/ 1286210 w 12199272"/>
              <a:gd name="connsiteY401" fmla="*/ 6268638 h 6867525"/>
              <a:gd name="connsiteX402" fmla="*/ 1283349 w 12199272"/>
              <a:gd name="connsiteY402" fmla="*/ 6273094 h 6867525"/>
              <a:gd name="connsiteX403" fmla="*/ 1280778 w 12199272"/>
              <a:gd name="connsiteY403" fmla="*/ 6277783 h 6867525"/>
              <a:gd name="connsiteX404" fmla="*/ 1278511 w 12199272"/>
              <a:gd name="connsiteY404" fmla="*/ 6282695 h 6867525"/>
              <a:gd name="connsiteX405" fmla="*/ 1276559 w 12199272"/>
              <a:gd name="connsiteY405" fmla="*/ 6287821 h 6867525"/>
              <a:gd name="connsiteX406" fmla="*/ 1274934 w 12199272"/>
              <a:gd name="connsiteY406" fmla="*/ 6293150 h 6867525"/>
              <a:gd name="connsiteX407" fmla="*/ 1273649 w 12199272"/>
              <a:gd name="connsiteY407" fmla="*/ 6298673 h 6867525"/>
              <a:gd name="connsiteX408" fmla="*/ 1272716 w 12199272"/>
              <a:gd name="connsiteY408" fmla="*/ 6304381 h 6867525"/>
              <a:gd name="connsiteX409" fmla="*/ 1272147 w 12199272"/>
              <a:gd name="connsiteY409" fmla="*/ 6310264 h 6867525"/>
              <a:gd name="connsiteX410" fmla="*/ 1271955 w 12199272"/>
              <a:gd name="connsiteY410" fmla="*/ 6316313 h 6867525"/>
              <a:gd name="connsiteX411" fmla="*/ 1272132 w 12199272"/>
              <a:gd name="connsiteY411" fmla="*/ 6322114 h 6867525"/>
              <a:gd name="connsiteX412" fmla="*/ 1272655 w 12199272"/>
              <a:gd name="connsiteY412" fmla="*/ 6327767 h 6867525"/>
              <a:gd name="connsiteX413" fmla="*/ 1273513 w 12199272"/>
              <a:gd name="connsiteY413" fmla="*/ 6333262 h 6867525"/>
              <a:gd name="connsiteX414" fmla="*/ 1274696 w 12199272"/>
              <a:gd name="connsiteY414" fmla="*/ 6338592 h 6867525"/>
              <a:gd name="connsiteX415" fmla="*/ 1276193 w 12199272"/>
              <a:gd name="connsiteY415" fmla="*/ 6343746 h 6867525"/>
              <a:gd name="connsiteX416" fmla="*/ 1277993 w 12199272"/>
              <a:gd name="connsiteY416" fmla="*/ 6348717 h 6867525"/>
              <a:gd name="connsiteX417" fmla="*/ 1280085 w 12199272"/>
              <a:gd name="connsiteY417" fmla="*/ 6353496 h 6867525"/>
              <a:gd name="connsiteX418" fmla="*/ 1282459 w 12199272"/>
              <a:gd name="connsiteY418" fmla="*/ 6358074 h 6867525"/>
              <a:gd name="connsiteX419" fmla="*/ 1285104 w 12199272"/>
              <a:gd name="connsiteY419" fmla="*/ 6362441 h 6867525"/>
              <a:gd name="connsiteX420" fmla="*/ 1288009 w 12199272"/>
              <a:gd name="connsiteY420" fmla="*/ 6366591 h 6867525"/>
              <a:gd name="connsiteX421" fmla="*/ 1291163 w 12199272"/>
              <a:gd name="connsiteY421" fmla="*/ 6370513 h 6867525"/>
              <a:gd name="connsiteX422" fmla="*/ 1294555 w 12199272"/>
              <a:gd name="connsiteY422" fmla="*/ 6374200 h 6867525"/>
              <a:gd name="connsiteX423" fmla="*/ 1298175 w 12199272"/>
              <a:gd name="connsiteY423" fmla="*/ 6377641 h 6867525"/>
              <a:gd name="connsiteX424" fmla="*/ 1302013 w 12199272"/>
              <a:gd name="connsiteY424" fmla="*/ 6380829 h 6867525"/>
              <a:gd name="connsiteX425" fmla="*/ 1306056 w 12199272"/>
              <a:gd name="connsiteY425" fmla="*/ 6383755 h 6867525"/>
              <a:gd name="connsiteX426" fmla="*/ 1310295 w 12199272"/>
              <a:gd name="connsiteY426" fmla="*/ 6386411 h 6867525"/>
              <a:gd name="connsiteX427" fmla="*/ 1314719 w 12199272"/>
              <a:gd name="connsiteY427" fmla="*/ 6388786 h 6867525"/>
              <a:gd name="connsiteX428" fmla="*/ 1319316 w 12199272"/>
              <a:gd name="connsiteY428" fmla="*/ 6390873 h 6867525"/>
              <a:gd name="connsiteX429" fmla="*/ 1324077 w 12199272"/>
              <a:gd name="connsiteY429" fmla="*/ 6392663 h 6867525"/>
              <a:gd name="connsiteX430" fmla="*/ 1328989 w 12199272"/>
              <a:gd name="connsiteY430" fmla="*/ 6394147 h 6867525"/>
              <a:gd name="connsiteX431" fmla="*/ 1334044 w 12199272"/>
              <a:gd name="connsiteY431" fmla="*/ 6395317 h 6867525"/>
              <a:gd name="connsiteX432" fmla="*/ 1339229 w 12199272"/>
              <a:gd name="connsiteY432" fmla="*/ 6396163 h 6867525"/>
              <a:gd name="connsiteX433" fmla="*/ 1344534 w 12199272"/>
              <a:gd name="connsiteY433" fmla="*/ 6396677 h 6867525"/>
              <a:gd name="connsiteX434" fmla="*/ 1349948 w 12199272"/>
              <a:gd name="connsiteY434" fmla="*/ 6396850 h 6867525"/>
              <a:gd name="connsiteX435" fmla="*/ 1355397 w 12199272"/>
              <a:gd name="connsiteY435" fmla="*/ 6396677 h 6867525"/>
              <a:gd name="connsiteX436" fmla="*/ 1360730 w 12199272"/>
              <a:gd name="connsiteY436" fmla="*/ 6396163 h 6867525"/>
              <a:gd name="connsiteX437" fmla="*/ 1365938 w 12199272"/>
              <a:gd name="connsiteY437" fmla="*/ 6395317 h 6867525"/>
              <a:gd name="connsiteX438" fmla="*/ 1371010 w 12199272"/>
              <a:gd name="connsiteY438" fmla="*/ 6394147 h 6867525"/>
              <a:gd name="connsiteX439" fmla="*/ 1375936 w 12199272"/>
              <a:gd name="connsiteY439" fmla="*/ 6392663 h 6867525"/>
              <a:gd name="connsiteX440" fmla="*/ 1380706 w 12199272"/>
              <a:gd name="connsiteY440" fmla="*/ 6390873 h 6867525"/>
              <a:gd name="connsiteX441" fmla="*/ 1385308 w 12199272"/>
              <a:gd name="connsiteY441" fmla="*/ 6388786 h 6867525"/>
              <a:gd name="connsiteX442" fmla="*/ 1389734 w 12199272"/>
              <a:gd name="connsiteY442" fmla="*/ 6386411 h 6867525"/>
              <a:gd name="connsiteX443" fmla="*/ 1393971 w 12199272"/>
              <a:gd name="connsiteY443" fmla="*/ 6383755 h 6867525"/>
              <a:gd name="connsiteX444" fmla="*/ 1398010 w 12199272"/>
              <a:gd name="connsiteY444" fmla="*/ 6380829 h 6867525"/>
              <a:gd name="connsiteX445" fmla="*/ 1401841 w 12199272"/>
              <a:gd name="connsiteY445" fmla="*/ 6377641 h 6867525"/>
              <a:gd name="connsiteX446" fmla="*/ 1405453 w 12199272"/>
              <a:gd name="connsiteY446" fmla="*/ 6374200 h 6867525"/>
              <a:gd name="connsiteX447" fmla="*/ 1408836 w 12199272"/>
              <a:gd name="connsiteY447" fmla="*/ 6370513 h 6867525"/>
              <a:gd name="connsiteX448" fmla="*/ 1411979 w 12199272"/>
              <a:gd name="connsiteY448" fmla="*/ 6366591 h 6867525"/>
              <a:gd name="connsiteX449" fmla="*/ 1414872 w 12199272"/>
              <a:gd name="connsiteY449" fmla="*/ 6362441 h 6867525"/>
              <a:gd name="connsiteX450" fmla="*/ 1417504 w 12199272"/>
              <a:gd name="connsiteY450" fmla="*/ 6358074 h 6867525"/>
              <a:gd name="connsiteX451" fmla="*/ 1419533 w 12199272"/>
              <a:gd name="connsiteY451" fmla="*/ 6354142 h 6867525"/>
              <a:gd name="connsiteX452" fmla="*/ 1421947 w 12199272"/>
              <a:gd name="connsiteY452" fmla="*/ 6348717 h 6867525"/>
              <a:gd name="connsiteX453" fmla="*/ 1423736 w 12199272"/>
              <a:gd name="connsiteY453" fmla="*/ 6343746 h 6867525"/>
              <a:gd name="connsiteX454" fmla="*/ 1425223 w 12199272"/>
              <a:gd name="connsiteY454" fmla="*/ 6338592 h 6867525"/>
              <a:gd name="connsiteX455" fmla="*/ 1426398 w 12199272"/>
              <a:gd name="connsiteY455" fmla="*/ 6333262 h 6867525"/>
              <a:gd name="connsiteX456" fmla="*/ 1427249 w 12199272"/>
              <a:gd name="connsiteY456" fmla="*/ 6327767 h 6867525"/>
              <a:gd name="connsiteX457" fmla="*/ 1427768 w 12199272"/>
              <a:gd name="connsiteY457" fmla="*/ 6322114 h 6867525"/>
              <a:gd name="connsiteX458" fmla="*/ 1427943 w 12199272"/>
              <a:gd name="connsiteY458" fmla="*/ 6316313 h 6867525"/>
              <a:gd name="connsiteX459" fmla="*/ 1427753 w 12199272"/>
              <a:gd name="connsiteY459" fmla="*/ 6310264 h 6867525"/>
              <a:gd name="connsiteX460" fmla="*/ 1427188 w 12199272"/>
              <a:gd name="connsiteY460" fmla="*/ 6304381 h 6867525"/>
              <a:gd name="connsiteX461" fmla="*/ 1426262 w 12199272"/>
              <a:gd name="connsiteY461" fmla="*/ 6298673 h 6867525"/>
              <a:gd name="connsiteX462" fmla="*/ 1424986 w 12199272"/>
              <a:gd name="connsiteY462" fmla="*/ 6293150 h 6867525"/>
              <a:gd name="connsiteX463" fmla="*/ 1423372 w 12199272"/>
              <a:gd name="connsiteY463" fmla="*/ 6287821 h 6867525"/>
              <a:gd name="connsiteX464" fmla="*/ 1421432 w 12199272"/>
              <a:gd name="connsiteY464" fmla="*/ 6282695 h 6867525"/>
              <a:gd name="connsiteX465" fmla="*/ 1419639 w 12199272"/>
              <a:gd name="connsiteY465" fmla="*/ 6278789 h 6867525"/>
              <a:gd name="connsiteX466" fmla="*/ 1419177 w 12199272"/>
              <a:gd name="connsiteY466" fmla="*/ 6277783 h 6867525"/>
              <a:gd name="connsiteX467" fmla="*/ 1416619 w 12199272"/>
              <a:gd name="connsiteY467" fmla="*/ 6273094 h 6867525"/>
              <a:gd name="connsiteX468" fmla="*/ 1413770 w 12199272"/>
              <a:gd name="connsiteY468" fmla="*/ 6268638 h 6867525"/>
              <a:gd name="connsiteX469" fmla="*/ 1410643 w 12199272"/>
              <a:gd name="connsiteY469" fmla="*/ 6264425 h 6867525"/>
              <a:gd name="connsiteX470" fmla="*/ 1407247 w 12199272"/>
              <a:gd name="connsiteY470" fmla="*/ 6260463 h 6867525"/>
              <a:gd name="connsiteX471" fmla="*/ 1403597 w 12199272"/>
              <a:gd name="connsiteY471" fmla="*/ 6256763 h 6867525"/>
              <a:gd name="connsiteX472" fmla="*/ 1399702 w 12199272"/>
              <a:gd name="connsiteY472" fmla="*/ 6253334 h 6867525"/>
              <a:gd name="connsiteX473" fmla="*/ 1395576 w 12199272"/>
              <a:gd name="connsiteY473" fmla="*/ 6250186 h 6867525"/>
              <a:gd name="connsiteX474" fmla="*/ 1391230 w 12199272"/>
              <a:gd name="connsiteY474" fmla="*/ 6247328 h 6867525"/>
              <a:gd name="connsiteX475" fmla="*/ 1386675 w 12199272"/>
              <a:gd name="connsiteY475" fmla="*/ 6244771 h 6867525"/>
              <a:gd name="connsiteX476" fmla="*/ 1381923 w 12199272"/>
              <a:gd name="connsiteY476" fmla="*/ 6242523 h 6867525"/>
              <a:gd name="connsiteX477" fmla="*/ 1376987 w 12199272"/>
              <a:gd name="connsiteY477" fmla="*/ 6240595 h 6867525"/>
              <a:gd name="connsiteX478" fmla="*/ 1371878 w 12199272"/>
              <a:gd name="connsiteY478" fmla="*/ 6238996 h 6867525"/>
              <a:gd name="connsiteX479" fmla="*/ 1366608 w 12199272"/>
              <a:gd name="connsiteY479" fmla="*/ 6237735 h 6867525"/>
              <a:gd name="connsiteX480" fmla="*/ 1361188 w 12199272"/>
              <a:gd name="connsiteY480" fmla="*/ 6236823 h 6867525"/>
              <a:gd name="connsiteX481" fmla="*/ 1355631 w 12199272"/>
              <a:gd name="connsiteY481" fmla="*/ 6236268 h 6867525"/>
              <a:gd name="connsiteX482" fmla="*/ 1349948 w 12199272"/>
              <a:gd name="connsiteY482" fmla="*/ 6236081 h 6867525"/>
              <a:gd name="connsiteX483" fmla="*/ 782044 w 12199272"/>
              <a:gd name="connsiteY483" fmla="*/ 6175982 h 6867525"/>
              <a:gd name="connsiteX484" fmla="*/ 780496 w 12199272"/>
              <a:gd name="connsiteY484" fmla="*/ 6176305 h 6867525"/>
              <a:gd name="connsiteX485" fmla="*/ 779232 w 12199272"/>
              <a:gd name="connsiteY485" fmla="*/ 6177185 h 6867525"/>
              <a:gd name="connsiteX486" fmla="*/ 778380 w 12199272"/>
              <a:gd name="connsiteY486" fmla="*/ 6178491 h 6867525"/>
              <a:gd name="connsiteX487" fmla="*/ 778067 w 12199272"/>
              <a:gd name="connsiteY487" fmla="*/ 6180089 h 6867525"/>
              <a:gd name="connsiteX488" fmla="*/ 778067 w 12199272"/>
              <a:gd name="connsiteY488" fmla="*/ 6388168 h 6867525"/>
              <a:gd name="connsiteX489" fmla="*/ 778380 w 12199272"/>
              <a:gd name="connsiteY489" fmla="*/ 6389767 h 6867525"/>
              <a:gd name="connsiteX490" fmla="*/ 779232 w 12199272"/>
              <a:gd name="connsiteY490" fmla="*/ 6391072 h 6867525"/>
              <a:gd name="connsiteX491" fmla="*/ 780496 w 12199272"/>
              <a:gd name="connsiteY491" fmla="*/ 6391952 h 6867525"/>
              <a:gd name="connsiteX492" fmla="*/ 782044 w 12199272"/>
              <a:gd name="connsiteY492" fmla="*/ 6392275 h 6867525"/>
              <a:gd name="connsiteX493" fmla="*/ 907033 w 12199272"/>
              <a:gd name="connsiteY493" fmla="*/ 6392275 h 6867525"/>
              <a:gd name="connsiteX494" fmla="*/ 908581 w 12199272"/>
              <a:gd name="connsiteY494" fmla="*/ 6391952 h 6867525"/>
              <a:gd name="connsiteX495" fmla="*/ 909845 w 12199272"/>
              <a:gd name="connsiteY495" fmla="*/ 6391072 h 6867525"/>
              <a:gd name="connsiteX496" fmla="*/ 910697 w 12199272"/>
              <a:gd name="connsiteY496" fmla="*/ 6389767 h 6867525"/>
              <a:gd name="connsiteX497" fmla="*/ 911010 w 12199272"/>
              <a:gd name="connsiteY497" fmla="*/ 6388168 h 6867525"/>
              <a:gd name="connsiteX498" fmla="*/ 911010 w 12199272"/>
              <a:gd name="connsiteY498" fmla="*/ 6350622 h 6867525"/>
              <a:gd name="connsiteX499" fmla="*/ 908581 w 12199272"/>
              <a:gd name="connsiteY499" fmla="*/ 6346838 h 6867525"/>
              <a:gd name="connsiteX500" fmla="*/ 828722 w 12199272"/>
              <a:gd name="connsiteY500" fmla="*/ 6346515 h 6867525"/>
              <a:gd name="connsiteX501" fmla="*/ 827174 w 12199272"/>
              <a:gd name="connsiteY501" fmla="*/ 6346192 h 6867525"/>
              <a:gd name="connsiteX502" fmla="*/ 825910 w 12199272"/>
              <a:gd name="connsiteY502" fmla="*/ 6345312 h 6867525"/>
              <a:gd name="connsiteX503" fmla="*/ 825057 w 12199272"/>
              <a:gd name="connsiteY503" fmla="*/ 6344006 h 6867525"/>
              <a:gd name="connsiteX504" fmla="*/ 824744 w 12199272"/>
              <a:gd name="connsiteY504" fmla="*/ 6342408 h 6867525"/>
              <a:gd name="connsiteX505" fmla="*/ 824744 w 12199272"/>
              <a:gd name="connsiteY505" fmla="*/ 6309132 h 6867525"/>
              <a:gd name="connsiteX506" fmla="*/ 825057 w 12199272"/>
              <a:gd name="connsiteY506" fmla="*/ 6307534 h 6867525"/>
              <a:gd name="connsiteX507" fmla="*/ 825910 w 12199272"/>
              <a:gd name="connsiteY507" fmla="*/ 6306228 h 6867525"/>
              <a:gd name="connsiteX508" fmla="*/ 827174 w 12199272"/>
              <a:gd name="connsiteY508" fmla="*/ 6305348 h 6867525"/>
              <a:gd name="connsiteX509" fmla="*/ 828722 w 12199272"/>
              <a:gd name="connsiteY509" fmla="*/ 6305025 h 6867525"/>
              <a:gd name="connsiteX510" fmla="*/ 898759 w 12199272"/>
              <a:gd name="connsiteY510" fmla="*/ 6305025 h 6867525"/>
              <a:gd name="connsiteX511" fmla="*/ 900308 w 12199272"/>
              <a:gd name="connsiteY511" fmla="*/ 6304703 h 6867525"/>
              <a:gd name="connsiteX512" fmla="*/ 901572 w 12199272"/>
              <a:gd name="connsiteY512" fmla="*/ 6303823 h 6867525"/>
              <a:gd name="connsiteX513" fmla="*/ 902425 w 12199272"/>
              <a:gd name="connsiteY513" fmla="*/ 6302517 h 6867525"/>
              <a:gd name="connsiteX514" fmla="*/ 902738 w 12199272"/>
              <a:gd name="connsiteY514" fmla="*/ 6300918 h 6867525"/>
              <a:gd name="connsiteX515" fmla="*/ 902738 w 12199272"/>
              <a:gd name="connsiteY515" fmla="*/ 6266729 h 6867525"/>
              <a:gd name="connsiteX516" fmla="*/ 902425 w 12199272"/>
              <a:gd name="connsiteY516" fmla="*/ 6265130 h 6867525"/>
              <a:gd name="connsiteX517" fmla="*/ 901572 w 12199272"/>
              <a:gd name="connsiteY517" fmla="*/ 6263825 h 6867525"/>
              <a:gd name="connsiteX518" fmla="*/ 900308 w 12199272"/>
              <a:gd name="connsiteY518" fmla="*/ 6262944 h 6867525"/>
              <a:gd name="connsiteX519" fmla="*/ 898759 w 12199272"/>
              <a:gd name="connsiteY519" fmla="*/ 6262622 h 6867525"/>
              <a:gd name="connsiteX520" fmla="*/ 828722 w 12199272"/>
              <a:gd name="connsiteY520" fmla="*/ 6262622 h 6867525"/>
              <a:gd name="connsiteX521" fmla="*/ 827174 w 12199272"/>
              <a:gd name="connsiteY521" fmla="*/ 6262299 h 6867525"/>
              <a:gd name="connsiteX522" fmla="*/ 825910 w 12199272"/>
              <a:gd name="connsiteY522" fmla="*/ 6261419 h 6867525"/>
              <a:gd name="connsiteX523" fmla="*/ 825057 w 12199272"/>
              <a:gd name="connsiteY523" fmla="*/ 6260114 h 6867525"/>
              <a:gd name="connsiteX524" fmla="*/ 824744 w 12199272"/>
              <a:gd name="connsiteY524" fmla="*/ 6258515 h 6867525"/>
              <a:gd name="connsiteX525" fmla="*/ 824744 w 12199272"/>
              <a:gd name="connsiteY525" fmla="*/ 6225545 h 6867525"/>
              <a:gd name="connsiteX526" fmla="*/ 825057 w 12199272"/>
              <a:gd name="connsiteY526" fmla="*/ 6223946 h 6867525"/>
              <a:gd name="connsiteX527" fmla="*/ 825910 w 12199272"/>
              <a:gd name="connsiteY527" fmla="*/ 6222641 h 6867525"/>
              <a:gd name="connsiteX528" fmla="*/ 827174 w 12199272"/>
              <a:gd name="connsiteY528" fmla="*/ 6221761 h 6867525"/>
              <a:gd name="connsiteX529" fmla="*/ 828722 w 12199272"/>
              <a:gd name="connsiteY529" fmla="*/ 6221438 h 6867525"/>
              <a:gd name="connsiteX530" fmla="*/ 906737 w 12199272"/>
              <a:gd name="connsiteY530" fmla="*/ 6221438 h 6867525"/>
              <a:gd name="connsiteX531" fmla="*/ 908285 w 12199272"/>
              <a:gd name="connsiteY531" fmla="*/ 6221115 h 6867525"/>
              <a:gd name="connsiteX532" fmla="*/ 909549 w 12199272"/>
              <a:gd name="connsiteY532" fmla="*/ 6220235 h 6867525"/>
              <a:gd name="connsiteX533" fmla="*/ 910401 w 12199272"/>
              <a:gd name="connsiteY533" fmla="*/ 6218930 h 6867525"/>
              <a:gd name="connsiteX534" fmla="*/ 910714 w 12199272"/>
              <a:gd name="connsiteY534" fmla="*/ 6217331 h 6867525"/>
              <a:gd name="connsiteX535" fmla="*/ 910714 w 12199272"/>
              <a:gd name="connsiteY535" fmla="*/ 6180089 h 6867525"/>
              <a:gd name="connsiteX536" fmla="*/ 910401 w 12199272"/>
              <a:gd name="connsiteY536" fmla="*/ 6178491 h 6867525"/>
              <a:gd name="connsiteX537" fmla="*/ 909549 w 12199272"/>
              <a:gd name="connsiteY537" fmla="*/ 6177185 h 6867525"/>
              <a:gd name="connsiteX538" fmla="*/ 908285 w 12199272"/>
              <a:gd name="connsiteY538" fmla="*/ 6176305 h 6867525"/>
              <a:gd name="connsiteX539" fmla="*/ 906737 w 12199272"/>
              <a:gd name="connsiteY539" fmla="*/ 6175982 h 6867525"/>
              <a:gd name="connsiteX540" fmla="*/ 782044 w 12199272"/>
              <a:gd name="connsiteY540" fmla="*/ 6175982 h 6867525"/>
              <a:gd name="connsiteX541" fmla="*/ 1124613 w 12199272"/>
              <a:gd name="connsiteY541" fmla="*/ 6167136 h 6867525"/>
              <a:gd name="connsiteX542" fmla="*/ 1119425 w 12199272"/>
              <a:gd name="connsiteY542" fmla="*/ 6167690 h 6867525"/>
              <a:gd name="connsiteX543" fmla="*/ 1114569 w 12199272"/>
              <a:gd name="connsiteY543" fmla="*/ 6169276 h 6867525"/>
              <a:gd name="connsiteX544" fmla="*/ 1110156 w 12199272"/>
              <a:gd name="connsiteY544" fmla="*/ 6171785 h 6867525"/>
              <a:gd name="connsiteX545" fmla="*/ 1106297 w 12199272"/>
              <a:gd name="connsiteY545" fmla="*/ 6175106 h 6867525"/>
              <a:gd name="connsiteX546" fmla="*/ 1103103 w 12199272"/>
              <a:gd name="connsiteY546" fmla="*/ 6179127 h 6867525"/>
              <a:gd name="connsiteX547" fmla="*/ 1100684 w 12199272"/>
              <a:gd name="connsiteY547" fmla="*/ 6183738 h 6867525"/>
              <a:gd name="connsiteX548" fmla="*/ 1099151 w 12199272"/>
              <a:gd name="connsiteY548" fmla="*/ 6188829 h 6867525"/>
              <a:gd name="connsiteX549" fmla="*/ 1098616 w 12199272"/>
              <a:gd name="connsiteY549" fmla="*/ 6194287 h 6867525"/>
              <a:gd name="connsiteX550" fmla="*/ 1099151 w 12199272"/>
              <a:gd name="connsiteY550" fmla="*/ 6199746 h 6867525"/>
              <a:gd name="connsiteX551" fmla="*/ 1100684 w 12199272"/>
              <a:gd name="connsiteY551" fmla="*/ 6204836 h 6867525"/>
              <a:gd name="connsiteX552" fmla="*/ 1103103 w 12199272"/>
              <a:gd name="connsiteY552" fmla="*/ 6209447 h 6867525"/>
              <a:gd name="connsiteX553" fmla="*/ 1106297 w 12199272"/>
              <a:gd name="connsiteY553" fmla="*/ 6213468 h 6867525"/>
              <a:gd name="connsiteX554" fmla="*/ 1110156 w 12199272"/>
              <a:gd name="connsiteY554" fmla="*/ 6216789 h 6867525"/>
              <a:gd name="connsiteX555" fmla="*/ 1114569 w 12199272"/>
              <a:gd name="connsiteY555" fmla="*/ 6219298 h 6867525"/>
              <a:gd name="connsiteX556" fmla="*/ 1119425 w 12199272"/>
              <a:gd name="connsiteY556" fmla="*/ 6220885 h 6867525"/>
              <a:gd name="connsiteX557" fmla="*/ 1124613 w 12199272"/>
              <a:gd name="connsiteY557" fmla="*/ 6221438 h 6867525"/>
              <a:gd name="connsiteX558" fmla="*/ 1129997 w 12199272"/>
              <a:gd name="connsiteY558" fmla="*/ 6220885 h 6867525"/>
              <a:gd name="connsiteX559" fmla="*/ 1135000 w 12199272"/>
              <a:gd name="connsiteY559" fmla="*/ 6219298 h 6867525"/>
              <a:gd name="connsiteX560" fmla="*/ 1139518 w 12199272"/>
              <a:gd name="connsiteY560" fmla="*/ 6216789 h 6867525"/>
              <a:gd name="connsiteX561" fmla="*/ 1143447 w 12199272"/>
              <a:gd name="connsiteY561" fmla="*/ 6213468 h 6867525"/>
              <a:gd name="connsiteX562" fmla="*/ 1146685 w 12199272"/>
              <a:gd name="connsiteY562" fmla="*/ 6209447 h 6867525"/>
              <a:gd name="connsiteX563" fmla="*/ 1149125 w 12199272"/>
              <a:gd name="connsiteY563" fmla="*/ 6204836 h 6867525"/>
              <a:gd name="connsiteX564" fmla="*/ 1150666 w 12199272"/>
              <a:gd name="connsiteY564" fmla="*/ 6199746 h 6867525"/>
              <a:gd name="connsiteX565" fmla="*/ 1151203 w 12199272"/>
              <a:gd name="connsiteY565" fmla="*/ 6194287 h 6867525"/>
              <a:gd name="connsiteX566" fmla="*/ 1150666 w 12199272"/>
              <a:gd name="connsiteY566" fmla="*/ 6188829 h 6867525"/>
              <a:gd name="connsiteX567" fmla="*/ 1149125 w 12199272"/>
              <a:gd name="connsiteY567" fmla="*/ 6183738 h 6867525"/>
              <a:gd name="connsiteX568" fmla="*/ 1146685 w 12199272"/>
              <a:gd name="connsiteY568" fmla="*/ 6179127 h 6867525"/>
              <a:gd name="connsiteX569" fmla="*/ 1143447 w 12199272"/>
              <a:gd name="connsiteY569" fmla="*/ 6175106 h 6867525"/>
              <a:gd name="connsiteX570" fmla="*/ 1139518 w 12199272"/>
              <a:gd name="connsiteY570" fmla="*/ 6171785 h 6867525"/>
              <a:gd name="connsiteX571" fmla="*/ 1135000 w 12199272"/>
              <a:gd name="connsiteY571" fmla="*/ 6169276 h 6867525"/>
              <a:gd name="connsiteX572" fmla="*/ 1129997 w 12199272"/>
              <a:gd name="connsiteY572" fmla="*/ 6167690 h 6867525"/>
              <a:gd name="connsiteX573" fmla="*/ 1124613 w 12199272"/>
              <a:gd name="connsiteY573" fmla="*/ 6167136 h 6867525"/>
              <a:gd name="connsiteX574" fmla="*/ 581250 w 12199272"/>
              <a:gd name="connsiteY574" fmla="*/ 6130388 h 6867525"/>
              <a:gd name="connsiteX575" fmla="*/ 575834 w 12199272"/>
              <a:gd name="connsiteY575" fmla="*/ 6131131 h 6867525"/>
              <a:gd name="connsiteX576" fmla="*/ 570703 w 12199272"/>
              <a:gd name="connsiteY576" fmla="*/ 6133358 h 6867525"/>
              <a:gd name="connsiteX577" fmla="*/ 468377 w 12199272"/>
              <a:gd name="connsiteY577" fmla="*/ 6195414 h 6867525"/>
              <a:gd name="connsiteX578" fmla="*/ 463977 w 12199272"/>
              <a:gd name="connsiteY578" fmla="*/ 6198968 h 6867525"/>
              <a:gd name="connsiteX579" fmla="*/ 460658 w 12199272"/>
              <a:gd name="connsiteY579" fmla="*/ 6203523 h 6867525"/>
              <a:gd name="connsiteX580" fmla="*/ 458562 w 12199272"/>
              <a:gd name="connsiteY580" fmla="*/ 6208820 h 6867525"/>
              <a:gd name="connsiteX581" fmla="*/ 457832 w 12199272"/>
              <a:gd name="connsiteY581" fmla="*/ 6214601 h 6867525"/>
              <a:gd name="connsiteX582" fmla="*/ 457832 w 12199272"/>
              <a:gd name="connsiteY582" fmla="*/ 6338713 h 6867525"/>
              <a:gd name="connsiteX583" fmla="*/ 458562 w 12199272"/>
              <a:gd name="connsiteY583" fmla="*/ 6344494 h 6867525"/>
              <a:gd name="connsiteX584" fmla="*/ 460658 w 12199272"/>
              <a:gd name="connsiteY584" fmla="*/ 6349791 h 6867525"/>
              <a:gd name="connsiteX585" fmla="*/ 463977 w 12199272"/>
              <a:gd name="connsiteY585" fmla="*/ 6354347 h 6867525"/>
              <a:gd name="connsiteX586" fmla="*/ 468378 w 12199272"/>
              <a:gd name="connsiteY586" fmla="*/ 6357902 h 6867525"/>
              <a:gd name="connsiteX587" fmla="*/ 570703 w 12199272"/>
              <a:gd name="connsiteY587" fmla="*/ 6419958 h 6867525"/>
              <a:gd name="connsiteX588" fmla="*/ 575834 w 12199272"/>
              <a:gd name="connsiteY588" fmla="*/ 6422184 h 6867525"/>
              <a:gd name="connsiteX589" fmla="*/ 581250 w 12199272"/>
              <a:gd name="connsiteY589" fmla="*/ 6422926 h 6867525"/>
              <a:gd name="connsiteX590" fmla="*/ 586665 w 12199272"/>
              <a:gd name="connsiteY590" fmla="*/ 6422184 h 6867525"/>
              <a:gd name="connsiteX591" fmla="*/ 591796 w 12199272"/>
              <a:gd name="connsiteY591" fmla="*/ 6419958 h 6867525"/>
              <a:gd name="connsiteX592" fmla="*/ 687555 w 12199272"/>
              <a:gd name="connsiteY592" fmla="*/ 6361884 h 6867525"/>
              <a:gd name="connsiteX593" fmla="*/ 694122 w 12199272"/>
              <a:gd name="connsiteY593" fmla="*/ 6357902 h 6867525"/>
              <a:gd name="connsiteX594" fmla="*/ 698523 w 12199272"/>
              <a:gd name="connsiteY594" fmla="*/ 6354347 h 6867525"/>
              <a:gd name="connsiteX595" fmla="*/ 701842 w 12199272"/>
              <a:gd name="connsiteY595" fmla="*/ 6349791 h 6867525"/>
              <a:gd name="connsiteX596" fmla="*/ 703937 w 12199272"/>
              <a:gd name="connsiteY596" fmla="*/ 6344494 h 6867525"/>
              <a:gd name="connsiteX597" fmla="*/ 704667 w 12199272"/>
              <a:gd name="connsiteY597" fmla="*/ 6338713 h 6867525"/>
              <a:gd name="connsiteX598" fmla="*/ 704667 w 12199272"/>
              <a:gd name="connsiteY598" fmla="*/ 6287037 h 6867525"/>
              <a:gd name="connsiteX599" fmla="*/ 581250 w 12199272"/>
              <a:gd name="connsiteY599" fmla="*/ 6361884 h 6867525"/>
              <a:gd name="connsiteX600" fmla="*/ 512614 w 12199272"/>
              <a:gd name="connsiteY600" fmla="*/ 6320260 h 6867525"/>
              <a:gd name="connsiteX601" fmla="*/ 512651 w 12199272"/>
              <a:gd name="connsiteY601" fmla="*/ 6235036 h 6867525"/>
              <a:gd name="connsiteX602" fmla="*/ 576185 w 12199272"/>
              <a:gd name="connsiteY602" fmla="*/ 6196483 h 6867525"/>
              <a:gd name="connsiteX603" fmla="*/ 578647 w 12199272"/>
              <a:gd name="connsiteY603" fmla="*/ 6195414 h 6867525"/>
              <a:gd name="connsiteX604" fmla="*/ 581250 w 12199272"/>
              <a:gd name="connsiteY604" fmla="*/ 6195057 h 6867525"/>
              <a:gd name="connsiteX605" fmla="*/ 583855 w 12199272"/>
              <a:gd name="connsiteY605" fmla="*/ 6195414 h 6867525"/>
              <a:gd name="connsiteX606" fmla="*/ 586321 w 12199272"/>
              <a:gd name="connsiteY606" fmla="*/ 6196485 h 6867525"/>
              <a:gd name="connsiteX607" fmla="*/ 649885 w 12199272"/>
              <a:gd name="connsiteY607" fmla="*/ 6235034 h 6867525"/>
              <a:gd name="connsiteX608" fmla="*/ 589785 w 12199272"/>
              <a:gd name="connsiteY608" fmla="*/ 6271483 h 6867525"/>
              <a:gd name="connsiteX609" fmla="*/ 585633 w 12199272"/>
              <a:gd name="connsiteY609" fmla="*/ 6273284 h 6867525"/>
              <a:gd name="connsiteX610" fmla="*/ 581250 w 12199272"/>
              <a:gd name="connsiteY610" fmla="*/ 6273884 h 6867525"/>
              <a:gd name="connsiteX611" fmla="*/ 576868 w 12199272"/>
              <a:gd name="connsiteY611" fmla="*/ 6273283 h 6867525"/>
              <a:gd name="connsiteX612" fmla="*/ 572716 w 12199272"/>
              <a:gd name="connsiteY612" fmla="*/ 6271481 h 6867525"/>
              <a:gd name="connsiteX613" fmla="*/ 529723 w 12199272"/>
              <a:gd name="connsiteY613" fmla="*/ 6245395 h 6867525"/>
              <a:gd name="connsiteX614" fmla="*/ 529693 w 12199272"/>
              <a:gd name="connsiteY614" fmla="*/ 6309859 h 6867525"/>
              <a:gd name="connsiteX615" fmla="*/ 581250 w 12199272"/>
              <a:gd name="connsiteY615" fmla="*/ 6341127 h 6867525"/>
              <a:gd name="connsiteX616" fmla="*/ 692128 w 12199272"/>
              <a:gd name="connsiteY616" fmla="*/ 6273884 h 6867525"/>
              <a:gd name="connsiteX617" fmla="*/ 704667 w 12199272"/>
              <a:gd name="connsiteY617" fmla="*/ 6266280 h 6867525"/>
              <a:gd name="connsiteX618" fmla="*/ 704667 w 12199272"/>
              <a:gd name="connsiteY618" fmla="*/ 6214601 h 6867525"/>
              <a:gd name="connsiteX619" fmla="*/ 703937 w 12199272"/>
              <a:gd name="connsiteY619" fmla="*/ 6208820 h 6867525"/>
              <a:gd name="connsiteX620" fmla="*/ 701842 w 12199272"/>
              <a:gd name="connsiteY620" fmla="*/ 6203523 h 6867525"/>
              <a:gd name="connsiteX621" fmla="*/ 698523 w 12199272"/>
              <a:gd name="connsiteY621" fmla="*/ 6198968 h 6867525"/>
              <a:gd name="connsiteX622" fmla="*/ 694122 w 12199272"/>
              <a:gd name="connsiteY622" fmla="*/ 6195413 h 6867525"/>
              <a:gd name="connsiteX623" fmla="*/ 693534 w 12199272"/>
              <a:gd name="connsiteY623" fmla="*/ 6195057 h 6867525"/>
              <a:gd name="connsiteX624" fmla="*/ 591796 w 12199272"/>
              <a:gd name="connsiteY624" fmla="*/ 6133358 h 6867525"/>
              <a:gd name="connsiteX625" fmla="*/ 586665 w 12199272"/>
              <a:gd name="connsiteY625" fmla="*/ 6131131 h 6867525"/>
              <a:gd name="connsiteX626" fmla="*/ 581250 w 12199272"/>
              <a:gd name="connsiteY626" fmla="*/ 6130388 h 6867525"/>
              <a:gd name="connsiteX627" fmla="*/ 0 w 12199272"/>
              <a:gd name="connsiteY627" fmla="*/ 9525 h 6867525"/>
              <a:gd name="connsiteX628" fmla="*/ 12198355 w 12199272"/>
              <a:gd name="connsiteY628" fmla="*/ 0 h 6867525"/>
              <a:gd name="connsiteX629" fmla="*/ 12198355 w 12199272"/>
              <a:gd name="connsiteY629" fmla="*/ 6867525 h 6867525"/>
              <a:gd name="connsiteX630" fmla="*/ 0 w 12199272"/>
              <a:gd name="connsiteY630" fmla="*/ 6867525 h 6867525"/>
              <a:gd name="connsiteX631" fmla="*/ 0 w 12199272"/>
              <a:gd name="connsiteY631" fmla="*/ 9525 h 6867525"/>
              <a:gd name="connsiteX0" fmla="*/ 1014246 w 12205625"/>
              <a:gd name="connsiteY0" fmla="*/ 6278790 h 6867525"/>
              <a:gd name="connsiteX1" fmla="*/ 1019019 w 12205625"/>
              <a:gd name="connsiteY1" fmla="*/ 6279093 h 6867525"/>
              <a:gd name="connsiteX2" fmla="*/ 1023628 w 12205625"/>
              <a:gd name="connsiteY2" fmla="*/ 6280006 h 6867525"/>
              <a:gd name="connsiteX3" fmla="*/ 1028012 w 12205625"/>
              <a:gd name="connsiteY3" fmla="*/ 6281532 h 6867525"/>
              <a:gd name="connsiteX4" fmla="*/ 1032110 w 12205625"/>
              <a:gd name="connsiteY4" fmla="*/ 6283675 h 6867525"/>
              <a:gd name="connsiteX5" fmla="*/ 1035860 w 12205625"/>
              <a:gd name="connsiteY5" fmla="*/ 6286440 h 6867525"/>
              <a:gd name="connsiteX6" fmla="*/ 1039201 w 12205625"/>
              <a:gd name="connsiteY6" fmla="*/ 6289831 h 6867525"/>
              <a:gd name="connsiteX7" fmla="*/ 1042072 w 12205625"/>
              <a:gd name="connsiteY7" fmla="*/ 6293851 h 6867525"/>
              <a:gd name="connsiteX8" fmla="*/ 1044412 w 12205625"/>
              <a:gd name="connsiteY8" fmla="*/ 6298506 h 6867525"/>
              <a:gd name="connsiteX9" fmla="*/ 1046159 w 12205625"/>
              <a:gd name="connsiteY9" fmla="*/ 6303798 h 6867525"/>
              <a:gd name="connsiteX10" fmla="*/ 1047252 w 12205625"/>
              <a:gd name="connsiteY10" fmla="*/ 6309733 h 6867525"/>
              <a:gd name="connsiteX11" fmla="*/ 1047630 w 12205625"/>
              <a:gd name="connsiteY11" fmla="*/ 6316313 h 6867525"/>
              <a:gd name="connsiteX12" fmla="*/ 1047252 w 12205625"/>
              <a:gd name="connsiteY12" fmla="*/ 6322901 h 6867525"/>
              <a:gd name="connsiteX13" fmla="*/ 1046159 w 12205625"/>
              <a:gd name="connsiteY13" fmla="*/ 6328855 h 6867525"/>
              <a:gd name="connsiteX14" fmla="*/ 1044412 w 12205625"/>
              <a:gd name="connsiteY14" fmla="*/ 6334177 h 6867525"/>
              <a:gd name="connsiteX15" fmla="*/ 1042072 w 12205625"/>
              <a:gd name="connsiteY15" fmla="*/ 6338867 h 6867525"/>
              <a:gd name="connsiteX16" fmla="*/ 1039201 w 12205625"/>
              <a:gd name="connsiteY16" fmla="*/ 6342928 h 6867525"/>
              <a:gd name="connsiteX17" fmla="*/ 1035860 w 12205625"/>
              <a:gd name="connsiteY17" fmla="*/ 6346360 h 6867525"/>
              <a:gd name="connsiteX18" fmla="*/ 1032110 w 12205625"/>
              <a:gd name="connsiteY18" fmla="*/ 6349166 h 6867525"/>
              <a:gd name="connsiteX19" fmla="*/ 1028012 w 12205625"/>
              <a:gd name="connsiteY19" fmla="*/ 6351345 h 6867525"/>
              <a:gd name="connsiteX20" fmla="*/ 1023628 w 12205625"/>
              <a:gd name="connsiteY20" fmla="*/ 6352900 h 6867525"/>
              <a:gd name="connsiteX21" fmla="*/ 1019019 w 12205625"/>
              <a:gd name="connsiteY21" fmla="*/ 6353832 h 6867525"/>
              <a:gd name="connsiteX22" fmla="*/ 1014246 w 12205625"/>
              <a:gd name="connsiteY22" fmla="*/ 6354143 h 6867525"/>
              <a:gd name="connsiteX23" fmla="*/ 1009546 w 12205625"/>
              <a:gd name="connsiteY23" fmla="*/ 6353825 h 6867525"/>
              <a:gd name="connsiteX24" fmla="*/ 1004998 w 12205625"/>
              <a:gd name="connsiteY24" fmla="*/ 6352875 h 6867525"/>
              <a:gd name="connsiteX25" fmla="*/ 1000662 w 12205625"/>
              <a:gd name="connsiteY25" fmla="*/ 6351296 h 6867525"/>
              <a:gd name="connsiteX26" fmla="*/ 996602 w 12205625"/>
              <a:gd name="connsiteY26" fmla="*/ 6349089 h 6867525"/>
              <a:gd name="connsiteX27" fmla="*/ 992880 w 12205625"/>
              <a:gd name="connsiteY27" fmla="*/ 6346257 h 6867525"/>
              <a:gd name="connsiteX28" fmla="*/ 989560 w 12205625"/>
              <a:gd name="connsiteY28" fmla="*/ 6342805 h 6867525"/>
              <a:gd name="connsiteX29" fmla="*/ 986702 w 12205625"/>
              <a:gd name="connsiteY29" fmla="*/ 6338733 h 6867525"/>
              <a:gd name="connsiteX30" fmla="*/ 984371 w 12205625"/>
              <a:gd name="connsiteY30" fmla="*/ 6334045 h 6867525"/>
              <a:gd name="connsiteX31" fmla="*/ 982628 w 12205625"/>
              <a:gd name="connsiteY31" fmla="*/ 6328744 h 6867525"/>
              <a:gd name="connsiteX32" fmla="*/ 981537 w 12205625"/>
              <a:gd name="connsiteY32" fmla="*/ 6322833 h 6867525"/>
              <a:gd name="connsiteX33" fmla="*/ 981159 w 12205625"/>
              <a:gd name="connsiteY33" fmla="*/ 6316313 h 6867525"/>
              <a:gd name="connsiteX34" fmla="*/ 981537 w 12205625"/>
              <a:gd name="connsiteY34" fmla="*/ 6309733 h 6867525"/>
              <a:gd name="connsiteX35" fmla="*/ 982628 w 12205625"/>
              <a:gd name="connsiteY35" fmla="*/ 6303798 h 6867525"/>
              <a:gd name="connsiteX36" fmla="*/ 984371 w 12205625"/>
              <a:gd name="connsiteY36" fmla="*/ 6298506 h 6867525"/>
              <a:gd name="connsiteX37" fmla="*/ 986702 w 12205625"/>
              <a:gd name="connsiteY37" fmla="*/ 6293851 h 6867525"/>
              <a:gd name="connsiteX38" fmla="*/ 989560 w 12205625"/>
              <a:gd name="connsiteY38" fmla="*/ 6289831 h 6867525"/>
              <a:gd name="connsiteX39" fmla="*/ 992880 w 12205625"/>
              <a:gd name="connsiteY39" fmla="*/ 6286440 h 6867525"/>
              <a:gd name="connsiteX40" fmla="*/ 996602 w 12205625"/>
              <a:gd name="connsiteY40" fmla="*/ 6283675 h 6867525"/>
              <a:gd name="connsiteX41" fmla="*/ 1000662 w 12205625"/>
              <a:gd name="connsiteY41" fmla="*/ 6281532 h 6867525"/>
              <a:gd name="connsiteX42" fmla="*/ 1004998 w 12205625"/>
              <a:gd name="connsiteY42" fmla="*/ 6280006 h 6867525"/>
              <a:gd name="connsiteX43" fmla="*/ 1009546 w 12205625"/>
              <a:gd name="connsiteY43" fmla="*/ 6279093 h 6867525"/>
              <a:gd name="connsiteX44" fmla="*/ 1014246 w 12205625"/>
              <a:gd name="connsiteY44" fmla="*/ 6278790 h 6867525"/>
              <a:gd name="connsiteX45" fmla="*/ 1356301 w 12205625"/>
              <a:gd name="connsiteY45" fmla="*/ 6278789 h 6867525"/>
              <a:gd name="connsiteX46" fmla="*/ 1360934 w 12205625"/>
              <a:gd name="connsiteY46" fmla="*/ 6279086 h 6867525"/>
              <a:gd name="connsiteX47" fmla="*/ 1365442 w 12205625"/>
              <a:gd name="connsiteY47" fmla="*/ 6279980 h 6867525"/>
              <a:gd name="connsiteX48" fmla="*/ 1369758 w 12205625"/>
              <a:gd name="connsiteY48" fmla="*/ 6281481 h 6867525"/>
              <a:gd name="connsiteX49" fmla="*/ 1373815 w 12205625"/>
              <a:gd name="connsiteY49" fmla="*/ 6283597 h 6867525"/>
              <a:gd name="connsiteX50" fmla="*/ 1377548 w 12205625"/>
              <a:gd name="connsiteY50" fmla="*/ 6286336 h 6867525"/>
              <a:gd name="connsiteX51" fmla="*/ 1380889 w 12205625"/>
              <a:gd name="connsiteY51" fmla="*/ 6289706 h 6867525"/>
              <a:gd name="connsiteX52" fmla="*/ 1383771 w 12205625"/>
              <a:gd name="connsiteY52" fmla="*/ 6293715 h 6867525"/>
              <a:gd name="connsiteX53" fmla="*/ 1386130 w 12205625"/>
              <a:gd name="connsiteY53" fmla="*/ 6298373 h 6867525"/>
              <a:gd name="connsiteX54" fmla="*/ 1387896 w 12205625"/>
              <a:gd name="connsiteY54" fmla="*/ 6303686 h 6867525"/>
              <a:gd name="connsiteX55" fmla="*/ 1389005 w 12205625"/>
              <a:gd name="connsiteY55" fmla="*/ 6309663 h 6867525"/>
              <a:gd name="connsiteX56" fmla="*/ 1389390 w 12205625"/>
              <a:gd name="connsiteY56" fmla="*/ 6316313 h 6867525"/>
              <a:gd name="connsiteX57" fmla="*/ 1389005 w 12205625"/>
              <a:gd name="connsiteY57" fmla="*/ 6322970 h 6867525"/>
              <a:gd name="connsiteX58" fmla="*/ 1387896 w 12205625"/>
              <a:gd name="connsiteY58" fmla="*/ 6328967 h 6867525"/>
              <a:gd name="connsiteX59" fmla="*/ 1386130 w 12205625"/>
              <a:gd name="connsiteY59" fmla="*/ 6334309 h 6867525"/>
              <a:gd name="connsiteX60" fmla="*/ 1383771 w 12205625"/>
              <a:gd name="connsiteY60" fmla="*/ 6339003 h 6867525"/>
              <a:gd name="connsiteX61" fmla="*/ 1380889 w 12205625"/>
              <a:gd name="connsiteY61" fmla="*/ 6343052 h 6867525"/>
              <a:gd name="connsiteX62" fmla="*/ 1377548 w 12205625"/>
              <a:gd name="connsiteY62" fmla="*/ 6346464 h 6867525"/>
              <a:gd name="connsiteX63" fmla="*/ 1373815 w 12205625"/>
              <a:gd name="connsiteY63" fmla="*/ 6349243 h 6867525"/>
              <a:gd name="connsiteX64" fmla="*/ 1369758 w 12205625"/>
              <a:gd name="connsiteY64" fmla="*/ 6351394 h 6867525"/>
              <a:gd name="connsiteX65" fmla="*/ 1365442 w 12205625"/>
              <a:gd name="connsiteY65" fmla="*/ 6352925 h 6867525"/>
              <a:gd name="connsiteX66" fmla="*/ 1360934 w 12205625"/>
              <a:gd name="connsiteY66" fmla="*/ 6353839 h 6867525"/>
              <a:gd name="connsiteX67" fmla="*/ 1356301 w 12205625"/>
              <a:gd name="connsiteY67" fmla="*/ 6354142 h 6867525"/>
              <a:gd name="connsiteX68" fmla="*/ 1351735 w 12205625"/>
              <a:gd name="connsiteY68" fmla="*/ 6353832 h 6867525"/>
              <a:gd name="connsiteX69" fmla="*/ 1347269 w 12205625"/>
              <a:gd name="connsiteY69" fmla="*/ 6352900 h 6867525"/>
              <a:gd name="connsiteX70" fmla="*/ 1342973 w 12205625"/>
              <a:gd name="connsiteY70" fmla="*/ 6351345 h 6867525"/>
              <a:gd name="connsiteX71" fmla="*/ 1338918 w 12205625"/>
              <a:gd name="connsiteY71" fmla="*/ 6349165 h 6867525"/>
              <a:gd name="connsiteX72" fmla="*/ 1335175 w 12205625"/>
              <a:gd name="connsiteY72" fmla="*/ 6346360 h 6867525"/>
              <a:gd name="connsiteX73" fmla="*/ 1331814 w 12205625"/>
              <a:gd name="connsiteY73" fmla="*/ 6342928 h 6867525"/>
              <a:gd name="connsiteX74" fmla="*/ 1328906 w 12205625"/>
              <a:gd name="connsiteY74" fmla="*/ 6338868 h 6867525"/>
              <a:gd name="connsiteX75" fmla="*/ 1326521 w 12205625"/>
              <a:gd name="connsiteY75" fmla="*/ 6334177 h 6867525"/>
              <a:gd name="connsiteX76" fmla="*/ 1324731 w 12205625"/>
              <a:gd name="connsiteY76" fmla="*/ 6328855 h 6867525"/>
              <a:gd name="connsiteX77" fmla="*/ 1323604 w 12205625"/>
              <a:gd name="connsiteY77" fmla="*/ 6322901 h 6867525"/>
              <a:gd name="connsiteX78" fmla="*/ 1323213 w 12205625"/>
              <a:gd name="connsiteY78" fmla="*/ 6316313 h 6867525"/>
              <a:gd name="connsiteX79" fmla="*/ 1323604 w 12205625"/>
              <a:gd name="connsiteY79" fmla="*/ 6309663 h 6867525"/>
              <a:gd name="connsiteX80" fmla="*/ 1324731 w 12205625"/>
              <a:gd name="connsiteY80" fmla="*/ 6303686 h 6867525"/>
              <a:gd name="connsiteX81" fmla="*/ 1326521 w 12205625"/>
              <a:gd name="connsiteY81" fmla="*/ 6298373 h 6867525"/>
              <a:gd name="connsiteX82" fmla="*/ 1328906 w 12205625"/>
              <a:gd name="connsiteY82" fmla="*/ 6293715 h 6867525"/>
              <a:gd name="connsiteX83" fmla="*/ 1331814 w 12205625"/>
              <a:gd name="connsiteY83" fmla="*/ 6289706 h 6867525"/>
              <a:gd name="connsiteX84" fmla="*/ 1335175 w 12205625"/>
              <a:gd name="connsiteY84" fmla="*/ 6286336 h 6867525"/>
              <a:gd name="connsiteX85" fmla="*/ 1338918 w 12205625"/>
              <a:gd name="connsiteY85" fmla="*/ 6283597 h 6867525"/>
              <a:gd name="connsiteX86" fmla="*/ 1342973 w 12205625"/>
              <a:gd name="connsiteY86" fmla="*/ 6281481 h 6867525"/>
              <a:gd name="connsiteX87" fmla="*/ 1347269 w 12205625"/>
              <a:gd name="connsiteY87" fmla="*/ 6279980 h 6867525"/>
              <a:gd name="connsiteX88" fmla="*/ 1351735 w 12205625"/>
              <a:gd name="connsiteY88" fmla="*/ 6279086 h 6867525"/>
              <a:gd name="connsiteX89" fmla="*/ 1356301 w 12205625"/>
              <a:gd name="connsiteY89" fmla="*/ 6278789 h 6867525"/>
              <a:gd name="connsiteX90" fmla="*/ 1112787 w 12205625"/>
              <a:gd name="connsiteY90" fmla="*/ 6240657 h 6867525"/>
              <a:gd name="connsiteX91" fmla="*/ 1111239 w 12205625"/>
              <a:gd name="connsiteY91" fmla="*/ 6240980 h 6867525"/>
              <a:gd name="connsiteX92" fmla="*/ 1109975 w 12205625"/>
              <a:gd name="connsiteY92" fmla="*/ 6241860 h 6867525"/>
              <a:gd name="connsiteX93" fmla="*/ 1109122 w 12205625"/>
              <a:gd name="connsiteY93" fmla="*/ 6243166 h 6867525"/>
              <a:gd name="connsiteX94" fmla="*/ 1108810 w 12205625"/>
              <a:gd name="connsiteY94" fmla="*/ 6244764 h 6867525"/>
              <a:gd name="connsiteX95" fmla="*/ 1108810 w 12205625"/>
              <a:gd name="connsiteY95" fmla="*/ 6388168 h 6867525"/>
              <a:gd name="connsiteX96" fmla="*/ 1109122 w 12205625"/>
              <a:gd name="connsiteY96" fmla="*/ 6389767 h 6867525"/>
              <a:gd name="connsiteX97" fmla="*/ 1109975 w 12205625"/>
              <a:gd name="connsiteY97" fmla="*/ 6391072 h 6867525"/>
              <a:gd name="connsiteX98" fmla="*/ 1111239 w 12205625"/>
              <a:gd name="connsiteY98" fmla="*/ 6391952 h 6867525"/>
              <a:gd name="connsiteX99" fmla="*/ 1112787 w 12205625"/>
              <a:gd name="connsiteY99" fmla="*/ 6392275 h 6867525"/>
              <a:gd name="connsiteX100" fmla="*/ 1149737 w 12205625"/>
              <a:gd name="connsiteY100" fmla="*/ 6392275 h 6867525"/>
              <a:gd name="connsiteX101" fmla="*/ 1151285 w 12205625"/>
              <a:gd name="connsiteY101" fmla="*/ 6391952 h 6867525"/>
              <a:gd name="connsiteX102" fmla="*/ 1152550 w 12205625"/>
              <a:gd name="connsiteY102" fmla="*/ 6391072 h 6867525"/>
              <a:gd name="connsiteX103" fmla="*/ 1153403 w 12205625"/>
              <a:gd name="connsiteY103" fmla="*/ 6389767 h 6867525"/>
              <a:gd name="connsiteX104" fmla="*/ 1153715 w 12205625"/>
              <a:gd name="connsiteY104" fmla="*/ 6388168 h 6867525"/>
              <a:gd name="connsiteX105" fmla="*/ 1153715 w 12205625"/>
              <a:gd name="connsiteY105" fmla="*/ 6244764 h 6867525"/>
              <a:gd name="connsiteX106" fmla="*/ 1153403 w 12205625"/>
              <a:gd name="connsiteY106" fmla="*/ 6243166 h 6867525"/>
              <a:gd name="connsiteX107" fmla="*/ 1152550 w 12205625"/>
              <a:gd name="connsiteY107" fmla="*/ 6241860 h 6867525"/>
              <a:gd name="connsiteX108" fmla="*/ 1151285 w 12205625"/>
              <a:gd name="connsiteY108" fmla="*/ 6240980 h 6867525"/>
              <a:gd name="connsiteX109" fmla="*/ 1149737 w 12205625"/>
              <a:gd name="connsiteY109" fmla="*/ 6240657 h 6867525"/>
              <a:gd name="connsiteX110" fmla="*/ 1112787 w 12205625"/>
              <a:gd name="connsiteY110" fmla="*/ 6240657 h 6867525"/>
              <a:gd name="connsiteX111" fmla="*/ 1261092 w 12205625"/>
              <a:gd name="connsiteY111" fmla="*/ 6239132 h 6867525"/>
              <a:gd name="connsiteX112" fmla="*/ 1256377 w 12205625"/>
              <a:gd name="connsiteY112" fmla="*/ 6239375 h 6867525"/>
              <a:gd name="connsiteX113" fmla="*/ 1251232 w 12205625"/>
              <a:gd name="connsiteY113" fmla="*/ 6240162 h 6867525"/>
              <a:gd name="connsiteX114" fmla="*/ 1245866 w 12205625"/>
              <a:gd name="connsiteY114" fmla="*/ 6241577 h 6867525"/>
              <a:gd name="connsiteX115" fmla="*/ 1240486 w 12205625"/>
              <a:gd name="connsiteY115" fmla="*/ 6243708 h 6867525"/>
              <a:gd name="connsiteX116" fmla="*/ 1235300 w 12205625"/>
              <a:gd name="connsiteY116" fmla="*/ 6246639 h 6867525"/>
              <a:gd name="connsiteX117" fmla="*/ 1230515 w 12205625"/>
              <a:gd name="connsiteY117" fmla="*/ 6250458 h 6867525"/>
              <a:gd name="connsiteX118" fmla="*/ 1226340 w 12205625"/>
              <a:gd name="connsiteY118" fmla="*/ 6255248 h 6867525"/>
              <a:gd name="connsiteX119" fmla="*/ 1222981 w 12205625"/>
              <a:gd name="connsiteY119" fmla="*/ 6261097 h 6867525"/>
              <a:gd name="connsiteX120" fmla="*/ 1222981 w 12205625"/>
              <a:gd name="connsiteY120" fmla="*/ 6244763 h 6867525"/>
              <a:gd name="connsiteX121" fmla="*/ 1222669 w 12205625"/>
              <a:gd name="connsiteY121" fmla="*/ 6243165 h 6867525"/>
              <a:gd name="connsiteX122" fmla="*/ 1221816 w 12205625"/>
              <a:gd name="connsiteY122" fmla="*/ 6241860 h 6867525"/>
              <a:gd name="connsiteX123" fmla="*/ 1220552 w 12205625"/>
              <a:gd name="connsiteY123" fmla="*/ 6240979 h 6867525"/>
              <a:gd name="connsiteX124" fmla="*/ 1219003 w 12205625"/>
              <a:gd name="connsiteY124" fmla="*/ 6240657 h 6867525"/>
              <a:gd name="connsiteX125" fmla="*/ 1183531 w 12205625"/>
              <a:gd name="connsiteY125" fmla="*/ 6240657 h 6867525"/>
              <a:gd name="connsiteX126" fmla="*/ 1181983 w 12205625"/>
              <a:gd name="connsiteY126" fmla="*/ 6240979 h 6867525"/>
              <a:gd name="connsiteX127" fmla="*/ 1180719 w 12205625"/>
              <a:gd name="connsiteY127" fmla="*/ 6241860 h 6867525"/>
              <a:gd name="connsiteX128" fmla="*/ 1179866 w 12205625"/>
              <a:gd name="connsiteY128" fmla="*/ 6243165 h 6867525"/>
              <a:gd name="connsiteX129" fmla="*/ 1179554 w 12205625"/>
              <a:gd name="connsiteY129" fmla="*/ 6244763 h 6867525"/>
              <a:gd name="connsiteX130" fmla="*/ 1179554 w 12205625"/>
              <a:gd name="connsiteY130" fmla="*/ 6388167 h 6867525"/>
              <a:gd name="connsiteX131" fmla="*/ 1179866 w 12205625"/>
              <a:gd name="connsiteY131" fmla="*/ 6389767 h 6867525"/>
              <a:gd name="connsiteX132" fmla="*/ 1180719 w 12205625"/>
              <a:gd name="connsiteY132" fmla="*/ 6391073 h 6867525"/>
              <a:gd name="connsiteX133" fmla="*/ 1181983 w 12205625"/>
              <a:gd name="connsiteY133" fmla="*/ 6391953 h 6867525"/>
              <a:gd name="connsiteX134" fmla="*/ 1183531 w 12205625"/>
              <a:gd name="connsiteY134" fmla="*/ 6392276 h 6867525"/>
              <a:gd name="connsiteX135" fmla="*/ 1220480 w 12205625"/>
              <a:gd name="connsiteY135" fmla="*/ 6392276 h 6867525"/>
              <a:gd name="connsiteX136" fmla="*/ 1222029 w 12205625"/>
              <a:gd name="connsiteY136" fmla="*/ 6391953 h 6867525"/>
              <a:gd name="connsiteX137" fmla="*/ 1223293 w 12205625"/>
              <a:gd name="connsiteY137" fmla="*/ 6391073 h 6867525"/>
              <a:gd name="connsiteX138" fmla="*/ 1224145 w 12205625"/>
              <a:gd name="connsiteY138" fmla="*/ 6389767 h 6867525"/>
              <a:gd name="connsiteX139" fmla="*/ 1224458 w 12205625"/>
              <a:gd name="connsiteY139" fmla="*/ 6388167 h 6867525"/>
              <a:gd name="connsiteX140" fmla="*/ 1224458 w 12205625"/>
              <a:gd name="connsiteY140" fmla="*/ 6326074 h 6867525"/>
              <a:gd name="connsiteX141" fmla="*/ 1224850 w 12205625"/>
              <a:gd name="connsiteY141" fmla="*/ 6318306 h 6867525"/>
              <a:gd name="connsiteX142" fmla="*/ 1225983 w 12205625"/>
              <a:gd name="connsiteY142" fmla="*/ 6311451 h 6867525"/>
              <a:gd name="connsiteX143" fmla="*/ 1227790 w 12205625"/>
              <a:gd name="connsiteY143" fmla="*/ 6305471 h 6867525"/>
              <a:gd name="connsiteX144" fmla="*/ 1230208 w 12205625"/>
              <a:gd name="connsiteY144" fmla="*/ 6300332 h 6867525"/>
              <a:gd name="connsiteX145" fmla="*/ 1233170 w 12205625"/>
              <a:gd name="connsiteY145" fmla="*/ 6295995 h 6867525"/>
              <a:gd name="connsiteX146" fmla="*/ 1236612 w 12205625"/>
              <a:gd name="connsiteY146" fmla="*/ 6292426 h 6867525"/>
              <a:gd name="connsiteX147" fmla="*/ 1240468 w 12205625"/>
              <a:gd name="connsiteY147" fmla="*/ 6289587 h 6867525"/>
              <a:gd name="connsiteX148" fmla="*/ 1244673 w 12205625"/>
              <a:gd name="connsiteY148" fmla="*/ 6287442 h 6867525"/>
              <a:gd name="connsiteX149" fmla="*/ 1249162 w 12205625"/>
              <a:gd name="connsiteY149" fmla="*/ 6285955 h 6867525"/>
              <a:gd name="connsiteX150" fmla="*/ 1253869 w 12205625"/>
              <a:gd name="connsiteY150" fmla="*/ 6285090 h 6867525"/>
              <a:gd name="connsiteX151" fmla="*/ 1258729 w 12205625"/>
              <a:gd name="connsiteY151" fmla="*/ 6284809 h 6867525"/>
              <a:gd name="connsiteX152" fmla="*/ 1260952 w 12205625"/>
              <a:gd name="connsiteY152" fmla="*/ 6284837 h 6867525"/>
              <a:gd name="connsiteX153" fmla="*/ 1263083 w 12205625"/>
              <a:gd name="connsiteY153" fmla="*/ 6284927 h 6867525"/>
              <a:gd name="connsiteX154" fmla="*/ 1265174 w 12205625"/>
              <a:gd name="connsiteY154" fmla="*/ 6285090 h 6867525"/>
              <a:gd name="connsiteX155" fmla="*/ 1267247 w 12205625"/>
              <a:gd name="connsiteY155" fmla="*/ 6285334 h 6867525"/>
              <a:gd name="connsiteX156" fmla="*/ 1268824 w 12205625"/>
              <a:gd name="connsiteY156" fmla="*/ 6285238 h 6867525"/>
              <a:gd name="connsiteX157" fmla="*/ 1269700 w 12205625"/>
              <a:gd name="connsiteY157" fmla="*/ 6284809 h 6867525"/>
              <a:gd name="connsiteX158" fmla="*/ 1270201 w 12205625"/>
              <a:gd name="connsiteY158" fmla="*/ 6284564 h 6867525"/>
              <a:gd name="connsiteX159" fmla="*/ 1271230 w 12205625"/>
              <a:gd name="connsiteY159" fmla="*/ 6283414 h 6867525"/>
              <a:gd name="connsiteX160" fmla="*/ 1271768 w 12205625"/>
              <a:gd name="connsiteY160" fmla="*/ 6281888 h 6867525"/>
              <a:gd name="connsiteX161" fmla="*/ 1274797 w 12205625"/>
              <a:gd name="connsiteY161" fmla="*/ 6261097 h 6867525"/>
              <a:gd name="connsiteX162" fmla="*/ 1277103 w 12205625"/>
              <a:gd name="connsiteY162" fmla="*/ 6245263 h 6867525"/>
              <a:gd name="connsiteX163" fmla="*/ 1277040 w 12205625"/>
              <a:gd name="connsiteY163" fmla="*/ 6243692 h 6867525"/>
              <a:gd name="connsiteX164" fmla="*/ 1270665 w 12205625"/>
              <a:gd name="connsiteY164" fmla="*/ 6240006 h 6867525"/>
              <a:gd name="connsiteX165" fmla="*/ 1263927 w 12205625"/>
              <a:gd name="connsiteY165" fmla="*/ 6239237 h 6867525"/>
              <a:gd name="connsiteX166" fmla="*/ 1261092 w 12205625"/>
              <a:gd name="connsiteY166" fmla="*/ 6239132 h 6867525"/>
              <a:gd name="connsiteX167" fmla="*/ 1023405 w 12205625"/>
              <a:gd name="connsiteY167" fmla="*/ 6236996 h 6867525"/>
              <a:gd name="connsiteX168" fmla="*/ 1016606 w 12205625"/>
              <a:gd name="connsiteY168" fmla="*/ 6237334 h 6867525"/>
              <a:gd name="connsiteX169" fmla="*/ 1010217 w 12205625"/>
              <a:gd name="connsiteY169" fmla="*/ 6238297 h 6867525"/>
              <a:gd name="connsiteX170" fmla="*/ 1004279 w 12205625"/>
              <a:gd name="connsiteY170" fmla="*/ 6239809 h 6867525"/>
              <a:gd name="connsiteX171" fmla="*/ 998829 w 12205625"/>
              <a:gd name="connsiteY171" fmla="*/ 6241797 h 6867525"/>
              <a:gd name="connsiteX172" fmla="*/ 993906 w 12205625"/>
              <a:gd name="connsiteY172" fmla="*/ 6244183 h 6867525"/>
              <a:gd name="connsiteX173" fmla="*/ 989551 w 12205625"/>
              <a:gd name="connsiteY173" fmla="*/ 6246894 h 6867525"/>
              <a:gd name="connsiteX174" fmla="*/ 985800 w 12205625"/>
              <a:gd name="connsiteY174" fmla="*/ 6249853 h 6867525"/>
              <a:gd name="connsiteX175" fmla="*/ 980272 w 12205625"/>
              <a:gd name="connsiteY175" fmla="*/ 6256215 h 6867525"/>
              <a:gd name="connsiteX176" fmla="*/ 980272 w 12205625"/>
              <a:gd name="connsiteY176" fmla="*/ 6244763 h 6867525"/>
              <a:gd name="connsiteX177" fmla="*/ 979959 w 12205625"/>
              <a:gd name="connsiteY177" fmla="*/ 6243165 h 6867525"/>
              <a:gd name="connsiteX178" fmla="*/ 979107 w 12205625"/>
              <a:gd name="connsiteY178" fmla="*/ 6241860 h 6867525"/>
              <a:gd name="connsiteX179" fmla="*/ 977842 w 12205625"/>
              <a:gd name="connsiteY179" fmla="*/ 6240979 h 6867525"/>
              <a:gd name="connsiteX180" fmla="*/ 976293 w 12205625"/>
              <a:gd name="connsiteY180" fmla="*/ 6240657 h 6867525"/>
              <a:gd name="connsiteX181" fmla="*/ 940822 w 12205625"/>
              <a:gd name="connsiteY181" fmla="*/ 6240657 h 6867525"/>
              <a:gd name="connsiteX182" fmla="*/ 939273 w 12205625"/>
              <a:gd name="connsiteY182" fmla="*/ 6240979 h 6867525"/>
              <a:gd name="connsiteX183" fmla="*/ 938008 w 12205625"/>
              <a:gd name="connsiteY183" fmla="*/ 6241860 h 6867525"/>
              <a:gd name="connsiteX184" fmla="*/ 937156 w 12205625"/>
              <a:gd name="connsiteY184" fmla="*/ 6243165 h 6867525"/>
              <a:gd name="connsiteX185" fmla="*/ 936843 w 12205625"/>
              <a:gd name="connsiteY185" fmla="*/ 6244763 h 6867525"/>
              <a:gd name="connsiteX186" fmla="*/ 936843 w 12205625"/>
              <a:gd name="connsiteY186" fmla="*/ 6446130 h 6867525"/>
              <a:gd name="connsiteX187" fmla="*/ 937156 w 12205625"/>
              <a:gd name="connsiteY187" fmla="*/ 6447729 h 6867525"/>
              <a:gd name="connsiteX188" fmla="*/ 938008 w 12205625"/>
              <a:gd name="connsiteY188" fmla="*/ 6449034 h 6867525"/>
              <a:gd name="connsiteX189" fmla="*/ 939273 w 12205625"/>
              <a:gd name="connsiteY189" fmla="*/ 6449914 h 6867525"/>
              <a:gd name="connsiteX190" fmla="*/ 940822 w 12205625"/>
              <a:gd name="connsiteY190" fmla="*/ 6450237 h 6867525"/>
              <a:gd name="connsiteX191" fmla="*/ 977771 w 12205625"/>
              <a:gd name="connsiteY191" fmla="*/ 6450237 h 6867525"/>
              <a:gd name="connsiteX192" fmla="*/ 979319 w 12205625"/>
              <a:gd name="connsiteY192" fmla="*/ 6449914 h 6867525"/>
              <a:gd name="connsiteX193" fmla="*/ 980583 w 12205625"/>
              <a:gd name="connsiteY193" fmla="*/ 6449034 h 6867525"/>
              <a:gd name="connsiteX194" fmla="*/ 981436 w 12205625"/>
              <a:gd name="connsiteY194" fmla="*/ 6447729 h 6867525"/>
              <a:gd name="connsiteX195" fmla="*/ 981748 w 12205625"/>
              <a:gd name="connsiteY195" fmla="*/ 6446130 h 6867525"/>
              <a:gd name="connsiteX196" fmla="*/ 981748 w 12205625"/>
              <a:gd name="connsiteY196" fmla="*/ 6380378 h 6867525"/>
              <a:gd name="connsiteX197" fmla="*/ 984638 w 12205625"/>
              <a:gd name="connsiteY197" fmla="*/ 6383485 h 6867525"/>
              <a:gd name="connsiteX198" fmla="*/ 988188 w 12205625"/>
              <a:gd name="connsiteY198" fmla="*/ 6386364 h 6867525"/>
              <a:gd name="connsiteX199" fmla="*/ 992369 w 12205625"/>
              <a:gd name="connsiteY199" fmla="*/ 6388958 h 6867525"/>
              <a:gd name="connsiteX200" fmla="*/ 997148 w 12205625"/>
              <a:gd name="connsiteY200" fmla="*/ 6391208 h 6867525"/>
              <a:gd name="connsiteX201" fmla="*/ 1002495 w 12205625"/>
              <a:gd name="connsiteY201" fmla="*/ 6393057 h 6867525"/>
              <a:gd name="connsiteX202" fmla="*/ 1008379 w 12205625"/>
              <a:gd name="connsiteY202" fmla="*/ 6394450 h 6867525"/>
              <a:gd name="connsiteX203" fmla="*/ 1014768 w 12205625"/>
              <a:gd name="connsiteY203" fmla="*/ 6395327 h 6867525"/>
              <a:gd name="connsiteX204" fmla="*/ 1021631 w 12205625"/>
              <a:gd name="connsiteY204" fmla="*/ 6395632 h 6867525"/>
              <a:gd name="connsiteX205" fmla="*/ 1027154 w 12205625"/>
              <a:gd name="connsiteY205" fmla="*/ 6395428 h 6867525"/>
              <a:gd name="connsiteX206" fmla="*/ 1032518 w 12205625"/>
              <a:gd name="connsiteY206" fmla="*/ 6394823 h 6867525"/>
              <a:gd name="connsiteX207" fmla="*/ 1037712 w 12205625"/>
              <a:gd name="connsiteY207" fmla="*/ 6393828 h 6867525"/>
              <a:gd name="connsiteX208" fmla="*/ 1042728 w 12205625"/>
              <a:gd name="connsiteY208" fmla="*/ 6392455 h 6867525"/>
              <a:gd name="connsiteX209" fmla="*/ 1047556 w 12205625"/>
              <a:gd name="connsiteY209" fmla="*/ 6390715 h 6867525"/>
              <a:gd name="connsiteX210" fmla="*/ 1052186 w 12205625"/>
              <a:gd name="connsiteY210" fmla="*/ 6388620 h 6867525"/>
              <a:gd name="connsiteX211" fmla="*/ 1056609 w 12205625"/>
              <a:gd name="connsiteY211" fmla="*/ 6386181 h 6867525"/>
              <a:gd name="connsiteX212" fmla="*/ 1060815 w 12205625"/>
              <a:gd name="connsiteY212" fmla="*/ 6383409 h 6867525"/>
              <a:gd name="connsiteX213" fmla="*/ 1064716 w 12205625"/>
              <a:gd name="connsiteY213" fmla="*/ 6380378 h 6867525"/>
              <a:gd name="connsiteX214" fmla="*/ 1068540 w 12205625"/>
              <a:gd name="connsiteY214" fmla="*/ 6376912 h 6867525"/>
              <a:gd name="connsiteX215" fmla="*/ 1072040 w 12205625"/>
              <a:gd name="connsiteY215" fmla="*/ 6373209 h 6867525"/>
              <a:gd name="connsiteX216" fmla="*/ 1075285 w 12205625"/>
              <a:gd name="connsiteY216" fmla="*/ 6369219 h 6867525"/>
              <a:gd name="connsiteX217" fmla="*/ 1078266 w 12205625"/>
              <a:gd name="connsiteY217" fmla="*/ 6364953 h 6867525"/>
              <a:gd name="connsiteX218" fmla="*/ 1080974 w 12205625"/>
              <a:gd name="connsiteY218" fmla="*/ 6360423 h 6867525"/>
              <a:gd name="connsiteX219" fmla="*/ 1083399 w 12205625"/>
              <a:gd name="connsiteY219" fmla="*/ 6355639 h 6867525"/>
              <a:gd name="connsiteX220" fmla="*/ 1084033 w 12205625"/>
              <a:gd name="connsiteY220" fmla="*/ 6354143 h 6867525"/>
              <a:gd name="connsiteX221" fmla="*/ 1087361 w 12205625"/>
              <a:gd name="connsiteY221" fmla="*/ 6345356 h 6867525"/>
              <a:gd name="connsiteX222" fmla="*/ 1088880 w 12205625"/>
              <a:gd name="connsiteY222" fmla="*/ 6339880 h 6867525"/>
              <a:gd name="connsiteX223" fmla="*/ 1090080 w 12205625"/>
              <a:gd name="connsiteY223" fmla="*/ 6334177 h 6867525"/>
              <a:gd name="connsiteX224" fmla="*/ 1090944 w 12205625"/>
              <a:gd name="connsiteY224" fmla="*/ 6328315 h 6867525"/>
              <a:gd name="connsiteX225" fmla="*/ 1091472 w 12205625"/>
              <a:gd name="connsiteY225" fmla="*/ 6322249 h 6867525"/>
              <a:gd name="connsiteX226" fmla="*/ 1091650 w 12205625"/>
              <a:gd name="connsiteY226" fmla="*/ 6316009 h 6867525"/>
              <a:gd name="connsiteX227" fmla="*/ 1091491 w 12205625"/>
              <a:gd name="connsiteY227" fmla="*/ 6309886 h 6867525"/>
              <a:gd name="connsiteX228" fmla="*/ 1091019 w 12205625"/>
              <a:gd name="connsiteY228" fmla="*/ 6303923 h 6867525"/>
              <a:gd name="connsiteX229" fmla="*/ 1090238 w 12205625"/>
              <a:gd name="connsiteY229" fmla="*/ 6298132 h 6867525"/>
              <a:gd name="connsiteX230" fmla="*/ 1089154 w 12205625"/>
              <a:gd name="connsiteY230" fmla="*/ 6292525 h 6867525"/>
              <a:gd name="connsiteX231" fmla="*/ 1087771 w 12205625"/>
              <a:gd name="connsiteY231" fmla="*/ 6287115 h 6867525"/>
              <a:gd name="connsiteX232" fmla="*/ 1086094 w 12205625"/>
              <a:gd name="connsiteY232" fmla="*/ 6281913 h 6867525"/>
              <a:gd name="connsiteX233" fmla="*/ 1084862 w 12205625"/>
              <a:gd name="connsiteY233" fmla="*/ 6278790 h 6867525"/>
              <a:gd name="connsiteX234" fmla="*/ 1084129 w 12205625"/>
              <a:gd name="connsiteY234" fmla="*/ 6276931 h 6867525"/>
              <a:gd name="connsiteX235" fmla="*/ 1081880 w 12205625"/>
              <a:gd name="connsiteY235" fmla="*/ 6272183 h 6867525"/>
              <a:gd name="connsiteX236" fmla="*/ 1079352 w 12205625"/>
              <a:gd name="connsiteY236" fmla="*/ 6267679 h 6867525"/>
              <a:gd name="connsiteX237" fmla="*/ 1076551 w 12205625"/>
              <a:gd name="connsiteY237" fmla="*/ 6263433 h 6867525"/>
              <a:gd name="connsiteX238" fmla="*/ 1073481 w 12205625"/>
              <a:gd name="connsiteY238" fmla="*/ 6259457 h 6867525"/>
              <a:gd name="connsiteX239" fmla="*/ 1070556 w 12205625"/>
              <a:gd name="connsiteY239" fmla="*/ 6256215 h 6867525"/>
              <a:gd name="connsiteX240" fmla="*/ 1066554 w 12205625"/>
              <a:gd name="connsiteY240" fmla="*/ 6252361 h 6867525"/>
              <a:gd name="connsiteX241" fmla="*/ 1062708 w 12205625"/>
              <a:gd name="connsiteY241" fmla="*/ 6249267 h 6867525"/>
              <a:gd name="connsiteX242" fmla="*/ 1058613 w 12205625"/>
              <a:gd name="connsiteY242" fmla="*/ 6246491 h 6867525"/>
              <a:gd name="connsiteX243" fmla="*/ 1054275 w 12205625"/>
              <a:gd name="connsiteY243" fmla="*/ 6244045 h 6867525"/>
              <a:gd name="connsiteX244" fmla="*/ 1049697 w 12205625"/>
              <a:gd name="connsiteY244" fmla="*/ 6241942 h 6867525"/>
              <a:gd name="connsiteX245" fmla="*/ 1044886 w 12205625"/>
              <a:gd name="connsiteY245" fmla="*/ 6240194 h 6867525"/>
              <a:gd name="connsiteX246" fmla="*/ 1039847 w 12205625"/>
              <a:gd name="connsiteY246" fmla="*/ 6238813 h 6867525"/>
              <a:gd name="connsiteX247" fmla="*/ 1034583 w 12205625"/>
              <a:gd name="connsiteY247" fmla="*/ 6237812 h 6867525"/>
              <a:gd name="connsiteX248" fmla="*/ 1029101 w 12205625"/>
              <a:gd name="connsiteY248" fmla="*/ 6237202 h 6867525"/>
              <a:gd name="connsiteX249" fmla="*/ 1023405 w 12205625"/>
              <a:gd name="connsiteY249" fmla="*/ 6236996 h 6867525"/>
              <a:gd name="connsiteX250" fmla="*/ 1524474 w 12205625"/>
              <a:gd name="connsiteY250" fmla="*/ 6236081 h 6867525"/>
              <a:gd name="connsiteX251" fmla="*/ 1518900 w 12205625"/>
              <a:gd name="connsiteY251" fmla="*/ 6236268 h 6867525"/>
              <a:gd name="connsiteX252" fmla="*/ 1513439 w 12205625"/>
              <a:gd name="connsiteY252" fmla="*/ 6236823 h 6867525"/>
              <a:gd name="connsiteX253" fmla="*/ 1508104 w 12205625"/>
              <a:gd name="connsiteY253" fmla="*/ 6237736 h 6867525"/>
              <a:gd name="connsiteX254" fmla="*/ 1502907 w 12205625"/>
              <a:gd name="connsiteY254" fmla="*/ 6238997 h 6867525"/>
              <a:gd name="connsiteX255" fmla="*/ 1497861 w 12205625"/>
              <a:gd name="connsiteY255" fmla="*/ 6240598 h 6867525"/>
              <a:gd name="connsiteX256" fmla="*/ 1492978 w 12205625"/>
              <a:gd name="connsiteY256" fmla="*/ 6242529 h 6867525"/>
              <a:gd name="connsiteX257" fmla="*/ 1488271 w 12205625"/>
              <a:gd name="connsiteY257" fmla="*/ 6244779 h 6867525"/>
              <a:gd name="connsiteX258" fmla="*/ 1483751 w 12205625"/>
              <a:gd name="connsiteY258" fmla="*/ 6247341 h 6867525"/>
              <a:gd name="connsiteX259" fmla="*/ 1479433 w 12205625"/>
              <a:gd name="connsiteY259" fmla="*/ 6250204 h 6867525"/>
              <a:gd name="connsiteX260" fmla="*/ 1475328 w 12205625"/>
              <a:gd name="connsiteY260" fmla="*/ 6253359 h 6867525"/>
              <a:gd name="connsiteX261" fmla="*/ 1471448 w 12205625"/>
              <a:gd name="connsiteY261" fmla="*/ 6256796 h 6867525"/>
              <a:gd name="connsiteX262" fmla="*/ 1467808 w 12205625"/>
              <a:gd name="connsiteY262" fmla="*/ 6260506 h 6867525"/>
              <a:gd name="connsiteX263" fmla="*/ 1464417 w 12205625"/>
              <a:gd name="connsiteY263" fmla="*/ 6264480 h 6867525"/>
              <a:gd name="connsiteX264" fmla="*/ 1461291 w 12205625"/>
              <a:gd name="connsiteY264" fmla="*/ 6268707 h 6867525"/>
              <a:gd name="connsiteX265" fmla="*/ 1458440 w 12205625"/>
              <a:gd name="connsiteY265" fmla="*/ 6273179 h 6867525"/>
              <a:gd name="connsiteX266" fmla="*/ 1455878 w 12205625"/>
              <a:gd name="connsiteY266" fmla="*/ 6277886 h 6867525"/>
              <a:gd name="connsiteX267" fmla="*/ 1453616 w 12205625"/>
              <a:gd name="connsiteY267" fmla="*/ 6282819 h 6867525"/>
              <a:gd name="connsiteX268" fmla="*/ 1451663 w 12205625"/>
              <a:gd name="connsiteY268" fmla="*/ 6287986 h 6867525"/>
              <a:gd name="connsiteX269" fmla="*/ 1450047 w 12205625"/>
              <a:gd name="connsiteY269" fmla="*/ 6293322 h 6867525"/>
              <a:gd name="connsiteX270" fmla="*/ 1448764 w 12205625"/>
              <a:gd name="connsiteY270" fmla="*/ 6298874 h 6867525"/>
              <a:gd name="connsiteX271" fmla="*/ 1447832 w 12205625"/>
              <a:gd name="connsiteY271" fmla="*/ 6304614 h 6867525"/>
              <a:gd name="connsiteX272" fmla="*/ 1447263 w 12205625"/>
              <a:gd name="connsiteY272" fmla="*/ 6310532 h 6867525"/>
              <a:gd name="connsiteX273" fmla="*/ 1447071 w 12205625"/>
              <a:gd name="connsiteY273" fmla="*/ 6316619 h 6867525"/>
              <a:gd name="connsiteX274" fmla="*/ 1447252 w 12205625"/>
              <a:gd name="connsiteY274" fmla="*/ 6322418 h 6867525"/>
              <a:gd name="connsiteX275" fmla="*/ 1447788 w 12205625"/>
              <a:gd name="connsiteY275" fmla="*/ 6328066 h 6867525"/>
              <a:gd name="connsiteX276" fmla="*/ 1448667 w 12205625"/>
              <a:gd name="connsiteY276" fmla="*/ 6333554 h 6867525"/>
              <a:gd name="connsiteX277" fmla="*/ 1449877 w 12205625"/>
              <a:gd name="connsiteY277" fmla="*/ 6338874 h 6867525"/>
              <a:gd name="connsiteX278" fmla="*/ 1451408 w 12205625"/>
              <a:gd name="connsiteY278" fmla="*/ 6344017 h 6867525"/>
              <a:gd name="connsiteX279" fmla="*/ 1453247 w 12205625"/>
              <a:gd name="connsiteY279" fmla="*/ 6348975 h 6867525"/>
              <a:gd name="connsiteX280" fmla="*/ 1455383 w 12205625"/>
              <a:gd name="connsiteY280" fmla="*/ 6353738 h 6867525"/>
              <a:gd name="connsiteX281" fmla="*/ 1457805 w 12205625"/>
              <a:gd name="connsiteY281" fmla="*/ 6358299 h 6867525"/>
              <a:gd name="connsiteX282" fmla="*/ 1460500 w 12205625"/>
              <a:gd name="connsiteY282" fmla="*/ 6362650 h 6867525"/>
              <a:gd name="connsiteX283" fmla="*/ 1463458 w 12205625"/>
              <a:gd name="connsiteY283" fmla="*/ 6366781 h 6867525"/>
              <a:gd name="connsiteX284" fmla="*/ 1466666 w 12205625"/>
              <a:gd name="connsiteY284" fmla="*/ 6370685 h 6867525"/>
              <a:gd name="connsiteX285" fmla="*/ 1470114 w 12205625"/>
              <a:gd name="connsiteY285" fmla="*/ 6374352 h 6867525"/>
              <a:gd name="connsiteX286" fmla="*/ 1473789 w 12205625"/>
              <a:gd name="connsiteY286" fmla="*/ 6377775 h 6867525"/>
              <a:gd name="connsiteX287" fmla="*/ 1477681 w 12205625"/>
              <a:gd name="connsiteY287" fmla="*/ 6380944 h 6867525"/>
              <a:gd name="connsiteX288" fmla="*/ 1481778 w 12205625"/>
              <a:gd name="connsiteY288" fmla="*/ 6383852 h 6867525"/>
              <a:gd name="connsiteX289" fmla="*/ 1486067 w 12205625"/>
              <a:gd name="connsiteY289" fmla="*/ 6386489 h 6867525"/>
              <a:gd name="connsiteX290" fmla="*/ 1490538 w 12205625"/>
              <a:gd name="connsiteY290" fmla="*/ 6388849 h 6867525"/>
              <a:gd name="connsiteX291" fmla="*/ 1495179 w 12205625"/>
              <a:gd name="connsiteY291" fmla="*/ 6390921 h 6867525"/>
              <a:gd name="connsiteX292" fmla="*/ 1499979 w 12205625"/>
              <a:gd name="connsiteY292" fmla="*/ 6392697 h 6867525"/>
              <a:gd name="connsiteX293" fmla="*/ 1504925 w 12205625"/>
              <a:gd name="connsiteY293" fmla="*/ 6394170 h 6867525"/>
              <a:gd name="connsiteX294" fmla="*/ 1510007 w 12205625"/>
              <a:gd name="connsiteY294" fmla="*/ 6395330 h 6867525"/>
              <a:gd name="connsiteX295" fmla="*/ 1515213 w 12205625"/>
              <a:gd name="connsiteY295" fmla="*/ 6396169 h 6867525"/>
              <a:gd name="connsiteX296" fmla="*/ 1520531 w 12205625"/>
              <a:gd name="connsiteY296" fmla="*/ 6396678 h 6867525"/>
              <a:gd name="connsiteX297" fmla="*/ 1525950 w 12205625"/>
              <a:gd name="connsiteY297" fmla="*/ 6396850 h 6867525"/>
              <a:gd name="connsiteX298" fmla="*/ 1532781 w 12205625"/>
              <a:gd name="connsiteY298" fmla="*/ 6396579 h 6867525"/>
              <a:gd name="connsiteX299" fmla="*/ 1539291 w 12205625"/>
              <a:gd name="connsiteY299" fmla="*/ 6395786 h 6867525"/>
              <a:gd name="connsiteX300" fmla="*/ 1545476 w 12205625"/>
              <a:gd name="connsiteY300" fmla="*/ 6394505 h 6867525"/>
              <a:gd name="connsiteX301" fmla="*/ 1551333 w 12205625"/>
              <a:gd name="connsiteY301" fmla="*/ 6392768 h 6867525"/>
              <a:gd name="connsiteX302" fmla="*/ 1556859 w 12205625"/>
              <a:gd name="connsiteY302" fmla="*/ 6390607 h 6867525"/>
              <a:gd name="connsiteX303" fmla="*/ 1562051 w 12205625"/>
              <a:gd name="connsiteY303" fmla="*/ 6388054 h 6867525"/>
              <a:gd name="connsiteX304" fmla="*/ 1566905 w 12205625"/>
              <a:gd name="connsiteY304" fmla="*/ 6385143 h 6867525"/>
              <a:gd name="connsiteX305" fmla="*/ 1571417 w 12205625"/>
              <a:gd name="connsiteY305" fmla="*/ 6381905 h 6867525"/>
              <a:gd name="connsiteX306" fmla="*/ 1575585 w 12205625"/>
              <a:gd name="connsiteY306" fmla="*/ 6378373 h 6867525"/>
              <a:gd name="connsiteX307" fmla="*/ 1579405 w 12205625"/>
              <a:gd name="connsiteY307" fmla="*/ 6374579 h 6867525"/>
              <a:gd name="connsiteX308" fmla="*/ 1582873 w 12205625"/>
              <a:gd name="connsiteY308" fmla="*/ 6370556 h 6867525"/>
              <a:gd name="connsiteX309" fmla="*/ 1585988 w 12205625"/>
              <a:gd name="connsiteY309" fmla="*/ 6366337 h 6867525"/>
              <a:gd name="connsiteX310" fmla="*/ 1588744 w 12205625"/>
              <a:gd name="connsiteY310" fmla="*/ 6361953 h 6867525"/>
              <a:gd name="connsiteX311" fmla="*/ 1591139 w 12205625"/>
              <a:gd name="connsiteY311" fmla="*/ 6357438 h 6867525"/>
              <a:gd name="connsiteX312" fmla="*/ 1592589 w 12205625"/>
              <a:gd name="connsiteY312" fmla="*/ 6354142 h 6867525"/>
              <a:gd name="connsiteX313" fmla="*/ 1593169 w 12205625"/>
              <a:gd name="connsiteY313" fmla="*/ 6352822 h 6867525"/>
              <a:gd name="connsiteX314" fmla="*/ 1594832 w 12205625"/>
              <a:gd name="connsiteY314" fmla="*/ 6348140 h 6867525"/>
              <a:gd name="connsiteX315" fmla="*/ 1595017 w 12205625"/>
              <a:gd name="connsiteY315" fmla="*/ 6346485 h 6867525"/>
              <a:gd name="connsiteX316" fmla="*/ 1594588 w 12205625"/>
              <a:gd name="connsiteY316" fmla="*/ 6344942 h 6867525"/>
              <a:gd name="connsiteX317" fmla="*/ 1593627 w 12205625"/>
              <a:gd name="connsiteY317" fmla="*/ 6343685 h 6867525"/>
              <a:gd name="connsiteX318" fmla="*/ 1592215 w 12205625"/>
              <a:gd name="connsiteY318" fmla="*/ 6342887 h 6867525"/>
              <a:gd name="connsiteX319" fmla="*/ 1559980 w 12205625"/>
              <a:gd name="connsiteY319" fmla="*/ 6332703 h 6867525"/>
              <a:gd name="connsiteX320" fmla="*/ 1558513 w 12205625"/>
              <a:gd name="connsiteY320" fmla="*/ 6332537 h 6867525"/>
              <a:gd name="connsiteX321" fmla="*/ 1557135 w 12205625"/>
              <a:gd name="connsiteY321" fmla="*/ 6332922 h 6867525"/>
              <a:gd name="connsiteX322" fmla="*/ 1555975 w 12205625"/>
              <a:gd name="connsiteY322" fmla="*/ 6333788 h 6867525"/>
              <a:gd name="connsiteX323" fmla="*/ 1555158 w 12205625"/>
              <a:gd name="connsiteY323" fmla="*/ 6335066 h 6867525"/>
              <a:gd name="connsiteX324" fmla="*/ 1553059 w 12205625"/>
              <a:gd name="connsiteY324" fmla="*/ 6339274 h 6867525"/>
              <a:gd name="connsiteX325" fmla="*/ 1550294 w 12205625"/>
              <a:gd name="connsiteY325" fmla="*/ 6343224 h 6867525"/>
              <a:gd name="connsiteX326" fmla="*/ 1546848 w 12205625"/>
              <a:gd name="connsiteY326" fmla="*/ 6346776 h 6867525"/>
              <a:gd name="connsiteX327" fmla="*/ 1542705 w 12205625"/>
              <a:gd name="connsiteY327" fmla="*/ 6349785 h 6867525"/>
              <a:gd name="connsiteX328" fmla="*/ 1537851 w 12205625"/>
              <a:gd name="connsiteY328" fmla="*/ 6352111 h 6867525"/>
              <a:gd name="connsiteX329" fmla="*/ 1532271 w 12205625"/>
              <a:gd name="connsiteY329" fmla="*/ 6353611 h 6867525"/>
              <a:gd name="connsiteX330" fmla="*/ 1525950 w 12205625"/>
              <a:gd name="connsiteY330" fmla="*/ 6354142 h 6867525"/>
              <a:gd name="connsiteX331" fmla="*/ 1520957 w 12205625"/>
              <a:gd name="connsiteY331" fmla="*/ 6353811 h 6867525"/>
              <a:gd name="connsiteX332" fmla="*/ 1516168 w 12205625"/>
              <a:gd name="connsiteY332" fmla="*/ 6352827 h 6867525"/>
              <a:gd name="connsiteX333" fmla="*/ 1511640 w 12205625"/>
              <a:gd name="connsiteY333" fmla="*/ 6351203 h 6867525"/>
              <a:gd name="connsiteX334" fmla="*/ 1507429 w 12205625"/>
              <a:gd name="connsiteY334" fmla="*/ 6348949 h 6867525"/>
              <a:gd name="connsiteX335" fmla="*/ 1503595 w 12205625"/>
              <a:gd name="connsiteY335" fmla="*/ 6346080 h 6867525"/>
              <a:gd name="connsiteX336" fmla="*/ 1500193 w 12205625"/>
              <a:gd name="connsiteY336" fmla="*/ 6342607 h 6867525"/>
              <a:gd name="connsiteX337" fmla="*/ 1497281 w 12205625"/>
              <a:gd name="connsiteY337" fmla="*/ 6338542 h 6867525"/>
              <a:gd name="connsiteX338" fmla="*/ 1494917 w 12205625"/>
              <a:gd name="connsiteY338" fmla="*/ 6333899 h 6867525"/>
              <a:gd name="connsiteX339" fmla="*/ 1493157 w 12205625"/>
              <a:gd name="connsiteY339" fmla="*/ 6328689 h 6867525"/>
              <a:gd name="connsiteX340" fmla="*/ 1492059 w 12205625"/>
              <a:gd name="connsiteY340" fmla="*/ 6322925 h 6867525"/>
              <a:gd name="connsiteX341" fmla="*/ 1491680 w 12205625"/>
              <a:gd name="connsiteY341" fmla="*/ 6316619 h 6867525"/>
              <a:gd name="connsiteX342" fmla="*/ 1492045 w 12205625"/>
              <a:gd name="connsiteY342" fmla="*/ 6310236 h 6867525"/>
              <a:gd name="connsiteX343" fmla="*/ 1493105 w 12205625"/>
              <a:gd name="connsiteY343" fmla="*/ 6304410 h 6867525"/>
              <a:gd name="connsiteX344" fmla="*/ 1494809 w 12205625"/>
              <a:gd name="connsiteY344" fmla="*/ 6299150 h 6867525"/>
              <a:gd name="connsiteX345" fmla="*/ 1497103 w 12205625"/>
              <a:gd name="connsiteY345" fmla="*/ 6294468 h 6867525"/>
              <a:gd name="connsiteX346" fmla="*/ 1499937 w 12205625"/>
              <a:gd name="connsiteY346" fmla="*/ 6290374 h 6867525"/>
              <a:gd name="connsiteX347" fmla="*/ 1503259 w 12205625"/>
              <a:gd name="connsiteY347" fmla="*/ 6286880 h 6867525"/>
              <a:gd name="connsiteX348" fmla="*/ 1507016 w 12205625"/>
              <a:gd name="connsiteY348" fmla="*/ 6283997 h 6867525"/>
              <a:gd name="connsiteX349" fmla="*/ 1511157 w 12205625"/>
              <a:gd name="connsiteY349" fmla="*/ 6281735 h 6867525"/>
              <a:gd name="connsiteX350" fmla="*/ 1515629 w 12205625"/>
              <a:gd name="connsiteY350" fmla="*/ 6280106 h 6867525"/>
              <a:gd name="connsiteX351" fmla="*/ 1520381 w 12205625"/>
              <a:gd name="connsiteY351" fmla="*/ 6279120 h 6867525"/>
              <a:gd name="connsiteX352" fmla="*/ 1525361 w 12205625"/>
              <a:gd name="connsiteY352" fmla="*/ 6278789 h 6867525"/>
              <a:gd name="connsiteX353" fmla="*/ 1531642 w 12205625"/>
              <a:gd name="connsiteY353" fmla="*/ 6279308 h 6867525"/>
              <a:gd name="connsiteX354" fmla="*/ 1537118 w 12205625"/>
              <a:gd name="connsiteY354" fmla="*/ 6280776 h 6867525"/>
              <a:gd name="connsiteX355" fmla="*/ 1541824 w 12205625"/>
              <a:gd name="connsiteY355" fmla="*/ 6283064 h 6867525"/>
              <a:gd name="connsiteX356" fmla="*/ 1545800 w 12205625"/>
              <a:gd name="connsiteY356" fmla="*/ 6286041 h 6867525"/>
              <a:gd name="connsiteX357" fmla="*/ 1549081 w 12205625"/>
              <a:gd name="connsiteY357" fmla="*/ 6289575 h 6867525"/>
              <a:gd name="connsiteX358" fmla="*/ 1551705 w 12205625"/>
              <a:gd name="connsiteY358" fmla="*/ 6293537 h 6867525"/>
              <a:gd name="connsiteX359" fmla="*/ 1553709 w 12205625"/>
              <a:gd name="connsiteY359" fmla="*/ 6297795 h 6867525"/>
              <a:gd name="connsiteX360" fmla="*/ 1554514 w 12205625"/>
              <a:gd name="connsiteY360" fmla="*/ 6299099 h 6867525"/>
              <a:gd name="connsiteX361" fmla="*/ 1555675 w 12205625"/>
              <a:gd name="connsiteY361" fmla="*/ 6299988 h 6867525"/>
              <a:gd name="connsiteX362" fmla="*/ 1557062 w 12205625"/>
              <a:gd name="connsiteY362" fmla="*/ 6300390 h 6867525"/>
              <a:gd name="connsiteX363" fmla="*/ 1558545 w 12205625"/>
              <a:gd name="connsiteY363" fmla="*/ 6300231 h 6867525"/>
              <a:gd name="connsiteX364" fmla="*/ 1591335 w 12205625"/>
              <a:gd name="connsiteY364" fmla="*/ 6290024 h 6867525"/>
              <a:gd name="connsiteX365" fmla="*/ 1592748 w 12205625"/>
              <a:gd name="connsiteY365" fmla="*/ 6289235 h 6867525"/>
              <a:gd name="connsiteX366" fmla="*/ 1593713 w 12205625"/>
              <a:gd name="connsiteY366" fmla="*/ 6287986 h 6867525"/>
              <a:gd name="connsiteX367" fmla="*/ 1594150 w 12205625"/>
              <a:gd name="connsiteY367" fmla="*/ 6286448 h 6867525"/>
              <a:gd name="connsiteX368" fmla="*/ 1593977 w 12205625"/>
              <a:gd name="connsiteY368" fmla="*/ 6284794 h 6867525"/>
              <a:gd name="connsiteX369" fmla="*/ 1592440 w 12205625"/>
              <a:gd name="connsiteY369" fmla="*/ 6280308 h 6867525"/>
              <a:gd name="connsiteX370" fmla="*/ 1591800 w 12205625"/>
              <a:gd name="connsiteY370" fmla="*/ 6278789 h 6867525"/>
              <a:gd name="connsiteX371" fmla="*/ 1590582 w 12205625"/>
              <a:gd name="connsiteY371" fmla="*/ 6275899 h 6867525"/>
              <a:gd name="connsiteX372" fmla="*/ 1588404 w 12205625"/>
              <a:gd name="connsiteY372" fmla="*/ 6271591 h 6867525"/>
              <a:gd name="connsiteX373" fmla="*/ 1585906 w 12205625"/>
              <a:gd name="connsiteY373" fmla="*/ 6267410 h 6867525"/>
              <a:gd name="connsiteX374" fmla="*/ 1583089 w 12205625"/>
              <a:gd name="connsiteY374" fmla="*/ 6263381 h 6867525"/>
              <a:gd name="connsiteX375" fmla="*/ 1579952 w 12205625"/>
              <a:gd name="connsiteY375" fmla="*/ 6259529 h 6867525"/>
              <a:gd name="connsiteX376" fmla="*/ 1576497 w 12205625"/>
              <a:gd name="connsiteY376" fmla="*/ 6255880 h 6867525"/>
              <a:gd name="connsiteX377" fmla="*/ 1572723 w 12205625"/>
              <a:gd name="connsiteY377" fmla="*/ 6252459 h 6867525"/>
              <a:gd name="connsiteX378" fmla="*/ 1568631 w 12205625"/>
              <a:gd name="connsiteY378" fmla="*/ 6249291 h 6867525"/>
              <a:gd name="connsiteX379" fmla="*/ 1564221 w 12205625"/>
              <a:gd name="connsiteY379" fmla="*/ 6246401 h 6867525"/>
              <a:gd name="connsiteX380" fmla="*/ 1559493 w 12205625"/>
              <a:gd name="connsiteY380" fmla="*/ 6243814 h 6867525"/>
              <a:gd name="connsiteX381" fmla="*/ 1554448 w 12205625"/>
              <a:gd name="connsiteY381" fmla="*/ 6241556 h 6867525"/>
              <a:gd name="connsiteX382" fmla="*/ 1549086 w 12205625"/>
              <a:gd name="connsiteY382" fmla="*/ 6239653 h 6867525"/>
              <a:gd name="connsiteX383" fmla="*/ 1543407 w 12205625"/>
              <a:gd name="connsiteY383" fmla="*/ 6238128 h 6867525"/>
              <a:gd name="connsiteX384" fmla="*/ 1537412 w 12205625"/>
              <a:gd name="connsiteY384" fmla="*/ 6237008 h 6867525"/>
              <a:gd name="connsiteX385" fmla="*/ 1531101 w 12205625"/>
              <a:gd name="connsiteY385" fmla="*/ 6236317 h 6867525"/>
              <a:gd name="connsiteX386" fmla="*/ 1524474 w 12205625"/>
              <a:gd name="connsiteY386" fmla="*/ 6236081 h 6867525"/>
              <a:gd name="connsiteX387" fmla="*/ 1356301 w 12205625"/>
              <a:gd name="connsiteY387" fmla="*/ 6236081 h 6867525"/>
              <a:gd name="connsiteX388" fmla="*/ 1350654 w 12205625"/>
              <a:gd name="connsiteY388" fmla="*/ 6236268 h 6867525"/>
              <a:gd name="connsiteX389" fmla="*/ 1345126 w 12205625"/>
              <a:gd name="connsiteY389" fmla="*/ 6236823 h 6867525"/>
              <a:gd name="connsiteX390" fmla="*/ 1339730 w 12205625"/>
              <a:gd name="connsiteY390" fmla="*/ 6237735 h 6867525"/>
              <a:gd name="connsiteX391" fmla="*/ 1334477 w 12205625"/>
              <a:gd name="connsiteY391" fmla="*/ 6238996 h 6867525"/>
              <a:gd name="connsiteX392" fmla="*/ 1329381 w 12205625"/>
              <a:gd name="connsiteY392" fmla="*/ 6240595 h 6867525"/>
              <a:gd name="connsiteX393" fmla="*/ 1324454 w 12205625"/>
              <a:gd name="connsiteY393" fmla="*/ 6242523 h 6867525"/>
              <a:gd name="connsiteX394" fmla="*/ 1319706 w 12205625"/>
              <a:gd name="connsiteY394" fmla="*/ 6244771 h 6867525"/>
              <a:gd name="connsiteX395" fmla="*/ 1315152 w 12205625"/>
              <a:gd name="connsiteY395" fmla="*/ 6247328 h 6867525"/>
              <a:gd name="connsiteX396" fmla="*/ 1310803 w 12205625"/>
              <a:gd name="connsiteY396" fmla="*/ 6250186 h 6867525"/>
              <a:gd name="connsiteX397" fmla="*/ 1306672 w 12205625"/>
              <a:gd name="connsiteY397" fmla="*/ 6253334 h 6867525"/>
              <a:gd name="connsiteX398" fmla="*/ 1302769 w 12205625"/>
              <a:gd name="connsiteY398" fmla="*/ 6256763 h 6867525"/>
              <a:gd name="connsiteX399" fmla="*/ 1299109 w 12205625"/>
              <a:gd name="connsiteY399" fmla="*/ 6260463 h 6867525"/>
              <a:gd name="connsiteX400" fmla="*/ 1295703 w 12205625"/>
              <a:gd name="connsiteY400" fmla="*/ 6264425 h 6867525"/>
              <a:gd name="connsiteX401" fmla="*/ 1292563 w 12205625"/>
              <a:gd name="connsiteY401" fmla="*/ 6268638 h 6867525"/>
              <a:gd name="connsiteX402" fmla="*/ 1289702 w 12205625"/>
              <a:gd name="connsiteY402" fmla="*/ 6273094 h 6867525"/>
              <a:gd name="connsiteX403" fmla="*/ 1287131 w 12205625"/>
              <a:gd name="connsiteY403" fmla="*/ 6277783 h 6867525"/>
              <a:gd name="connsiteX404" fmla="*/ 1284864 w 12205625"/>
              <a:gd name="connsiteY404" fmla="*/ 6282695 h 6867525"/>
              <a:gd name="connsiteX405" fmla="*/ 1282912 w 12205625"/>
              <a:gd name="connsiteY405" fmla="*/ 6287821 h 6867525"/>
              <a:gd name="connsiteX406" fmla="*/ 1281287 w 12205625"/>
              <a:gd name="connsiteY406" fmla="*/ 6293150 h 6867525"/>
              <a:gd name="connsiteX407" fmla="*/ 1280002 w 12205625"/>
              <a:gd name="connsiteY407" fmla="*/ 6298673 h 6867525"/>
              <a:gd name="connsiteX408" fmla="*/ 1279069 w 12205625"/>
              <a:gd name="connsiteY408" fmla="*/ 6304381 h 6867525"/>
              <a:gd name="connsiteX409" fmla="*/ 1278500 w 12205625"/>
              <a:gd name="connsiteY409" fmla="*/ 6310264 h 6867525"/>
              <a:gd name="connsiteX410" fmla="*/ 1278308 w 12205625"/>
              <a:gd name="connsiteY410" fmla="*/ 6316313 h 6867525"/>
              <a:gd name="connsiteX411" fmla="*/ 1278485 w 12205625"/>
              <a:gd name="connsiteY411" fmla="*/ 6322114 h 6867525"/>
              <a:gd name="connsiteX412" fmla="*/ 1279008 w 12205625"/>
              <a:gd name="connsiteY412" fmla="*/ 6327767 h 6867525"/>
              <a:gd name="connsiteX413" fmla="*/ 1279866 w 12205625"/>
              <a:gd name="connsiteY413" fmla="*/ 6333262 h 6867525"/>
              <a:gd name="connsiteX414" fmla="*/ 1281049 w 12205625"/>
              <a:gd name="connsiteY414" fmla="*/ 6338592 h 6867525"/>
              <a:gd name="connsiteX415" fmla="*/ 1282546 w 12205625"/>
              <a:gd name="connsiteY415" fmla="*/ 6343746 h 6867525"/>
              <a:gd name="connsiteX416" fmla="*/ 1284346 w 12205625"/>
              <a:gd name="connsiteY416" fmla="*/ 6348717 h 6867525"/>
              <a:gd name="connsiteX417" fmla="*/ 1286438 w 12205625"/>
              <a:gd name="connsiteY417" fmla="*/ 6353496 h 6867525"/>
              <a:gd name="connsiteX418" fmla="*/ 1288812 w 12205625"/>
              <a:gd name="connsiteY418" fmla="*/ 6358074 h 6867525"/>
              <a:gd name="connsiteX419" fmla="*/ 1291457 w 12205625"/>
              <a:gd name="connsiteY419" fmla="*/ 6362441 h 6867525"/>
              <a:gd name="connsiteX420" fmla="*/ 1294362 w 12205625"/>
              <a:gd name="connsiteY420" fmla="*/ 6366591 h 6867525"/>
              <a:gd name="connsiteX421" fmla="*/ 1297516 w 12205625"/>
              <a:gd name="connsiteY421" fmla="*/ 6370513 h 6867525"/>
              <a:gd name="connsiteX422" fmla="*/ 1300908 w 12205625"/>
              <a:gd name="connsiteY422" fmla="*/ 6374200 h 6867525"/>
              <a:gd name="connsiteX423" fmla="*/ 1304528 w 12205625"/>
              <a:gd name="connsiteY423" fmla="*/ 6377641 h 6867525"/>
              <a:gd name="connsiteX424" fmla="*/ 1308366 w 12205625"/>
              <a:gd name="connsiteY424" fmla="*/ 6380829 h 6867525"/>
              <a:gd name="connsiteX425" fmla="*/ 1312409 w 12205625"/>
              <a:gd name="connsiteY425" fmla="*/ 6383755 h 6867525"/>
              <a:gd name="connsiteX426" fmla="*/ 1316648 w 12205625"/>
              <a:gd name="connsiteY426" fmla="*/ 6386411 h 6867525"/>
              <a:gd name="connsiteX427" fmla="*/ 1321072 w 12205625"/>
              <a:gd name="connsiteY427" fmla="*/ 6388786 h 6867525"/>
              <a:gd name="connsiteX428" fmla="*/ 1325669 w 12205625"/>
              <a:gd name="connsiteY428" fmla="*/ 6390873 h 6867525"/>
              <a:gd name="connsiteX429" fmla="*/ 1330430 w 12205625"/>
              <a:gd name="connsiteY429" fmla="*/ 6392663 h 6867525"/>
              <a:gd name="connsiteX430" fmla="*/ 1335342 w 12205625"/>
              <a:gd name="connsiteY430" fmla="*/ 6394147 h 6867525"/>
              <a:gd name="connsiteX431" fmla="*/ 1340397 w 12205625"/>
              <a:gd name="connsiteY431" fmla="*/ 6395317 h 6867525"/>
              <a:gd name="connsiteX432" fmla="*/ 1345582 w 12205625"/>
              <a:gd name="connsiteY432" fmla="*/ 6396163 h 6867525"/>
              <a:gd name="connsiteX433" fmla="*/ 1350887 w 12205625"/>
              <a:gd name="connsiteY433" fmla="*/ 6396677 h 6867525"/>
              <a:gd name="connsiteX434" fmla="*/ 1356301 w 12205625"/>
              <a:gd name="connsiteY434" fmla="*/ 6396850 h 6867525"/>
              <a:gd name="connsiteX435" fmla="*/ 1361750 w 12205625"/>
              <a:gd name="connsiteY435" fmla="*/ 6396677 h 6867525"/>
              <a:gd name="connsiteX436" fmla="*/ 1367083 w 12205625"/>
              <a:gd name="connsiteY436" fmla="*/ 6396163 h 6867525"/>
              <a:gd name="connsiteX437" fmla="*/ 1372291 w 12205625"/>
              <a:gd name="connsiteY437" fmla="*/ 6395317 h 6867525"/>
              <a:gd name="connsiteX438" fmla="*/ 1377363 w 12205625"/>
              <a:gd name="connsiteY438" fmla="*/ 6394147 h 6867525"/>
              <a:gd name="connsiteX439" fmla="*/ 1382289 w 12205625"/>
              <a:gd name="connsiteY439" fmla="*/ 6392663 h 6867525"/>
              <a:gd name="connsiteX440" fmla="*/ 1387059 w 12205625"/>
              <a:gd name="connsiteY440" fmla="*/ 6390873 h 6867525"/>
              <a:gd name="connsiteX441" fmla="*/ 1391661 w 12205625"/>
              <a:gd name="connsiteY441" fmla="*/ 6388786 h 6867525"/>
              <a:gd name="connsiteX442" fmla="*/ 1396087 w 12205625"/>
              <a:gd name="connsiteY442" fmla="*/ 6386411 h 6867525"/>
              <a:gd name="connsiteX443" fmla="*/ 1400324 w 12205625"/>
              <a:gd name="connsiteY443" fmla="*/ 6383755 h 6867525"/>
              <a:gd name="connsiteX444" fmla="*/ 1404363 w 12205625"/>
              <a:gd name="connsiteY444" fmla="*/ 6380829 h 6867525"/>
              <a:gd name="connsiteX445" fmla="*/ 1408194 w 12205625"/>
              <a:gd name="connsiteY445" fmla="*/ 6377641 h 6867525"/>
              <a:gd name="connsiteX446" fmla="*/ 1411806 w 12205625"/>
              <a:gd name="connsiteY446" fmla="*/ 6374200 h 6867525"/>
              <a:gd name="connsiteX447" fmla="*/ 1415189 w 12205625"/>
              <a:gd name="connsiteY447" fmla="*/ 6370513 h 6867525"/>
              <a:gd name="connsiteX448" fmla="*/ 1418332 w 12205625"/>
              <a:gd name="connsiteY448" fmla="*/ 6366591 h 6867525"/>
              <a:gd name="connsiteX449" fmla="*/ 1421225 w 12205625"/>
              <a:gd name="connsiteY449" fmla="*/ 6362441 h 6867525"/>
              <a:gd name="connsiteX450" fmla="*/ 1423857 w 12205625"/>
              <a:gd name="connsiteY450" fmla="*/ 6358074 h 6867525"/>
              <a:gd name="connsiteX451" fmla="*/ 1425886 w 12205625"/>
              <a:gd name="connsiteY451" fmla="*/ 6354142 h 6867525"/>
              <a:gd name="connsiteX452" fmla="*/ 1428300 w 12205625"/>
              <a:gd name="connsiteY452" fmla="*/ 6348717 h 6867525"/>
              <a:gd name="connsiteX453" fmla="*/ 1430089 w 12205625"/>
              <a:gd name="connsiteY453" fmla="*/ 6343746 h 6867525"/>
              <a:gd name="connsiteX454" fmla="*/ 1431576 w 12205625"/>
              <a:gd name="connsiteY454" fmla="*/ 6338592 h 6867525"/>
              <a:gd name="connsiteX455" fmla="*/ 1432751 w 12205625"/>
              <a:gd name="connsiteY455" fmla="*/ 6333262 h 6867525"/>
              <a:gd name="connsiteX456" fmla="*/ 1433602 w 12205625"/>
              <a:gd name="connsiteY456" fmla="*/ 6327767 h 6867525"/>
              <a:gd name="connsiteX457" fmla="*/ 1434121 w 12205625"/>
              <a:gd name="connsiteY457" fmla="*/ 6322114 h 6867525"/>
              <a:gd name="connsiteX458" fmla="*/ 1434296 w 12205625"/>
              <a:gd name="connsiteY458" fmla="*/ 6316313 h 6867525"/>
              <a:gd name="connsiteX459" fmla="*/ 1434106 w 12205625"/>
              <a:gd name="connsiteY459" fmla="*/ 6310264 h 6867525"/>
              <a:gd name="connsiteX460" fmla="*/ 1433541 w 12205625"/>
              <a:gd name="connsiteY460" fmla="*/ 6304381 h 6867525"/>
              <a:gd name="connsiteX461" fmla="*/ 1432615 w 12205625"/>
              <a:gd name="connsiteY461" fmla="*/ 6298673 h 6867525"/>
              <a:gd name="connsiteX462" fmla="*/ 1431339 w 12205625"/>
              <a:gd name="connsiteY462" fmla="*/ 6293150 h 6867525"/>
              <a:gd name="connsiteX463" fmla="*/ 1429725 w 12205625"/>
              <a:gd name="connsiteY463" fmla="*/ 6287821 h 6867525"/>
              <a:gd name="connsiteX464" fmla="*/ 1427785 w 12205625"/>
              <a:gd name="connsiteY464" fmla="*/ 6282695 h 6867525"/>
              <a:gd name="connsiteX465" fmla="*/ 1425992 w 12205625"/>
              <a:gd name="connsiteY465" fmla="*/ 6278789 h 6867525"/>
              <a:gd name="connsiteX466" fmla="*/ 1425530 w 12205625"/>
              <a:gd name="connsiteY466" fmla="*/ 6277783 h 6867525"/>
              <a:gd name="connsiteX467" fmla="*/ 1422972 w 12205625"/>
              <a:gd name="connsiteY467" fmla="*/ 6273094 h 6867525"/>
              <a:gd name="connsiteX468" fmla="*/ 1420123 w 12205625"/>
              <a:gd name="connsiteY468" fmla="*/ 6268638 h 6867525"/>
              <a:gd name="connsiteX469" fmla="*/ 1416996 w 12205625"/>
              <a:gd name="connsiteY469" fmla="*/ 6264425 h 6867525"/>
              <a:gd name="connsiteX470" fmla="*/ 1413600 w 12205625"/>
              <a:gd name="connsiteY470" fmla="*/ 6260463 h 6867525"/>
              <a:gd name="connsiteX471" fmla="*/ 1409950 w 12205625"/>
              <a:gd name="connsiteY471" fmla="*/ 6256763 h 6867525"/>
              <a:gd name="connsiteX472" fmla="*/ 1406055 w 12205625"/>
              <a:gd name="connsiteY472" fmla="*/ 6253334 h 6867525"/>
              <a:gd name="connsiteX473" fmla="*/ 1401929 w 12205625"/>
              <a:gd name="connsiteY473" fmla="*/ 6250186 h 6867525"/>
              <a:gd name="connsiteX474" fmla="*/ 1397583 w 12205625"/>
              <a:gd name="connsiteY474" fmla="*/ 6247328 h 6867525"/>
              <a:gd name="connsiteX475" fmla="*/ 1393028 w 12205625"/>
              <a:gd name="connsiteY475" fmla="*/ 6244771 h 6867525"/>
              <a:gd name="connsiteX476" fmla="*/ 1388276 w 12205625"/>
              <a:gd name="connsiteY476" fmla="*/ 6242523 h 6867525"/>
              <a:gd name="connsiteX477" fmla="*/ 1383340 w 12205625"/>
              <a:gd name="connsiteY477" fmla="*/ 6240595 h 6867525"/>
              <a:gd name="connsiteX478" fmla="*/ 1378231 w 12205625"/>
              <a:gd name="connsiteY478" fmla="*/ 6238996 h 6867525"/>
              <a:gd name="connsiteX479" fmla="*/ 1372961 w 12205625"/>
              <a:gd name="connsiteY479" fmla="*/ 6237735 h 6867525"/>
              <a:gd name="connsiteX480" fmla="*/ 1367541 w 12205625"/>
              <a:gd name="connsiteY480" fmla="*/ 6236823 h 6867525"/>
              <a:gd name="connsiteX481" fmla="*/ 1361984 w 12205625"/>
              <a:gd name="connsiteY481" fmla="*/ 6236268 h 6867525"/>
              <a:gd name="connsiteX482" fmla="*/ 1356301 w 12205625"/>
              <a:gd name="connsiteY482" fmla="*/ 6236081 h 6867525"/>
              <a:gd name="connsiteX483" fmla="*/ 788397 w 12205625"/>
              <a:gd name="connsiteY483" fmla="*/ 6175982 h 6867525"/>
              <a:gd name="connsiteX484" fmla="*/ 786849 w 12205625"/>
              <a:gd name="connsiteY484" fmla="*/ 6176305 h 6867525"/>
              <a:gd name="connsiteX485" fmla="*/ 785585 w 12205625"/>
              <a:gd name="connsiteY485" fmla="*/ 6177185 h 6867525"/>
              <a:gd name="connsiteX486" fmla="*/ 784733 w 12205625"/>
              <a:gd name="connsiteY486" fmla="*/ 6178491 h 6867525"/>
              <a:gd name="connsiteX487" fmla="*/ 784420 w 12205625"/>
              <a:gd name="connsiteY487" fmla="*/ 6180089 h 6867525"/>
              <a:gd name="connsiteX488" fmla="*/ 784420 w 12205625"/>
              <a:gd name="connsiteY488" fmla="*/ 6388168 h 6867525"/>
              <a:gd name="connsiteX489" fmla="*/ 784733 w 12205625"/>
              <a:gd name="connsiteY489" fmla="*/ 6389767 h 6867525"/>
              <a:gd name="connsiteX490" fmla="*/ 785585 w 12205625"/>
              <a:gd name="connsiteY490" fmla="*/ 6391072 h 6867525"/>
              <a:gd name="connsiteX491" fmla="*/ 786849 w 12205625"/>
              <a:gd name="connsiteY491" fmla="*/ 6391952 h 6867525"/>
              <a:gd name="connsiteX492" fmla="*/ 788397 w 12205625"/>
              <a:gd name="connsiteY492" fmla="*/ 6392275 h 6867525"/>
              <a:gd name="connsiteX493" fmla="*/ 913386 w 12205625"/>
              <a:gd name="connsiteY493" fmla="*/ 6392275 h 6867525"/>
              <a:gd name="connsiteX494" fmla="*/ 914934 w 12205625"/>
              <a:gd name="connsiteY494" fmla="*/ 6391952 h 6867525"/>
              <a:gd name="connsiteX495" fmla="*/ 916198 w 12205625"/>
              <a:gd name="connsiteY495" fmla="*/ 6391072 h 6867525"/>
              <a:gd name="connsiteX496" fmla="*/ 917050 w 12205625"/>
              <a:gd name="connsiteY496" fmla="*/ 6389767 h 6867525"/>
              <a:gd name="connsiteX497" fmla="*/ 917363 w 12205625"/>
              <a:gd name="connsiteY497" fmla="*/ 6388168 h 6867525"/>
              <a:gd name="connsiteX498" fmla="*/ 917363 w 12205625"/>
              <a:gd name="connsiteY498" fmla="*/ 6350622 h 6867525"/>
              <a:gd name="connsiteX499" fmla="*/ 914934 w 12205625"/>
              <a:gd name="connsiteY499" fmla="*/ 6346838 h 6867525"/>
              <a:gd name="connsiteX500" fmla="*/ 835075 w 12205625"/>
              <a:gd name="connsiteY500" fmla="*/ 6346515 h 6867525"/>
              <a:gd name="connsiteX501" fmla="*/ 833527 w 12205625"/>
              <a:gd name="connsiteY501" fmla="*/ 6346192 h 6867525"/>
              <a:gd name="connsiteX502" fmla="*/ 832263 w 12205625"/>
              <a:gd name="connsiteY502" fmla="*/ 6345312 h 6867525"/>
              <a:gd name="connsiteX503" fmla="*/ 831410 w 12205625"/>
              <a:gd name="connsiteY503" fmla="*/ 6344006 h 6867525"/>
              <a:gd name="connsiteX504" fmla="*/ 831097 w 12205625"/>
              <a:gd name="connsiteY504" fmla="*/ 6342408 h 6867525"/>
              <a:gd name="connsiteX505" fmla="*/ 831097 w 12205625"/>
              <a:gd name="connsiteY505" fmla="*/ 6309132 h 6867525"/>
              <a:gd name="connsiteX506" fmla="*/ 831410 w 12205625"/>
              <a:gd name="connsiteY506" fmla="*/ 6307534 h 6867525"/>
              <a:gd name="connsiteX507" fmla="*/ 832263 w 12205625"/>
              <a:gd name="connsiteY507" fmla="*/ 6306228 h 6867525"/>
              <a:gd name="connsiteX508" fmla="*/ 833527 w 12205625"/>
              <a:gd name="connsiteY508" fmla="*/ 6305348 h 6867525"/>
              <a:gd name="connsiteX509" fmla="*/ 835075 w 12205625"/>
              <a:gd name="connsiteY509" fmla="*/ 6305025 h 6867525"/>
              <a:gd name="connsiteX510" fmla="*/ 905112 w 12205625"/>
              <a:gd name="connsiteY510" fmla="*/ 6305025 h 6867525"/>
              <a:gd name="connsiteX511" fmla="*/ 906661 w 12205625"/>
              <a:gd name="connsiteY511" fmla="*/ 6304703 h 6867525"/>
              <a:gd name="connsiteX512" fmla="*/ 907925 w 12205625"/>
              <a:gd name="connsiteY512" fmla="*/ 6303823 h 6867525"/>
              <a:gd name="connsiteX513" fmla="*/ 908778 w 12205625"/>
              <a:gd name="connsiteY513" fmla="*/ 6302517 h 6867525"/>
              <a:gd name="connsiteX514" fmla="*/ 909091 w 12205625"/>
              <a:gd name="connsiteY514" fmla="*/ 6300918 h 6867525"/>
              <a:gd name="connsiteX515" fmla="*/ 909091 w 12205625"/>
              <a:gd name="connsiteY515" fmla="*/ 6266729 h 6867525"/>
              <a:gd name="connsiteX516" fmla="*/ 908778 w 12205625"/>
              <a:gd name="connsiteY516" fmla="*/ 6265130 h 6867525"/>
              <a:gd name="connsiteX517" fmla="*/ 907925 w 12205625"/>
              <a:gd name="connsiteY517" fmla="*/ 6263825 h 6867525"/>
              <a:gd name="connsiteX518" fmla="*/ 906661 w 12205625"/>
              <a:gd name="connsiteY518" fmla="*/ 6262944 h 6867525"/>
              <a:gd name="connsiteX519" fmla="*/ 905112 w 12205625"/>
              <a:gd name="connsiteY519" fmla="*/ 6262622 h 6867525"/>
              <a:gd name="connsiteX520" fmla="*/ 835075 w 12205625"/>
              <a:gd name="connsiteY520" fmla="*/ 6262622 h 6867525"/>
              <a:gd name="connsiteX521" fmla="*/ 833527 w 12205625"/>
              <a:gd name="connsiteY521" fmla="*/ 6262299 h 6867525"/>
              <a:gd name="connsiteX522" fmla="*/ 832263 w 12205625"/>
              <a:gd name="connsiteY522" fmla="*/ 6261419 h 6867525"/>
              <a:gd name="connsiteX523" fmla="*/ 831410 w 12205625"/>
              <a:gd name="connsiteY523" fmla="*/ 6260114 h 6867525"/>
              <a:gd name="connsiteX524" fmla="*/ 831097 w 12205625"/>
              <a:gd name="connsiteY524" fmla="*/ 6258515 h 6867525"/>
              <a:gd name="connsiteX525" fmla="*/ 831097 w 12205625"/>
              <a:gd name="connsiteY525" fmla="*/ 6225545 h 6867525"/>
              <a:gd name="connsiteX526" fmla="*/ 831410 w 12205625"/>
              <a:gd name="connsiteY526" fmla="*/ 6223946 h 6867525"/>
              <a:gd name="connsiteX527" fmla="*/ 832263 w 12205625"/>
              <a:gd name="connsiteY527" fmla="*/ 6222641 h 6867525"/>
              <a:gd name="connsiteX528" fmla="*/ 833527 w 12205625"/>
              <a:gd name="connsiteY528" fmla="*/ 6221761 h 6867525"/>
              <a:gd name="connsiteX529" fmla="*/ 835075 w 12205625"/>
              <a:gd name="connsiteY529" fmla="*/ 6221438 h 6867525"/>
              <a:gd name="connsiteX530" fmla="*/ 913090 w 12205625"/>
              <a:gd name="connsiteY530" fmla="*/ 6221438 h 6867525"/>
              <a:gd name="connsiteX531" fmla="*/ 914638 w 12205625"/>
              <a:gd name="connsiteY531" fmla="*/ 6221115 h 6867525"/>
              <a:gd name="connsiteX532" fmla="*/ 915902 w 12205625"/>
              <a:gd name="connsiteY532" fmla="*/ 6220235 h 6867525"/>
              <a:gd name="connsiteX533" fmla="*/ 916754 w 12205625"/>
              <a:gd name="connsiteY533" fmla="*/ 6218930 h 6867525"/>
              <a:gd name="connsiteX534" fmla="*/ 917067 w 12205625"/>
              <a:gd name="connsiteY534" fmla="*/ 6217331 h 6867525"/>
              <a:gd name="connsiteX535" fmla="*/ 917067 w 12205625"/>
              <a:gd name="connsiteY535" fmla="*/ 6180089 h 6867525"/>
              <a:gd name="connsiteX536" fmla="*/ 916754 w 12205625"/>
              <a:gd name="connsiteY536" fmla="*/ 6178491 h 6867525"/>
              <a:gd name="connsiteX537" fmla="*/ 915902 w 12205625"/>
              <a:gd name="connsiteY537" fmla="*/ 6177185 h 6867525"/>
              <a:gd name="connsiteX538" fmla="*/ 914638 w 12205625"/>
              <a:gd name="connsiteY538" fmla="*/ 6176305 h 6867525"/>
              <a:gd name="connsiteX539" fmla="*/ 913090 w 12205625"/>
              <a:gd name="connsiteY539" fmla="*/ 6175982 h 6867525"/>
              <a:gd name="connsiteX540" fmla="*/ 788397 w 12205625"/>
              <a:gd name="connsiteY540" fmla="*/ 6175982 h 6867525"/>
              <a:gd name="connsiteX541" fmla="*/ 1130966 w 12205625"/>
              <a:gd name="connsiteY541" fmla="*/ 6167136 h 6867525"/>
              <a:gd name="connsiteX542" fmla="*/ 1125778 w 12205625"/>
              <a:gd name="connsiteY542" fmla="*/ 6167690 h 6867525"/>
              <a:gd name="connsiteX543" fmla="*/ 1120922 w 12205625"/>
              <a:gd name="connsiteY543" fmla="*/ 6169276 h 6867525"/>
              <a:gd name="connsiteX544" fmla="*/ 1116509 w 12205625"/>
              <a:gd name="connsiteY544" fmla="*/ 6171785 h 6867525"/>
              <a:gd name="connsiteX545" fmla="*/ 1112650 w 12205625"/>
              <a:gd name="connsiteY545" fmla="*/ 6175106 h 6867525"/>
              <a:gd name="connsiteX546" fmla="*/ 1109456 w 12205625"/>
              <a:gd name="connsiteY546" fmla="*/ 6179127 h 6867525"/>
              <a:gd name="connsiteX547" fmla="*/ 1107037 w 12205625"/>
              <a:gd name="connsiteY547" fmla="*/ 6183738 h 6867525"/>
              <a:gd name="connsiteX548" fmla="*/ 1105504 w 12205625"/>
              <a:gd name="connsiteY548" fmla="*/ 6188829 h 6867525"/>
              <a:gd name="connsiteX549" fmla="*/ 1104969 w 12205625"/>
              <a:gd name="connsiteY549" fmla="*/ 6194287 h 6867525"/>
              <a:gd name="connsiteX550" fmla="*/ 1105504 w 12205625"/>
              <a:gd name="connsiteY550" fmla="*/ 6199746 h 6867525"/>
              <a:gd name="connsiteX551" fmla="*/ 1107037 w 12205625"/>
              <a:gd name="connsiteY551" fmla="*/ 6204836 h 6867525"/>
              <a:gd name="connsiteX552" fmla="*/ 1109456 w 12205625"/>
              <a:gd name="connsiteY552" fmla="*/ 6209447 h 6867525"/>
              <a:gd name="connsiteX553" fmla="*/ 1112650 w 12205625"/>
              <a:gd name="connsiteY553" fmla="*/ 6213468 h 6867525"/>
              <a:gd name="connsiteX554" fmla="*/ 1116509 w 12205625"/>
              <a:gd name="connsiteY554" fmla="*/ 6216789 h 6867525"/>
              <a:gd name="connsiteX555" fmla="*/ 1120922 w 12205625"/>
              <a:gd name="connsiteY555" fmla="*/ 6219298 h 6867525"/>
              <a:gd name="connsiteX556" fmla="*/ 1125778 w 12205625"/>
              <a:gd name="connsiteY556" fmla="*/ 6220885 h 6867525"/>
              <a:gd name="connsiteX557" fmla="*/ 1130966 w 12205625"/>
              <a:gd name="connsiteY557" fmla="*/ 6221438 h 6867525"/>
              <a:gd name="connsiteX558" fmla="*/ 1136350 w 12205625"/>
              <a:gd name="connsiteY558" fmla="*/ 6220885 h 6867525"/>
              <a:gd name="connsiteX559" fmla="*/ 1141353 w 12205625"/>
              <a:gd name="connsiteY559" fmla="*/ 6219298 h 6867525"/>
              <a:gd name="connsiteX560" fmla="*/ 1145871 w 12205625"/>
              <a:gd name="connsiteY560" fmla="*/ 6216789 h 6867525"/>
              <a:gd name="connsiteX561" fmla="*/ 1149800 w 12205625"/>
              <a:gd name="connsiteY561" fmla="*/ 6213468 h 6867525"/>
              <a:gd name="connsiteX562" fmla="*/ 1153038 w 12205625"/>
              <a:gd name="connsiteY562" fmla="*/ 6209447 h 6867525"/>
              <a:gd name="connsiteX563" fmla="*/ 1155478 w 12205625"/>
              <a:gd name="connsiteY563" fmla="*/ 6204836 h 6867525"/>
              <a:gd name="connsiteX564" fmla="*/ 1157019 w 12205625"/>
              <a:gd name="connsiteY564" fmla="*/ 6199746 h 6867525"/>
              <a:gd name="connsiteX565" fmla="*/ 1157556 w 12205625"/>
              <a:gd name="connsiteY565" fmla="*/ 6194287 h 6867525"/>
              <a:gd name="connsiteX566" fmla="*/ 1157019 w 12205625"/>
              <a:gd name="connsiteY566" fmla="*/ 6188829 h 6867525"/>
              <a:gd name="connsiteX567" fmla="*/ 1155478 w 12205625"/>
              <a:gd name="connsiteY567" fmla="*/ 6183738 h 6867525"/>
              <a:gd name="connsiteX568" fmla="*/ 1153038 w 12205625"/>
              <a:gd name="connsiteY568" fmla="*/ 6179127 h 6867525"/>
              <a:gd name="connsiteX569" fmla="*/ 1149800 w 12205625"/>
              <a:gd name="connsiteY569" fmla="*/ 6175106 h 6867525"/>
              <a:gd name="connsiteX570" fmla="*/ 1145871 w 12205625"/>
              <a:gd name="connsiteY570" fmla="*/ 6171785 h 6867525"/>
              <a:gd name="connsiteX571" fmla="*/ 1141353 w 12205625"/>
              <a:gd name="connsiteY571" fmla="*/ 6169276 h 6867525"/>
              <a:gd name="connsiteX572" fmla="*/ 1136350 w 12205625"/>
              <a:gd name="connsiteY572" fmla="*/ 6167690 h 6867525"/>
              <a:gd name="connsiteX573" fmla="*/ 1130966 w 12205625"/>
              <a:gd name="connsiteY573" fmla="*/ 6167136 h 6867525"/>
              <a:gd name="connsiteX574" fmla="*/ 587603 w 12205625"/>
              <a:gd name="connsiteY574" fmla="*/ 6130388 h 6867525"/>
              <a:gd name="connsiteX575" fmla="*/ 582187 w 12205625"/>
              <a:gd name="connsiteY575" fmla="*/ 6131131 h 6867525"/>
              <a:gd name="connsiteX576" fmla="*/ 577056 w 12205625"/>
              <a:gd name="connsiteY576" fmla="*/ 6133358 h 6867525"/>
              <a:gd name="connsiteX577" fmla="*/ 474730 w 12205625"/>
              <a:gd name="connsiteY577" fmla="*/ 6195414 h 6867525"/>
              <a:gd name="connsiteX578" fmla="*/ 470330 w 12205625"/>
              <a:gd name="connsiteY578" fmla="*/ 6198968 h 6867525"/>
              <a:gd name="connsiteX579" fmla="*/ 467011 w 12205625"/>
              <a:gd name="connsiteY579" fmla="*/ 6203523 h 6867525"/>
              <a:gd name="connsiteX580" fmla="*/ 464915 w 12205625"/>
              <a:gd name="connsiteY580" fmla="*/ 6208820 h 6867525"/>
              <a:gd name="connsiteX581" fmla="*/ 464185 w 12205625"/>
              <a:gd name="connsiteY581" fmla="*/ 6214601 h 6867525"/>
              <a:gd name="connsiteX582" fmla="*/ 464185 w 12205625"/>
              <a:gd name="connsiteY582" fmla="*/ 6338713 h 6867525"/>
              <a:gd name="connsiteX583" fmla="*/ 464915 w 12205625"/>
              <a:gd name="connsiteY583" fmla="*/ 6344494 h 6867525"/>
              <a:gd name="connsiteX584" fmla="*/ 467011 w 12205625"/>
              <a:gd name="connsiteY584" fmla="*/ 6349791 h 6867525"/>
              <a:gd name="connsiteX585" fmla="*/ 470330 w 12205625"/>
              <a:gd name="connsiteY585" fmla="*/ 6354347 h 6867525"/>
              <a:gd name="connsiteX586" fmla="*/ 474731 w 12205625"/>
              <a:gd name="connsiteY586" fmla="*/ 6357902 h 6867525"/>
              <a:gd name="connsiteX587" fmla="*/ 577056 w 12205625"/>
              <a:gd name="connsiteY587" fmla="*/ 6419958 h 6867525"/>
              <a:gd name="connsiteX588" fmla="*/ 582187 w 12205625"/>
              <a:gd name="connsiteY588" fmla="*/ 6422184 h 6867525"/>
              <a:gd name="connsiteX589" fmla="*/ 587603 w 12205625"/>
              <a:gd name="connsiteY589" fmla="*/ 6422926 h 6867525"/>
              <a:gd name="connsiteX590" fmla="*/ 593018 w 12205625"/>
              <a:gd name="connsiteY590" fmla="*/ 6422184 h 6867525"/>
              <a:gd name="connsiteX591" fmla="*/ 598149 w 12205625"/>
              <a:gd name="connsiteY591" fmla="*/ 6419958 h 6867525"/>
              <a:gd name="connsiteX592" fmla="*/ 693908 w 12205625"/>
              <a:gd name="connsiteY592" fmla="*/ 6361884 h 6867525"/>
              <a:gd name="connsiteX593" fmla="*/ 700475 w 12205625"/>
              <a:gd name="connsiteY593" fmla="*/ 6357902 h 6867525"/>
              <a:gd name="connsiteX594" fmla="*/ 704876 w 12205625"/>
              <a:gd name="connsiteY594" fmla="*/ 6354347 h 6867525"/>
              <a:gd name="connsiteX595" fmla="*/ 708195 w 12205625"/>
              <a:gd name="connsiteY595" fmla="*/ 6349791 h 6867525"/>
              <a:gd name="connsiteX596" fmla="*/ 710290 w 12205625"/>
              <a:gd name="connsiteY596" fmla="*/ 6344494 h 6867525"/>
              <a:gd name="connsiteX597" fmla="*/ 711020 w 12205625"/>
              <a:gd name="connsiteY597" fmla="*/ 6338713 h 6867525"/>
              <a:gd name="connsiteX598" fmla="*/ 711020 w 12205625"/>
              <a:gd name="connsiteY598" fmla="*/ 6287037 h 6867525"/>
              <a:gd name="connsiteX599" fmla="*/ 587603 w 12205625"/>
              <a:gd name="connsiteY599" fmla="*/ 6361884 h 6867525"/>
              <a:gd name="connsiteX600" fmla="*/ 518967 w 12205625"/>
              <a:gd name="connsiteY600" fmla="*/ 6320260 h 6867525"/>
              <a:gd name="connsiteX601" fmla="*/ 519004 w 12205625"/>
              <a:gd name="connsiteY601" fmla="*/ 6235036 h 6867525"/>
              <a:gd name="connsiteX602" fmla="*/ 582538 w 12205625"/>
              <a:gd name="connsiteY602" fmla="*/ 6196483 h 6867525"/>
              <a:gd name="connsiteX603" fmla="*/ 585000 w 12205625"/>
              <a:gd name="connsiteY603" fmla="*/ 6195414 h 6867525"/>
              <a:gd name="connsiteX604" fmla="*/ 587603 w 12205625"/>
              <a:gd name="connsiteY604" fmla="*/ 6195057 h 6867525"/>
              <a:gd name="connsiteX605" fmla="*/ 590208 w 12205625"/>
              <a:gd name="connsiteY605" fmla="*/ 6195414 h 6867525"/>
              <a:gd name="connsiteX606" fmla="*/ 592674 w 12205625"/>
              <a:gd name="connsiteY606" fmla="*/ 6196485 h 6867525"/>
              <a:gd name="connsiteX607" fmla="*/ 656238 w 12205625"/>
              <a:gd name="connsiteY607" fmla="*/ 6235034 h 6867525"/>
              <a:gd name="connsiteX608" fmla="*/ 596138 w 12205625"/>
              <a:gd name="connsiteY608" fmla="*/ 6271483 h 6867525"/>
              <a:gd name="connsiteX609" fmla="*/ 591986 w 12205625"/>
              <a:gd name="connsiteY609" fmla="*/ 6273284 h 6867525"/>
              <a:gd name="connsiteX610" fmla="*/ 587603 w 12205625"/>
              <a:gd name="connsiteY610" fmla="*/ 6273884 h 6867525"/>
              <a:gd name="connsiteX611" fmla="*/ 583221 w 12205625"/>
              <a:gd name="connsiteY611" fmla="*/ 6273283 h 6867525"/>
              <a:gd name="connsiteX612" fmla="*/ 579069 w 12205625"/>
              <a:gd name="connsiteY612" fmla="*/ 6271481 h 6867525"/>
              <a:gd name="connsiteX613" fmla="*/ 536076 w 12205625"/>
              <a:gd name="connsiteY613" fmla="*/ 6245395 h 6867525"/>
              <a:gd name="connsiteX614" fmla="*/ 536046 w 12205625"/>
              <a:gd name="connsiteY614" fmla="*/ 6309859 h 6867525"/>
              <a:gd name="connsiteX615" fmla="*/ 587603 w 12205625"/>
              <a:gd name="connsiteY615" fmla="*/ 6341127 h 6867525"/>
              <a:gd name="connsiteX616" fmla="*/ 698481 w 12205625"/>
              <a:gd name="connsiteY616" fmla="*/ 6273884 h 6867525"/>
              <a:gd name="connsiteX617" fmla="*/ 711020 w 12205625"/>
              <a:gd name="connsiteY617" fmla="*/ 6266280 h 6867525"/>
              <a:gd name="connsiteX618" fmla="*/ 711020 w 12205625"/>
              <a:gd name="connsiteY618" fmla="*/ 6214601 h 6867525"/>
              <a:gd name="connsiteX619" fmla="*/ 710290 w 12205625"/>
              <a:gd name="connsiteY619" fmla="*/ 6208820 h 6867525"/>
              <a:gd name="connsiteX620" fmla="*/ 708195 w 12205625"/>
              <a:gd name="connsiteY620" fmla="*/ 6203523 h 6867525"/>
              <a:gd name="connsiteX621" fmla="*/ 704876 w 12205625"/>
              <a:gd name="connsiteY621" fmla="*/ 6198968 h 6867525"/>
              <a:gd name="connsiteX622" fmla="*/ 700475 w 12205625"/>
              <a:gd name="connsiteY622" fmla="*/ 6195413 h 6867525"/>
              <a:gd name="connsiteX623" fmla="*/ 699887 w 12205625"/>
              <a:gd name="connsiteY623" fmla="*/ 6195057 h 6867525"/>
              <a:gd name="connsiteX624" fmla="*/ 598149 w 12205625"/>
              <a:gd name="connsiteY624" fmla="*/ 6133358 h 6867525"/>
              <a:gd name="connsiteX625" fmla="*/ 593018 w 12205625"/>
              <a:gd name="connsiteY625" fmla="*/ 6131131 h 6867525"/>
              <a:gd name="connsiteX626" fmla="*/ 587603 w 12205625"/>
              <a:gd name="connsiteY626" fmla="*/ 6130388 h 6867525"/>
              <a:gd name="connsiteX627" fmla="*/ 0 w 12205625"/>
              <a:gd name="connsiteY627" fmla="*/ 0 h 6867525"/>
              <a:gd name="connsiteX628" fmla="*/ 12204708 w 12205625"/>
              <a:gd name="connsiteY628" fmla="*/ 0 h 6867525"/>
              <a:gd name="connsiteX629" fmla="*/ 12204708 w 12205625"/>
              <a:gd name="connsiteY629" fmla="*/ 6867525 h 6867525"/>
              <a:gd name="connsiteX630" fmla="*/ 6353 w 12205625"/>
              <a:gd name="connsiteY630" fmla="*/ 6867525 h 6867525"/>
              <a:gd name="connsiteX631" fmla="*/ 0 w 12205625"/>
              <a:gd name="connsiteY631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</a:cxnLst>
            <a:rect l="l" t="t" r="r" b="b"/>
            <a:pathLst>
              <a:path w="12205625" h="6867525">
                <a:moveTo>
                  <a:pt x="1014246" y="6278790"/>
                </a:moveTo>
                <a:lnTo>
                  <a:pt x="1019019" y="6279093"/>
                </a:lnTo>
                <a:lnTo>
                  <a:pt x="1023628" y="6280006"/>
                </a:lnTo>
                <a:lnTo>
                  <a:pt x="1028012" y="6281532"/>
                </a:lnTo>
                <a:lnTo>
                  <a:pt x="1032110" y="6283675"/>
                </a:lnTo>
                <a:lnTo>
                  <a:pt x="1035860" y="6286440"/>
                </a:lnTo>
                <a:lnTo>
                  <a:pt x="1039201" y="6289831"/>
                </a:lnTo>
                <a:lnTo>
                  <a:pt x="1042072" y="6293851"/>
                </a:lnTo>
                <a:lnTo>
                  <a:pt x="1044412" y="6298506"/>
                </a:lnTo>
                <a:lnTo>
                  <a:pt x="1046159" y="6303798"/>
                </a:lnTo>
                <a:lnTo>
                  <a:pt x="1047252" y="6309733"/>
                </a:lnTo>
                <a:lnTo>
                  <a:pt x="1047630" y="6316313"/>
                </a:lnTo>
                <a:lnTo>
                  <a:pt x="1047252" y="6322901"/>
                </a:lnTo>
                <a:lnTo>
                  <a:pt x="1046159" y="6328855"/>
                </a:lnTo>
                <a:lnTo>
                  <a:pt x="1044412" y="6334177"/>
                </a:lnTo>
                <a:lnTo>
                  <a:pt x="1042072" y="6338867"/>
                </a:lnTo>
                <a:lnTo>
                  <a:pt x="1039201" y="6342928"/>
                </a:lnTo>
                <a:lnTo>
                  <a:pt x="1035860" y="6346360"/>
                </a:lnTo>
                <a:lnTo>
                  <a:pt x="1032110" y="6349166"/>
                </a:lnTo>
                <a:lnTo>
                  <a:pt x="1028012" y="6351345"/>
                </a:lnTo>
                <a:lnTo>
                  <a:pt x="1023628" y="6352900"/>
                </a:lnTo>
                <a:lnTo>
                  <a:pt x="1019019" y="6353832"/>
                </a:lnTo>
                <a:lnTo>
                  <a:pt x="1014246" y="6354143"/>
                </a:lnTo>
                <a:lnTo>
                  <a:pt x="1009546" y="6353825"/>
                </a:lnTo>
                <a:lnTo>
                  <a:pt x="1004998" y="6352875"/>
                </a:lnTo>
                <a:lnTo>
                  <a:pt x="1000662" y="6351296"/>
                </a:lnTo>
                <a:lnTo>
                  <a:pt x="996602" y="6349089"/>
                </a:lnTo>
                <a:lnTo>
                  <a:pt x="992880" y="6346257"/>
                </a:lnTo>
                <a:lnTo>
                  <a:pt x="989560" y="6342805"/>
                </a:lnTo>
                <a:lnTo>
                  <a:pt x="986702" y="6338733"/>
                </a:lnTo>
                <a:lnTo>
                  <a:pt x="984371" y="6334045"/>
                </a:lnTo>
                <a:lnTo>
                  <a:pt x="982628" y="6328744"/>
                </a:lnTo>
                <a:lnTo>
                  <a:pt x="981537" y="6322833"/>
                </a:lnTo>
                <a:lnTo>
                  <a:pt x="981159" y="6316313"/>
                </a:lnTo>
                <a:lnTo>
                  <a:pt x="981537" y="6309733"/>
                </a:lnTo>
                <a:lnTo>
                  <a:pt x="982628" y="6303798"/>
                </a:lnTo>
                <a:lnTo>
                  <a:pt x="984371" y="6298506"/>
                </a:lnTo>
                <a:lnTo>
                  <a:pt x="986702" y="6293851"/>
                </a:lnTo>
                <a:lnTo>
                  <a:pt x="989560" y="6289831"/>
                </a:lnTo>
                <a:lnTo>
                  <a:pt x="992880" y="6286440"/>
                </a:lnTo>
                <a:lnTo>
                  <a:pt x="996602" y="6283675"/>
                </a:lnTo>
                <a:lnTo>
                  <a:pt x="1000662" y="6281532"/>
                </a:lnTo>
                <a:lnTo>
                  <a:pt x="1004998" y="6280006"/>
                </a:lnTo>
                <a:lnTo>
                  <a:pt x="1009546" y="6279093"/>
                </a:lnTo>
                <a:lnTo>
                  <a:pt x="1014246" y="6278790"/>
                </a:lnTo>
                <a:close/>
                <a:moveTo>
                  <a:pt x="1356301" y="6278789"/>
                </a:moveTo>
                <a:lnTo>
                  <a:pt x="1360934" y="6279086"/>
                </a:lnTo>
                <a:lnTo>
                  <a:pt x="1365442" y="6279980"/>
                </a:lnTo>
                <a:lnTo>
                  <a:pt x="1369758" y="6281481"/>
                </a:lnTo>
                <a:lnTo>
                  <a:pt x="1373815" y="6283597"/>
                </a:lnTo>
                <a:lnTo>
                  <a:pt x="1377548" y="6286336"/>
                </a:lnTo>
                <a:lnTo>
                  <a:pt x="1380889" y="6289706"/>
                </a:lnTo>
                <a:lnTo>
                  <a:pt x="1383771" y="6293715"/>
                </a:lnTo>
                <a:lnTo>
                  <a:pt x="1386130" y="6298373"/>
                </a:lnTo>
                <a:lnTo>
                  <a:pt x="1387896" y="6303686"/>
                </a:lnTo>
                <a:lnTo>
                  <a:pt x="1389005" y="6309663"/>
                </a:lnTo>
                <a:cubicBezTo>
                  <a:pt x="1389133" y="6311880"/>
                  <a:pt x="1389262" y="6314096"/>
                  <a:pt x="1389390" y="6316313"/>
                </a:cubicBezTo>
                <a:cubicBezTo>
                  <a:pt x="1389262" y="6318532"/>
                  <a:pt x="1389133" y="6320751"/>
                  <a:pt x="1389005" y="6322970"/>
                </a:cubicBezTo>
                <a:lnTo>
                  <a:pt x="1387896" y="6328967"/>
                </a:lnTo>
                <a:lnTo>
                  <a:pt x="1386130" y="6334309"/>
                </a:lnTo>
                <a:lnTo>
                  <a:pt x="1383771" y="6339003"/>
                </a:lnTo>
                <a:lnTo>
                  <a:pt x="1380889" y="6343052"/>
                </a:lnTo>
                <a:lnTo>
                  <a:pt x="1377548" y="6346464"/>
                </a:lnTo>
                <a:lnTo>
                  <a:pt x="1373815" y="6349243"/>
                </a:lnTo>
                <a:lnTo>
                  <a:pt x="1369758" y="6351394"/>
                </a:lnTo>
                <a:lnTo>
                  <a:pt x="1365442" y="6352925"/>
                </a:lnTo>
                <a:lnTo>
                  <a:pt x="1360934" y="6353839"/>
                </a:lnTo>
                <a:lnTo>
                  <a:pt x="1356301" y="6354142"/>
                </a:lnTo>
                <a:lnTo>
                  <a:pt x="1351735" y="6353832"/>
                </a:lnTo>
                <a:lnTo>
                  <a:pt x="1347269" y="6352900"/>
                </a:lnTo>
                <a:lnTo>
                  <a:pt x="1342973" y="6351345"/>
                </a:lnTo>
                <a:lnTo>
                  <a:pt x="1338918" y="6349165"/>
                </a:lnTo>
                <a:lnTo>
                  <a:pt x="1335175" y="6346360"/>
                </a:lnTo>
                <a:lnTo>
                  <a:pt x="1331814" y="6342928"/>
                </a:lnTo>
                <a:lnTo>
                  <a:pt x="1328906" y="6338868"/>
                </a:lnTo>
                <a:lnTo>
                  <a:pt x="1326521" y="6334177"/>
                </a:lnTo>
                <a:lnTo>
                  <a:pt x="1324731" y="6328855"/>
                </a:lnTo>
                <a:lnTo>
                  <a:pt x="1323604" y="6322901"/>
                </a:lnTo>
                <a:cubicBezTo>
                  <a:pt x="1323474" y="6320705"/>
                  <a:pt x="1323343" y="6318509"/>
                  <a:pt x="1323213" y="6316313"/>
                </a:cubicBezTo>
                <a:cubicBezTo>
                  <a:pt x="1323343" y="6314096"/>
                  <a:pt x="1323474" y="6311880"/>
                  <a:pt x="1323604" y="6309663"/>
                </a:cubicBezTo>
                <a:lnTo>
                  <a:pt x="1324731" y="6303686"/>
                </a:lnTo>
                <a:lnTo>
                  <a:pt x="1326521" y="6298373"/>
                </a:lnTo>
                <a:lnTo>
                  <a:pt x="1328906" y="6293715"/>
                </a:lnTo>
                <a:lnTo>
                  <a:pt x="1331814" y="6289706"/>
                </a:lnTo>
                <a:lnTo>
                  <a:pt x="1335175" y="6286336"/>
                </a:lnTo>
                <a:lnTo>
                  <a:pt x="1338918" y="6283597"/>
                </a:lnTo>
                <a:lnTo>
                  <a:pt x="1342973" y="6281481"/>
                </a:lnTo>
                <a:lnTo>
                  <a:pt x="1347269" y="6279980"/>
                </a:lnTo>
                <a:lnTo>
                  <a:pt x="1351735" y="6279086"/>
                </a:lnTo>
                <a:lnTo>
                  <a:pt x="1356301" y="6278789"/>
                </a:lnTo>
                <a:close/>
                <a:moveTo>
                  <a:pt x="1112787" y="6240657"/>
                </a:moveTo>
                <a:lnTo>
                  <a:pt x="1111239" y="6240980"/>
                </a:lnTo>
                <a:lnTo>
                  <a:pt x="1109975" y="6241860"/>
                </a:lnTo>
                <a:lnTo>
                  <a:pt x="1109122" y="6243166"/>
                </a:lnTo>
                <a:lnTo>
                  <a:pt x="1108810" y="6244764"/>
                </a:lnTo>
                <a:lnTo>
                  <a:pt x="1108810" y="6388168"/>
                </a:lnTo>
                <a:lnTo>
                  <a:pt x="1109122" y="6389767"/>
                </a:lnTo>
                <a:lnTo>
                  <a:pt x="1109975" y="6391072"/>
                </a:lnTo>
                <a:lnTo>
                  <a:pt x="1111239" y="6391952"/>
                </a:lnTo>
                <a:lnTo>
                  <a:pt x="1112787" y="6392275"/>
                </a:lnTo>
                <a:lnTo>
                  <a:pt x="1149737" y="6392275"/>
                </a:lnTo>
                <a:lnTo>
                  <a:pt x="1151285" y="6391952"/>
                </a:lnTo>
                <a:lnTo>
                  <a:pt x="1152550" y="6391072"/>
                </a:lnTo>
                <a:lnTo>
                  <a:pt x="1153403" y="6389767"/>
                </a:lnTo>
                <a:lnTo>
                  <a:pt x="1153715" y="6388168"/>
                </a:lnTo>
                <a:lnTo>
                  <a:pt x="1153715" y="6244764"/>
                </a:lnTo>
                <a:lnTo>
                  <a:pt x="1153403" y="6243166"/>
                </a:lnTo>
                <a:lnTo>
                  <a:pt x="1152550" y="6241860"/>
                </a:lnTo>
                <a:lnTo>
                  <a:pt x="1151285" y="6240980"/>
                </a:lnTo>
                <a:lnTo>
                  <a:pt x="1149737" y="6240657"/>
                </a:lnTo>
                <a:lnTo>
                  <a:pt x="1112787" y="6240657"/>
                </a:lnTo>
                <a:close/>
                <a:moveTo>
                  <a:pt x="1261092" y="6239132"/>
                </a:moveTo>
                <a:lnTo>
                  <a:pt x="1256377" y="6239375"/>
                </a:lnTo>
                <a:lnTo>
                  <a:pt x="1251232" y="6240162"/>
                </a:lnTo>
                <a:lnTo>
                  <a:pt x="1245866" y="6241577"/>
                </a:lnTo>
                <a:lnTo>
                  <a:pt x="1240486" y="6243708"/>
                </a:lnTo>
                <a:lnTo>
                  <a:pt x="1235300" y="6246639"/>
                </a:lnTo>
                <a:lnTo>
                  <a:pt x="1230515" y="6250458"/>
                </a:lnTo>
                <a:lnTo>
                  <a:pt x="1226340" y="6255248"/>
                </a:lnTo>
                <a:lnTo>
                  <a:pt x="1222981" y="6261097"/>
                </a:lnTo>
                <a:lnTo>
                  <a:pt x="1222981" y="6244763"/>
                </a:lnTo>
                <a:lnTo>
                  <a:pt x="1222669" y="6243165"/>
                </a:lnTo>
                <a:lnTo>
                  <a:pt x="1221816" y="6241860"/>
                </a:lnTo>
                <a:lnTo>
                  <a:pt x="1220552" y="6240979"/>
                </a:lnTo>
                <a:lnTo>
                  <a:pt x="1219003" y="6240657"/>
                </a:lnTo>
                <a:lnTo>
                  <a:pt x="1183531" y="6240657"/>
                </a:lnTo>
                <a:lnTo>
                  <a:pt x="1181983" y="6240979"/>
                </a:lnTo>
                <a:lnTo>
                  <a:pt x="1180719" y="6241860"/>
                </a:lnTo>
                <a:lnTo>
                  <a:pt x="1179866" y="6243165"/>
                </a:lnTo>
                <a:lnTo>
                  <a:pt x="1179554" y="6244763"/>
                </a:lnTo>
                <a:lnTo>
                  <a:pt x="1179554" y="6388167"/>
                </a:lnTo>
                <a:lnTo>
                  <a:pt x="1179866" y="6389767"/>
                </a:lnTo>
                <a:lnTo>
                  <a:pt x="1180719" y="6391073"/>
                </a:lnTo>
                <a:lnTo>
                  <a:pt x="1181983" y="6391953"/>
                </a:lnTo>
                <a:lnTo>
                  <a:pt x="1183531" y="6392276"/>
                </a:lnTo>
                <a:lnTo>
                  <a:pt x="1220480" y="6392276"/>
                </a:lnTo>
                <a:lnTo>
                  <a:pt x="1222029" y="6391953"/>
                </a:lnTo>
                <a:lnTo>
                  <a:pt x="1223293" y="6391073"/>
                </a:lnTo>
                <a:lnTo>
                  <a:pt x="1224145" y="6389767"/>
                </a:lnTo>
                <a:cubicBezTo>
                  <a:pt x="1224249" y="6389234"/>
                  <a:pt x="1224354" y="6388700"/>
                  <a:pt x="1224458" y="6388167"/>
                </a:cubicBezTo>
                <a:lnTo>
                  <a:pt x="1224458" y="6326074"/>
                </a:lnTo>
                <a:cubicBezTo>
                  <a:pt x="1224589" y="6323485"/>
                  <a:pt x="1224719" y="6320895"/>
                  <a:pt x="1224850" y="6318306"/>
                </a:cubicBezTo>
                <a:lnTo>
                  <a:pt x="1225983" y="6311451"/>
                </a:lnTo>
                <a:lnTo>
                  <a:pt x="1227790" y="6305471"/>
                </a:lnTo>
                <a:lnTo>
                  <a:pt x="1230208" y="6300332"/>
                </a:lnTo>
                <a:lnTo>
                  <a:pt x="1233170" y="6295995"/>
                </a:lnTo>
                <a:lnTo>
                  <a:pt x="1236612" y="6292426"/>
                </a:lnTo>
                <a:lnTo>
                  <a:pt x="1240468" y="6289587"/>
                </a:lnTo>
                <a:lnTo>
                  <a:pt x="1244673" y="6287442"/>
                </a:lnTo>
                <a:lnTo>
                  <a:pt x="1249162" y="6285955"/>
                </a:lnTo>
                <a:lnTo>
                  <a:pt x="1253869" y="6285090"/>
                </a:lnTo>
                <a:lnTo>
                  <a:pt x="1258729" y="6284809"/>
                </a:lnTo>
                <a:lnTo>
                  <a:pt x="1260952" y="6284837"/>
                </a:lnTo>
                <a:lnTo>
                  <a:pt x="1263083" y="6284927"/>
                </a:lnTo>
                <a:lnTo>
                  <a:pt x="1265174" y="6285090"/>
                </a:lnTo>
                <a:lnTo>
                  <a:pt x="1267247" y="6285334"/>
                </a:lnTo>
                <a:lnTo>
                  <a:pt x="1268824" y="6285238"/>
                </a:lnTo>
                <a:lnTo>
                  <a:pt x="1269700" y="6284809"/>
                </a:lnTo>
                <a:lnTo>
                  <a:pt x="1270201" y="6284564"/>
                </a:lnTo>
                <a:lnTo>
                  <a:pt x="1271230" y="6283414"/>
                </a:lnTo>
                <a:lnTo>
                  <a:pt x="1271768" y="6281888"/>
                </a:lnTo>
                <a:lnTo>
                  <a:pt x="1274797" y="6261097"/>
                </a:lnTo>
                <a:lnTo>
                  <a:pt x="1277103" y="6245263"/>
                </a:lnTo>
                <a:cubicBezTo>
                  <a:pt x="1277082" y="6244739"/>
                  <a:pt x="1277061" y="6244216"/>
                  <a:pt x="1277040" y="6243692"/>
                </a:cubicBezTo>
                <a:lnTo>
                  <a:pt x="1270665" y="6240006"/>
                </a:lnTo>
                <a:lnTo>
                  <a:pt x="1263927" y="6239237"/>
                </a:lnTo>
                <a:lnTo>
                  <a:pt x="1261092" y="6239132"/>
                </a:lnTo>
                <a:close/>
                <a:moveTo>
                  <a:pt x="1023405" y="6236996"/>
                </a:moveTo>
                <a:lnTo>
                  <a:pt x="1016606" y="6237334"/>
                </a:lnTo>
                <a:lnTo>
                  <a:pt x="1010217" y="6238297"/>
                </a:lnTo>
                <a:lnTo>
                  <a:pt x="1004279" y="6239809"/>
                </a:lnTo>
                <a:lnTo>
                  <a:pt x="998829" y="6241797"/>
                </a:lnTo>
                <a:lnTo>
                  <a:pt x="993906" y="6244183"/>
                </a:lnTo>
                <a:lnTo>
                  <a:pt x="989551" y="6246894"/>
                </a:lnTo>
                <a:lnTo>
                  <a:pt x="985800" y="6249853"/>
                </a:lnTo>
                <a:lnTo>
                  <a:pt x="980272" y="6256215"/>
                </a:lnTo>
                <a:lnTo>
                  <a:pt x="980272" y="6244763"/>
                </a:lnTo>
                <a:cubicBezTo>
                  <a:pt x="980168" y="6244230"/>
                  <a:pt x="980063" y="6243698"/>
                  <a:pt x="979959" y="6243165"/>
                </a:cubicBezTo>
                <a:lnTo>
                  <a:pt x="979107" y="6241860"/>
                </a:lnTo>
                <a:lnTo>
                  <a:pt x="977842" y="6240979"/>
                </a:lnTo>
                <a:lnTo>
                  <a:pt x="976293" y="6240657"/>
                </a:lnTo>
                <a:lnTo>
                  <a:pt x="940822" y="6240657"/>
                </a:lnTo>
                <a:lnTo>
                  <a:pt x="939273" y="6240979"/>
                </a:lnTo>
                <a:lnTo>
                  <a:pt x="938008" y="6241860"/>
                </a:lnTo>
                <a:lnTo>
                  <a:pt x="937156" y="6243165"/>
                </a:lnTo>
                <a:cubicBezTo>
                  <a:pt x="937052" y="6243698"/>
                  <a:pt x="936947" y="6244230"/>
                  <a:pt x="936843" y="6244763"/>
                </a:cubicBezTo>
                <a:lnTo>
                  <a:pt x="936843" y="6446130"/>
                </a:lnTo>
                <a:cubicBezTo>
                  <a:pt x="936947" y="6446663"/>
                  <a:pt x="937052" y="6447196"/>
                  <a:pt x="937156" y="6447729"/>
                </a:cubicBezTo>
                <a:lnTo>
                  <a:pt x="938008" y="6449034"/>
                </a:lnTo>
                <a:lnTo>
                  <a:pt x="939273" y="6449914"/>
                </a:lnTo>
                <a:lnTo>
                  <a:pt x="940822" y="6450237"/>
                </a:lnTo>
                <a:lnTo>
                  <a:pt x="977771" y="6450237"/>
                </a:lnTo>
                <a:lnTo>
                  <a:pt x="979319" y="6449914"/>
                </a:lnTo>
                <a:lnTo>
                  <a:pt x="980583" y="6449034"/>
                </a:lnTo>
                <a:lnTo>
                  <a:pt x="981436" y="6447729"/>
                </a:lnTo>
                <a:lnTo>
                  <a:pt x="981748" y="6446130"/>
                </a:lnTo>
                <a:lnTo>
                  <a:pt x="981748" y="6380378"/>
                </a:lnTo>
                <a:lnTo>
                  <a:pt x="984638" y="6383485"/>
                </a:lnTo>
                <a:lnTo>
                  <a:pt x="988188" y="6386364"/>
                </a:lnTo>
                <a:lnTo>
                  <a:pt x="992369" y="6388958"/>
                </a:lnTo>
                <a:lnTo>
                  <a:pt x="997148" y="6391208"/>
                </a:lnTo>
                <a:lnTo>
                  <a:pt x="1002495" y="6393057"/>
                </a:lnTo>
                <a:lnTo>
                  <a:pt x="1008379" y="6394450"/>
                </a:lnTo>
                <a:lnTo>
                  <a:pt x="1014768" y="6395327"/>
                </a:lnTo>
                <a:lnTo>
                  <a:pt x="1021631" y="6395632"/>
                </a:lnTo>
                <a:lnTo>
                  <a:pt x="1027154" y="6395428"/>
                </a:lnTo>
                <a:lnTo>
                  <a:pt x="1032518" y="6394823"/>
                </a:lnTo>
                <a:lnTo>
                  <a:pt x="1037712" y="6393828"/>
                </a:lnTo>
                <a:lnTo>
                  <a:pt x="1042728" y="6392455"/>
                </a:lnTo>
                <a:lnTo>
                  <a:pt x="1047556" y="6390715"/>
                </a:lnTo>
                <a:lnTo>
                  <a:pt x="1052186" y="6388620"/>
                </a:lnTo>
                <a:lnTo>
                  <a:pt x="1056609" y="6386181"/>
                </a:lnTo>
                <a:lnTo>
                  <a:pt x="1060815" y="6383409"/>
                </a:lnTo>
                <a:lnTo>
                  <a:pt x="1064716" y="6380378"/>
                </a:lnTo>
                <a:lnTo>
                  <a:pt x="1068540" y="6376912"/>
                </a:lnTo>
                <a:lnTo>
                  <a:pt x="1072040" y="6373209"/>
                </a:lnTo>
                <a:lnTo>
                  <a:pt x="1075285" y="6369219"/>
                </a:lnTo>
                <a:lnTo>
                  <a:pt x="1078266" y="6364953"/>
                </a:lnTo>
                <a:lnTo>
                  <a:pt x="1080974" y="6360423"/>
                </a:lnTo>
                <a:lnTo>
                  <a:pt x="1083399" y="6355639"/>
                </a:lnTo>
                <a:lnTo>
                  <a:pt x="1084033" y="6354143"/>
                </a:lnTo>
                <a:lnTo>
                  <a:pt x="1087361" y="6345356"/>
                </a:lnTo>
                <a:lnTo>
                  <a:pt x="1088880" y="6339880"/>
                </a:lnTo>
                <a:lnTo>
                  <a:pt x="1090080" y="6334177"/>
                </a:lnTo>
                <a:lnTo>
                  <a:pt x="1090944" y="6328315"/>
                </a:lnTo>
                <a:lnTo>
                  <a:pt x="1091472" y="6322249"/>
                </a:lnTo>
                <a:cubicBezTo>
                  <a:pt x="1091531" y="6320169"/>
                  <a:pt x="1091591" y="6318089"/>
                  <a:pt x="1091650" y="6316009"/>
                </a:cubicBezTo>
                <a:lnTo>
                  <a:pt x="1091491" y="6309886"/>
                </a:lnTo>
                <a:cubicBezTo>
                  <a:pt x="1091334" y="6307898"/>
                  <a:pt x="1091176" y="6305911"/>
                  <a:pt x="1091019" y="6303923"/>
                </a:cubicBezTo>
                <a:lnTo>
                  <a:pt x="1090238" y="6298132"/>
                </a:lnTo>
                <a:lnTo>
                  <a:pt x="1089154" y="6292525"/>
                </a:lnTo>
                <a:lnTo>
                  <a:pt x="1087771" y="6287115"/>
                </a:lnTo>
                <a:lnTo>
                  <a:pt x="1086094" y="6281913"/>
                </a:lnTo>
                <a:lnTo>
                  <a:pt x="1084862" y="6278790"/>
                </a:lnTo>
                <a:lnTo>
                  <a:pt x="1084129" y="6276931"/>
                </a:lnTo>
                <a:lnTo>
                  <a:pt x="1081880" y="6272183"/>
                </a:lnTo>
                <a:lnTo>
                  <a:pt x="1079352" y="6267679"/>
                </a:lnTo>
                <a:lnTo>
                  <a:pt x="1076551" y="6263433"/>
                </a:lnTo>
                <a:lnTo>
                  <a:pt x="1073481" y="6259457"/>
                </a:lnTo>
                <a:lnTo>
                  <a:pt x="1070556" y="6256215"/>
                </a:lnTo>
                <a:lnTo>
                  <a:pt x="1066554" y="6252361"/>
                </a:lnTo>
                <a:lnTo>
                  <a:pt x="1062708" y="6249267"/>
                </a:lnTo>
                <a:lnTo>
                  <a:pt x="1058613" y="6246491"/>
                </a:lnTo>
                <a:lnTo>
                  <a:pt x="1054275" y="6244045"/>
                </a:lnTo>
                <a:lnTo>
                  <a:pt x="1049697" y="6241942"/>
                </a:lnTo>
                <a:lnTo>
                  <a:pt x="1044886" y="6240194"/>
                </a:lnTo>
                <a:lnTo>
                  <a:pt x="1039847" y="6238813"/>
                </a:lnTo>
                <a:lnTo>
                  <a:pt x="1034583" y="6237812"/>
                </a:lnTo>
                <a:lnTo>
                  <a:pt x="1029101" y="6237202"/>
                </a:lnTo>
                <a:lnTo>
                  <a:pt x="1023405" y="6236996"/>
                </a:lnTo>
                <a:close/>
                <a:moveTo>
                  <a:pt x="1524474" y="6236081"/>
                </a:moveTo>
                <a:lnTo>
                  <a:pt x="1518900" y="6236268"/>
                </a:lnTo>
                <a:lnTo>
                  <a:pt x="1513439" y="6236823"/>
                </a:lnTo>
                <a:lnTo>
                  <a:pt x="1508104" y="6237736"/>
                </a:lnTo>
                <a:lnTo>
                  <a:pt x="1502907" y="6238997"/>
                </a:lnTo>
                <a:lnTo>
                  <a:pt x="1497861" y="6240598"/>
                </a:lnTo>
                <a:lnTo>
                  <a:pt x="1492978" y="6242529"/>
                </a:lnTo>
                <a:lnTo>
                  <a:pt x="1488271" y="6244779"/>
                </a:lnTo>
                <a:lnTo>
                  <a:pt x="1483751" y="6247341"/>
                </a:lnTo>
                <a:lnTo>
                  <a:pt x="1479433" y="6250204"/>
                </a:lnTo>
                <a:lnTo>
                  <a:pt x="1475328" y="6253359"/>
                </a:lnTo>
                <a:lnTo>
                  <a:pt x="1471448" y="6256796"/>
                </a:lnTo>
                <a:lnTo>
                  <a:pt x="1467808" y="6260506"/>
                </a:lnTo>
                <a:lnTo>
                  <a:pt x="1464417" y="6264480"/>
                </a:lnTo>
                <a:lnTo>
                  <a:pt x="1461291" y="6268707"/>
                </a:lnTo>
                <a:lnTo>
                  <a:pt x="1458440" y="6273179"/>
                </a:lnTo>
                <a:lnTo>
                  <a:pt x="1455878" y="6277886"/>
                </a:lnTo>
                <a:lnTo>
                  <a:pt x="1453616" y="6282819"/>
                </a:lnTo>
                <a:lnTo>
                  <a:pt x="1451663" y="6287986"/>
                </a:lnTo>
                <a:lnTo>
                  <a:pt x="1450047" y="6293322"/>
                </a:lnTo>
                <a:lnTo>
                  <a:pt x="1448764" y="6298874"/>
                </a:lnTo>
                <a:lnTo>
                  <a:pt x="1447832" y="6304614"/>
                </a:lnTo>
                <a:cubicBezTo>
                  <a:pt x="1447642" y="6306587"/>
                  <a:pt x="1447453" y="6308559"/>
                  <a:pt x="1447263" y="6310532"/>
                </a:cubicBezTo>
                <a:lnTo>
                  <a:pt x="1447071" y="6316619"/>
                </a:lnTo>
                <a:cubicBezTo>
                  <a:pt x="1447131" y="6318552"/>
                  <a:pt x="1447192" y="6320485"/>
                  <a:pt x="1447252" y="6322418"/>
                </a:cubicBezTo>
                <a:cubicBezTo>
                  <a:pt x="1447431" y="6324301"/>
                  <a:pt x="1447609" y="6326183"/>
                  <a:pt x="1447788" y="6328066"/>
                </a:cubicBezTo>
                <a:lnTo>
                  <a:pt x="1448667" y="6333554"/>
                </a:lnTo>
                <a:lnTo>
                  <a:pt x="1449877" y="6338874"/>
                </a:lnTo>
                <a:lnTo>
                  <a:pt x="1451408" y="6344017"/>
                </a:lnTo>
                <a:lnTo>
                  <a:pt x="1453247" y="6348975"/>
                </a:lnTo>
                <a:lnTo>
                  <a:pt x="1455383" y="6353738"/>
                </a:lnTo>
                <a:lnTo>
                  <a:pt x="1457805" y="6358299"/>
                </a:lnTo>
                <a:lnTo>
                  <a:pt x="1460500" y="6362650"/>
                </a:lnTo>
                <a:lnTo>
                  <a:pt x="1463458" y="6366781"/>
                </a:lnTo>
                <a:lnTo>
                  <a:pt x="1466666" y="6370685"/>
                </a:lnTo>
                <a:lnTo>
                  <a:pt x="1470114" y="6374352"/>
                </a:lnTo>
                <a:lnTo>
                  <a:pt x="1473789" y="6377775"/>
                </a:lnTo>
                <a:lnTo>
                  <a:pt x="1477681" y="6380944"/>
                </a:lnTo>
                <a:lnTo>
                  <a:pt x="1481778" y="6383852"/>
                </a:lnTo>
                <a:lnTo>
                  <a:pt x="1486067" y="6386489"/>
                </a:lnTo>
                <a:lnTo>
                  <a:pt x="1490538" y="6388849"/>
                </a:lnTo>
                <a:lnTo>
                  <a:pt x="1495179" y="6390921"/>
                </a:lnTo>
                <a:lnTo>
                  <a:pt x="1499979" y="6392697"/>
                </a:lnTo>
                <a:lnTo>
                  <a:pt x="1504925" y="6394170"/>
                </a:lnTo>
                <a:lnTo>
                  <a:pt x="1510007" y="6395330"/>
                </a:lnTo>
                <a:lnTo>
                  <a:pt x="1515213" y="6396169"/>
                </a:lnTo>
                <a:lnTo>
                  <a:pt x="1520531" y="6396678"/>
                </a:lnTo>
                <a:lnTo>
                  <a:pt x="1525950" y="6396850"/>
                </a:lnTo>
                <a:lnTo>
                  <a:pt x="1532781" y="6396579"/>
                </a:lnTo>
                <a:lnTo>
                  <a:pt x="1539291" y="6395786"/>
                </a:lnTo>
                <a:lnTo>
                  <a:pt x="1545476" y="6394505"/>
                </a:lnTo>
                <a:lnTo>
                  <a:pt x="1551333" y="6392768"/>
                </a:lnTo>
                <a:lnTo>
                  <a:pt x="1556859" y="6390607"/>
                </a:lnTo>
                <a:lnTo>
                  <a:pt x="1562051" y="6388054"/>
                </a:lnTo>
                <a:lnTo>
                  <a:pt x="1566905" y="6385143"/>
                </a:lnTo>
                <a:lnTo>
                  <a:pt x="1571417" y="6381905"/>
                </a:lnTo>
                <a:lnTo>
                  <a:pt x="1575585" y="6378373"/>
                </a:lnTo>
                <a:lnTo>
                  <a:pt x="1579405" y="6374579"/>
                </a:lnTo>
                <a:lnTo>
                  <a:pt x="1582873" y="6370556"/>
                </a:lnTo>
                <a:lnTo>
                  <a:pt x="1585988" y="6366337"/>
                </a:lnTo>
                <a:lnTo>
                  <a:pt x="1588744" y="6361953"/>
                </a:lnTo>
                <a:lnTo>
                  <a:pt x="1591139" y="6357438"/>
                </a:lnTo>
                <a:lnTo>
                  <a:pt x="1592589" y="6354142"/>
                </a:lnTo>
                <a:lnTo>
                  <a:pt x="1593169" y="6352822"/>
                </a:lnTo>
                <a:lnTo>
                  <a:pt x="1594832" y="6348140"/>
                </a:lnTo>
                <a:cubicBezTo>
                  <a:pt x="1594894" y="6347588"/>
                  <a:pt x="1594955" y="6347037"/>
                  <a:pt x="1595017" y="6346485"/>
                </a:cubicBezTo>
                <a:lnTo>
                  <a:pt x="1594588" y="6344942"/>
                </a:lnTo>
                <a:lnTo>
                  <a:pt x="1593627" y="6343685"/>
                </a:lnTo>
                <a:lnTo>
                  <a:pt x="1592215" y="6342887"/>
                </a:lnTo>
                <a:lnTo>
                  <a:pt x="1559980" y="6332703"/>
                </a:lnTo>
                <a:lnTo>
                  <a:pt x="1558513" y="6332537"/>
                </a:lnTo>
                <a:lnTo>
                  <a:pt x="1557135" y="6332922"/>
                </a:lnTo>
                <a:lnTo>
                  <a:pt x="1555975" y="6333788"/>
                </a:lnTo>
                <a:lnTo>
                  <a:pt x="1555158" y="6335066"/>
                </a:lnTo>
                <a:lnTo>
                  <a:pt x="1553059" y="6339274"/>
                </a:lnTo>
                <a:lnTo>
                  <a:pt x="1550294" y="6343224"/>
                </a:lnTo>
                <a:lnTo>
                  <a:pt x="1546848" y="6346776"/>
                </a:lnTo>
                <a:lnTo>
                  <a:pt x="1542705" y="6349785"/>
                </a:lnTo>
                <a:lnTo>
                  <a:pt x="1537851" y="6352111"/>
                </a:lnTo>
                <a:lnTo>
                  <a:pt x="1532271" y="6353611"/>
                </a:lnTo>
                <a:lnTo>
                  <a:pt x="1525950" y="6354142"/>
                </a:lnTo>
                <a:lnTo>
                  <a:pt x="1520957" y="6353811"/>
                </a:lnTo>
                <a:lnTo>
                  <a:pt x="1516168" y="6352827"/>
                </a:lnTo>
                <a:lnTo>
                  <a:pt x="1511640" y="6351203"/>
                </a:lnTo>
                <a:lnTo>
                  <a:pt x="1507429" y="6348949"/>
                </a:lnTo>
                <a:lnTo>
                  <a:pt x="1503595" y="6346080"/>
                </a:lnTo>
                <a:lnTo>
                  <a:pt x="1500193" y="6342607"/>
                </a:lnTo>
                <a:lnTo>
                  <a:pt x="1497281" y="6338542"/>
                </a:lnTo>
                <a:lnTo>
                  <a:pt x="1494917" y="6333899"/>
                </a:lnTo>
                <a:lnTo>
                  <a:pt x="1493157" y="6328689"/>
                </a:lnTo>
                <a:lnTo>
                  <a:pt x="1492059" y="6322925"/>
                </a:lnTo>
                <a:cubicBezTo>
                  <a:pt x="1491933" y="6320823"/>
                  <a:pt x="1491806" y="6318721"/>
                  <a:pt x="1491680" y="6316619"/>
                </a:cubicBezTo>
                <a:cubicBezTo>
                  <a:pt x="1491802" y="6314491"/>
                  <a:pt x="1491923" y="6312364"/>
                  <a:pt x="1492045" y="6310236"/>
                </a:cubicBezTo>
                <a:lnTo>
                  <a:pt x="1493105" y="6304410"/>
                </a:lnTo>
                <a:lnTo>
                  <a:pt x="1494809" y="6299150"/>
                </a:lnTo>
                <a:lnTo>
                  <a:pt x="1497103" y="6294468"/>
                </a:lnTo>
                <a:lnTo>
                  <a:pt x="1499937" y="6290374"/>
                </a:lnTo>
                <a:lnTo>
                  <a:pt x="1503259" y="6286880"/>
                </a:lnTo>
                <a:lnTo>
                  <a:pt x="1507016" y="6283997"/>
                </a:lnTo>
                <a:lnTo>
                  <a:pt x="1511157" y="6281735"/>
                </a:lnTo>
                <a:lnTo>
                  <a:pt x="1515629" y="6280106"/>
                </a:lnTo>
                <a:lnTo>
                  <a:pt x="1520381" y="6279120"/>
                </a:lnTo>
                <a:lnTo>
                  <a:pt x="1525361" y="6278789"/>
                </a:lnTo>
                <a:lnTo>
                  <a:pt x="1531642" y="6279308"/>
                </a:lnTo>
                <a:lnTo>
                  <a:pt x="1537118" y="6280776"/>
                </a:lnTo>
                <a:lnTo>
                  <a:pt x="1541824" y="6283064"/>
                </a:lnTo>
                <a:lnTo>
                  <a:pt x="1545800" y="6286041"/>
                </a:lnTo>
                <a:lnTo>
                  <a:pt x="1549081" y="6289575"/>
                </a:lnTo>
                <a:lnTo>
                  <a:pt x="1551705" y="6293537"/>
                </a:lnTo>
                <a:lnTo>
                  <a:pt x="1553709" y="6297795"/>
                </a:lnTo>
                <a:lnTo>
                  <a:pt x="1554514" y="6299099"/>
                </a:lnTo>
                <a:lnTo>
                  <a:pt x="1555675" y="6299988"/>
                </a:lnTo>
                <a:lnTo>
                  <a:pt x="1557062" y="6300390"/>
                </a:lnTo>
                <a:lnTo>
                  <a:pt x="1558545" y="6300231"/>
                </a:lnTo>
                <a:lnTo>
                  <a:pt x="1591335" y="6290024"/>
                </a:lnTo>
                <a:lnTo>
                  <a:pt x="1592748" y="6289235"/>
                </a:lnTo>
                <a:lnTo>
                  <a:pt x="1593713" y="6287986"/>
                </a:lnTo>
                <a:lnTo>
                  <a:pt x="1594150" y="6286448"/>
                </a:lnTo>
                <a:cubicBezTo>
                  <a:pt x="1594092" y="6285897"/>
                  <a:pt x="1594035" y="6285345"/>
                  <a:pt x="1593977" y="6284794"/>
                </a:cubicBezTo>
                <a:lnTo>
                  <a:pt x="1592440" y="6280308"/>
                </a:lnTo>
                <a:lnTo>
                  <a:pt x="1591800" y="6278789"/>
                </a:lnTo>
                <a:lnTo>
                  <a:pt x="1590582" y="6275899"/>
                </a:lnTo>
                <a:lnTo>
                  <a:pt x="1588404" y="6271591"/>
                </a:lnTo>
                <a:lnTo>
                  <a:pt x="1585906" y="6267410"/>
                </a:lnTo>
                <a:lnTo>
                  <a:pt x="1583089" y="6263381"/>
                </a:lnTo>
                <a:lnTo>
                  <a:pt x="1579952" y="6259529"/>
                </a:lnTo>
                <a:lnTo>
                  <a:pt x="1576497" y="6255880"/>
                </a:lnTo>
                <a:lnTo>
                  <a:pt x="1572723" y="6252459"/>
                </a:lnTo>
                <a:lnTo>
                  <a:pt x="1568631" y="6249291"/>
                </a:lnTo>
                <a:lnTo>
                  <a:pt x="1564221" y="6246401"/>
                </a:lnTo>
                <a:lnTo>
                  <a:pt x="1559493" y="6243814"/>
                </a:lnTo>
                <a:lnTo>
                  <a:pt x="1554448" y="6241556"/>
                </a:lnTo>
                <a:lnTo>
                  <a:pt x="1549086" y="6239653"/>
                </a:lnTo>
                <a:lnTo>
                  <a:pt x="1543407" y="6238128"/>
                </a:lnTo>
                <a:lnTo>
                  <a:pt x="1537412" y="6237008"/>
                </a:lnTo>
                <a:lnTo>
                  <a:pt x="1531101" y="6236317"/>
                </a:lnTo>
                <a:lnTo>
                  <a:pt x="1524474" y="6236081"/>
                </a:lnTo>
                <a:close/>
                <a:moveTo>
                  <a:pt x="1356301" y="6236081"/>
                </a:moveTo>
                <a:lnTo>
                  <a:pt x="1350654" y="6236268"/>
                </a:lnTo>
                <a:lnTo>
                  <a:pt x="1345126" y="6236823"/>
                </a:lnTo>
                <a:lnTo>
                  <a:pt x="1339730" y="6237735"/>
                </a:lnTo>
                <a:lnTo>
                  <a:pt x="1334477" y="6238996"/>
                </a:lnTo>
                <a:lnTo>
                  <a:pt x="1329381" y="6240595"/>
                </a:lnTo>
                <a:lnTo>
                  <a:pt x="1324454" y="6242523"/>
                </a:lnTo>
                <a:lnTo>
                  <a:pt x="1319706" y="6244771"/>
                </a:lnTo>
                <a:lnTo>
                  <a:pt x="1315152" y="6247328"/>
                </a:lnTo>
                <a:lnTo>
                  <a:pt x="1310803" y="6250186"/>
                </a:lnTo>
                <a:lnTo>
                  <a:pt x="1306672" y="6253334"/>
                </a:lnTo>
                <a:lnTo>
                  <a:pt x="1302769" y="6256763"/>
                </a:lnTo>
                <a:lnTo>
                  <a:pt x="1299109" y="6260463"/>
                </a:lnTo>
                <a:lnTo>
                  <a:pt x="1295703" y="6264425"/>
                </a:lnTo>
                <a:lnTo>
                  <a:pt x="1292563" y="6268638"/>
                </a:lnTo>
                <a:lnTo>
                  <a:pt x="1289702" y="6273094"/>
                </a:lnTo>
                <a:lnTo>
                  <a:pt x="1287131" y="6277783"/>
                </a:lnTo>
                <a:lnTo>
                  <a:pt x="1284864" y="6282695"/>
                </a:lnTo>
                <a:lnTo>
                  <a:pt x="1282912" y="6287821"/>
                </a:lnTo>
                <a:lnTo>
                  <a:pt x="1281287" y="6293150"/>
                </a:lnTo>
                <a:lnTo>
                  <a:pt x="1280002" y="6298673"/>
                </a:lnTo>
                <a:lnTo>
                  <a:pt x="1279069" y="6304381"/>
                </a:lnTo>
                <a:cubicBezTo>
                  <a:pt x="1278879" y="6306342"/>
                  <a:pt x="1278690" y="6308303"/>
                  <a:pt x="1278500" y="6310264"/>
                </a:cubicBezTo>
                <a:lnTo>
                  <a:pt x="1278308" y="6316313"/>
                </a:lnTo>
                <a:lnTo>
                  <a:pt x="1278485" y="6322114"/>
                </a:lnTo>
                <a:cubicBezTo>
                  <a:pt x="1278659" y="6323998"/>
                  <a:pt x="1278834" y="6325883"/>
                  <a:pt x="1279008" y="6327767"/>
                </a:cubicBezTo>
                <a:lnTo>
                  <a:pt x="1279866" y="6333262"/>
                </a:lnTo>
                <a:lnTo>
                  <a:pt x="1281049" y="6338592"/>
                </a:lnTo>
                <a:lnTo>
                  <a:pt x="1282546" y="6343746"/>
                </a:lnTo>
                <a:lnTo>
                  <a:pt x="1284346" y="6348717"/>
                </a:lnTo>
                <a:lnTo>
                  <a:pt x="1286438" y="6353496"/>
                </a:lnTo>
                <a:lnTo>
                  <a:pt x="1288812" y="6358074"/>
                </a:lnTo>
                <a:lnTo>
                  <a:pt x="1291457" y="6362441"/>
                </a:lnTo>
                <a:lnTo>
                  <a:pt x="1294362" y="6366591"/>
                </a:lnTo>
                <a:lnTo>
                  <a:pt x="1297516" y="6370513"/>
                </a:lnTo>
                <a:lnTo>
                  <a:pt x="1300908" y="6374200"/>
                </a:lnTo>
                <a:lnTo>
                  <a:pt x="1304528" y="6377641"/>
                </a:lnTo>
                <a:lnTo>
                  <a:pt x="1308366" y="6380829"/>
                </a:lnTo>
                <a:lnTo>
                  <a:pt x="1312409" y="6383755"/>
                </a:lnTo>
                <a:lnTo>
                  <a:pt x="1316648" y="6386411"/>
                </a:lnTo>
                <a:lnTo>
                  <a:pt x="1321072" y="6388786"/>
                </a:lnTo>
                <a:lnTo>
                  <a:pt x="1325669" y="6390873"/>
                </a:lnTo>
                <a:lnTo>
                  <a:pt x="1330430" y="6392663"/>
                </a:lnTo>
                <a:lnTo>
                  <a:pt x="1335342" y="6394147"/>
                </a:lnTo>
                <a:lnTo>
                  <a:pt x="1340397" y="6395317"/>
                </a:lnTo>
                <a:lnTo>
                  <a:pt x="1345582" y="6396163"/>
                </a:lnTo>
                <a:lnTo>
                  <a:pt x="1350887" y="6396677"/>
                </a:lnTo>
                <a:lnTo>
                  <a:pt x="1356301" y="6396850"/>
                </a:lnTo>
                <a:lnTo>
                  <a:pt x="1361750" y="6396677"/>
                </a:lnTo>
                <a:lnTo>
                  <a:pt x="1367083" y="6396163"/>
                </a:lnTo>
                <a:lnTo>
                  <a:pt x="1372291" y="6395317"/>
                </a:lnTo>
                <a:lnTo>
                  <a:pt x="1377363" y="6394147"/>
                </a:lnTo>
                <a:lnTo>
                  <a:pt x="1382289" y="6392663"/>
                </a:lnTo>
                <a:lnTo>
                  <a:pt x="1387059" y="6390873"/>
                </a:lnTo>
                <a:lnTo>
                  <a:pt x="1391661" y="6388786"/>
                </a:lnTo>
                <a:lnTo>
                  <a:pt x="1396087" y="6386411"/>
                </a:lnTo>
                <a:lnTo>
                  <a:pt x="1400324" y="6383755"/>
                </a:lnTo>
                <a:lnTo>
                  <a:pt x="1404363" y="6380829"/>
                </a:lnTo>
                <a:lnTo>
                  <a:pt x="1408194" y="6377641"/>
                </a:lnTo>
                <a:lnTo>
                  <a:pt x="1411806" y="6374200"/>
                </a:lnTo>
                <a:lnTo>
                  <a:pt x="1415189" y="6370513"/>
                </a:lnTo>
                <a:lnTo>
                  <a:pt x="1418332" y="6366591"/>
                </a:lnTo>
                <a:lnTo>
                  <a:pt x="1421225" y="6362441"/>
                </a:lnTo>
                <a:lnTo>
                  <a:pt x="1423857" y="6358074"/>
                </a:lnTo>
                <a:lnTo>
                  <a:pt x="1425886" y="6354142"/>
                </a:lnTo>
                <a:lnTo>
                  <a:pt x="1428300" y="6348717"/>
                </a:lnTo>
                <a:lnTo>
                  <a:pt x="1430089" y="6343746"/>
                </a:lnTo>
                <a:lnTo>
                  <a:pt x="1431576" y="6338592"/>
                </a:lnTo>
                <a:lnTo>
                  <a:pt x="1432751" y="6333262"/>
                </a:lnTo>
                <a:lnTo>
                  <a:pt x="1433602" y="6327767"/>
                </a:lnTo>
                <a:lnTo>
                  <a:pt x="1434121" y="6322114"/>
                </a:lnTo>
                <a:cubicBezTo>
                  <a:pt x="1434179" y="6320180"/>
                  <a:pt x="1434238" y="6318247"/>
                  <a:pt x="1434296" y="6316313"/>
                </a:cubicBezTo>
                <a:cubicBezTo>
                  <a:pt x="1434233" y="6314297"/>
                  <a:pt x="1434169" y="6312280"/>
                  <a:pt x="1434106" y="6310264"/>
                </a:cubicBezTo>
                <a:cubicBezTo>
                  <a:pt x="1433918" y="6308303"/>
                  <a:pt x="1433729" y="6306342"/>
                  <a:pt x="1433541" y="6304381"/>
                </a:cubicBezTo>
                <a:lnTo>
                  <a:pt x="1432615" y="6298673"/>
                </a:lnTo>
                <a:lnTo>
                  <a:pt x="1431339" y="6293150"/>
                </a:lnTo>
                <a:lnTo>
                  <a:pt x="1429725" y="6287821"/>
                </a:lnTo>
                <a:lnTo>
                  <a:pt x="1427785" y="6282695"/>
                </a:lnTo>
                <a:lnTo>
                  <a:pt x="1425992" y="6278789"/>
                </a:lnTo>
                <a:lnTo>
                  <a:pt x="1425530" y="6277783"/>
                </a:lnTo>
                <a:lnTo>
                  <a:pt x="1422972" y="6273094"/>
                </a:lnTo>
                <a:lnTo>
                  <a:pt x="1420123" y="6268638"/>
                </a:lnTo>
                <a:lnTo>
                  <a:pt x="1416996" y="6264425"/>
                </a:lnTo>
                <a:lnTo>
                  <a:pt x="1413600" y="6260463"/>
                </a:lnTo>
                <a:lnTo>
                  <a:pt x="1409950" y="6256763"/>
                </a:lnTo>
                <a:lnTo>
                  <a:pt x="1406055" y="6253334"/>
                </a:lnTo>
                <a:lnTo>
                  <a:pt x="1401929" y="6250186"/>
                </a:lnTo>
                <a:lnTo>
                  <a:pt x="1397583" y="6247328"/>
                </a:lnTo>
                <a:lnTo>
                  <a:pt x="1393028" y="6244771"/>
                </a:lnTo>
                <a:lnTo>
                  <a:pt x="1388276" y="6242523"/>
                </a:lnTo>
                <a:lnTo>
                  <a:pt x="1383340" y="6240595"/>
                </a:lnTo>
                <a:lnTo>
                  <a:pt x="1378231" y="6238996"/>
                </a:lnTo>
                <a:lnTo>
                  <a:pt x="1372961" y="6237735"/>
                </a:lnTo>
                <a:lnTo>
                  <a:pt x="1367541" y="6236823"/>
                </a:lnTo>
                <a:lnTo>
                  <a:pt x="1361984" y="6236268"/>
                </a:lnTo>
                <a:lnTo>
                  <a:pt x="1356301" y="6236081"/>
                </a:lnTo>
                <a:close/>
                <a:moveTo>
                  <a:pt x="788397" y="6175982"/>
                </a:moveTo>
                <a:lnTo>
                  <a:pt x="786849" y="6176305"/>
                </a:lnTo>
                <a:lnTo>
                  <a:pt x="785585" y="6177185"/>
                </a:lnTo>
                <a:lnTo>
                  <a:pt x="784733" y="6178491"/>
                </a:lnTo>
                <a:cubicBezTo>
                  <a:pt x="784629" y="6179024"/>
                  <a:pt x="784524" y="6179556"/>
                  <a:pt x="784420" y="6180089"/>
                </a:cubicBezTo>
                <a:lnTo>
                  <a:pt x="784420" y="6388168"/>
                </a:lnTo>
                <a:cubicBezTo>
                  <a:pt x="784524" y="6388701"/>
                  <a:pt x="784629" y="6389234"/>
                  <a:pt x="784733" y="6389767"/>
                </a:cubicBezTo>
                <a:lnTo>
                  <a:pt x="785585" y="6391072"/>
                </a:lnTo>
                <a:lnTo>
                  <a:pt x="786849" y="6391952"/>
                </a:lnTo>
                <a:lnTo>
                  <a:pt x="788397" y="6392275"/>
                </a:lnTo>
                <a:lnTo>
                  <a:pt x="913386" y="6392275"/>
                </a:lnTo>
                <a:lnTo>
                  <a:pt x="914934" y="6391952"/>
                </a:lnTo>
                <a:lnTo>
                  <a:pt x="916198" y="6391072"/>
                </a:lnTo>
                <a:lnTo>
                  <a:pt x="917050" y="6389767"/>
                </a:lnTo>
                <a:cubicBezTo>
                  <a:pt x="917154" y="6389234"/>
                  <a:pt x="917259" y="6388701"/>
                  <a:pt x="917363" y="6388168"/>
                </a:cubicBezTo>
                <a:lnTo>
                  <a:pt x="917363" y="6350622"/>
                </a:lnTo>
                <a:lnTo>
                  <a:pt x="914934" y="6346838"/>
                </a:lnTo>
                <a:lnTo>
                  <a:pt x="835075" y="6346515"/>
                </a:lnTo>
                <a:lnTo>
                  <a:pt x="833527" y="6346192"/>
                </a:lnTo>
                <a:lnTo>
                  <a:pt x="832263" y="6345312"/>
                </a:lnTo>
                <a:lnTo>
                  <a:pt x="831410" y="6344006"/>
                </a:lnTo>
                <a:cubicBezTo>
                  <a:pt x="831306" y="6343473"/>
                  <a:pt x="831201" y="6342941"/>
                  <a:pt x="831097" y="6342408"/>
                </a:cubicBezTo>
                <a:lnTo>
                  <a:pt x="831097" y="6309132"/>
                </a:lnTo>
                <a:cubicBezTo>
                  <a:pt x="831201" y="6308599"/>
                  <a:pt x="831306" y="6308067"/>
                  <a:pt x="831410" y="6307534"/>
                </a:cubicBezTo>
                <a:lnTo>
                  <a:pt x="832263" y="6306228"/>
                </a:lnTo>
                <a:lnTo>
                  <a:pt x="833527" y="6305348"/>
                </a:lnTo>
                <a:lnTo>
                  <a:pt x="835075" y="6305025"/>
                </a:lnTo>
                <a:lnTo>
                  <a:pt x="905112" y="6305025"/>
                </a:lnTo>
                <a:lnTo>
                  <a:pt x="906661" y="6304703"/>
                </a:lnTo>
                <a:lnTo>
                  <a:pt x="907925" y="6303823"/>
                </a:lnTo>
                <a:lnTo>
                  <a:pt x="908778" y="6302517"/>
                </a:lnTo>
                <a:cubicBezTo>
                  <a:pt x="908882" y="6301984"/>
                  <a:pt x="908987" y="6301451"/>
                  <a:pt x="909091" y="6300918"/>
                </a:cubicBezTo>
                <a:lnTo>
                  <a:pt x="909091" y="6266729"/>
                </a:lnTo>
                <a:cubicBezTo>
                  <a:pt x="908987" y="6266196"/>
                  <a:pt x="908882" y="6265663"/>
                  <a:pt x="908778" y="6265130"/>
                </a:cubicBezTo>
                <a:lnTo>
                  <a:pt x="907925" y="6263825"/>
                </a:lnTo>
                <a:lnTo>
                  <a:pt x="906661" y="6262944"/>
                </a:lnTo>
                <a:lnTo>
                  <a:pt x="905112" y="6262622"/>
                </a:lnTo>
                <a:lnTo>
                  <a:pt x="835075" y="6262622"/>
                </a:lnTo>
                <a:lnTo>
                  <a:pt x="833527" y="6262299"/>
                </a:lnTo>
                <a:lnTo>
                  <a:pt x="832263" y="6261419"/>
                </a:lnTo>
                <a:lnTo>
                  <a:pt x="831410" y="6260114"/>
                </a:lnTo>
                <a:cubicBezTo>
                  <a:pt x="831306" y="6259581"/>
                  <a:pt x="831201" y="6259048"/>
                  <a:pt x="831097" y="6258515"/>
                </a:cubicBezTo>
                <a:lnTo>
                  <a:pt x="831097" y="6225545"/>
                </a:lnTo>
                <a:cubicBezTo>
                  <a:pt x="831201" y="6225012"/>
                  <a:pt x="831306" y="6224479"/>
                  <a:pt x="831410" y="6223946"/>
                </a:cubicBezTo>
                <a:lnTo>
                  <a:pt x="832263" y="6222641"/>
                </a:lnTo>
                <a:lnTo>
                  <a:pt x="833527" y="6221761"/>
                </a:lnTo>
                <a:lnTo>
                  <a:pt x="835075" y="6221438"/>
                </a:lnTo>
                <a:lnTo>
                  <a:pt x="913090" y="6221438"/>
                </a:lnTo>
                <a:lnTo>
                  <a:pt x="914638" y="6221115"/>
                </a:lnTo>
                <a:lnTo>
                  <a:pt x="915902" y="6220235"/>
                </a:lnTo>
                <a:lnTo>
                  <a:pt x="916754" y="6218930"/>
                </a:lnTo>
                <a:cubicBezTo>
                  <a:pt x="916858" y="6218397"/>
                  <a:pt x="916963" y="6217864"/>
                  <a:pt x="917067" y="6217331"/>
                </a:cubicBezTo>
                <a:lnTo>
                  <a:pt x="917067" y="6180089"/>
                </a:lnTo>
                <a:cubicBezTo>
                  <a:pt x="916963" y="6179556"/>
                  <a:pt x="916858" y="6179024"/>
                  <a:pt x="916754" y="6178491"/>
                </a:cubicBezTo>
                <a:lnTo>
                  <a:pt x="915902" y="6177185"/>
                </a:lnTo>
                <a:lnTo>
                  <a:pt x="914638" y="6176305"/>
                </a:lnTo>
                <a:lnTo>
                  <a:pt x="913090" y="6175982"/>
                </a:lnTo>
                <a:lnTo>
                  <a:pt x="788397" y="6175982"/>
                </a:lnTo>
                <a:close/>
                <a:moveTo>
                  <a:pt x="1130966" y="6167136"/>
                </a:moveTo>
                <a:lnTo>
                  <a:pt x="1125778" y="6167690"/>
                </a:lnTo>
                <a:lnTo>
                  <a:pt x="1120922" y="6169276"/>
                </a:lnTo>
                <a:lnTo>
                  <a:pt x="1116509" y="6171785"/>
                </a:lnTo>
                <a:lnTo>
                  <a:pt x="1112650" y="6175106"/>
                </a:lnTo>
                <a:lnTo>
                  <a:pt x="1109456" y="6179127"/>
                </a:lnTo>
                <a:lnTo>
                  <a:pt x="1107037" y="6183738"/>
                </a:lnTo>
                <a:lnTo>
                  <a:pt x="1105504" y="6188829"/>
                </a:lnTo>
                <a:cubicBezTo>
                  <a:pt x="1105326" y="6190648"/>
                  <a:pt x="1105147" y="6192468"/>
                  <a:pt x="1104969" y="6194287"/>
                </a:cubicBezTo>
                <a:cubicBezTo>
                  <a:pt x="1105147" y="6196107"/>
                  <a:pt x="1105326" y="6197926"/>
                  <a:pt x="1105504" y="6199746"/>
                </a:cubicBezTo>
                <a:lnTo>
                  <a:pt x="1107037" y="6204836"/>
                </a:lnTo>
                <a:lnTo>
                  <a:pt x="1109456" y="6209447"/>
                </a:lnTo>
                <a:lnTo>
                  <a:pt x="1112650" y="6213468"/>
                </a:lnTo>
                <a:lnTo>
                  <a:pt x="1116509" y="6216789"/>
                </a:lnTo>
                <a:lnTo>
                  <a:pt x="1120922" y="6219298"/>
                </a:lnTo>
                <a:lnTo>
                  <a:pt x="1125778" y="6220885"/>
                </a:lnTo>
                <a:lnTo>
                  <a:pt x="1130966" y="6221438"/>
                </a:lnTo>
                <a:lnTo>
                  <a:pt x="1136350" y="6220885"/>
                </a:lnTo>
                <a:lnTo>
                  <a:pt x="1141353" y="6219298"/>
                </a:lnTo>
                <a:lnTo>
                  <a:pt x="1145871" y="6216789"/>
                </a:lnTo>
                <a:lnTo>
                  <a:pt x="1149800" y="6213468"/>
                </a:lnTo>
                <a:lnTo>
                  <a:pt x="1153038" y="6209447"/>
                </a:lnTo>
                <a:lnTo>
                  <a:pt x="1155478" y="6204836"/>
                </a:lnTo>
                <a:lnTo>
                  <a:pt x="1157019" y="6199746"/>
                </a:lnTo>
                <a:lnTo>
                  <a:pt x="1157556" y="6194287"/>
                </a:lnTo>
                <a:lnTo>
                  <a:pt x="1157019" y="6188829"/>
                </a:lnTo>
                <a:lnTo>
                  <a:pt x="1155478" y="6183738"/>
                </a:lnTo>
                <a:lnTo>
                  <a:pt x="1153038" y="6179127"/>
                </a:lnTo>
                <a:lnTo>
                  <a:pt x="1149800" y="6175106"/>
                </a:lnTo>
                <a:lnTo>
                  <a:pt x="1145871" y="6171785"/>
                </a:lnTo>
                <a:lnTo>
                  <a:pt x="1141353" y="6169276"/>
                </a:lnTo>
                <a:lnTo>
                  <a:pt x="1136350" y="6167690"/>
                </a:lnTo>
                <a:lnTo>
                  <a:pt x="1130966" y="6167136"/>
                </a:lnTo>
                <a:close/>
                <a:moveTo>
                  <a:pt x="587603" y="6130388"/>
                </a:moveTo>
                <a:lnTo>
                  <a:pt x="582187" y="6131131"/>
                </a:lnTo>
                <a:lnTo>
                  <a:pt x="577056" y="6133358"/>
                </a:lnTo>
                <a:lnTo>
                  <a:pt x="474730" y="6195414"/>
                </a:lnTo>
                <a:lnTo>
                  <a:pt x="470330" y="6198968"/>
                </a:lnTo>
                <a:lnTo>
                  <a:pt x="467011" y="6203523"/>
                </a:lnTo>
                <a:lnTo>
                  <a:pt x="464915" y="6208820"/>
                </a:lnTo>
                <a:cubicBezTo>
                  <a:pt x="464672" y="6210747"/>
                  <a:pt x="464428" y="6212674"/>
                  <a:pt x="464185" y="6214601"/>
                </a:cubicBezTo>
                <a:lnTo>
                  <a:pt x="464185" y="6338713"/>
                </a:lnTo>
                <a:cubicBezTo>
                  <a:pt x="464428" y="6340640"/>
                  <a:pt x="464672" y="6342567"/>
                  <a:pt x="464915" y="6344494"/>
                </a:cubicBezTo>
                <a:lnTo>
                  <a:pt x="467011" y="6349791"/>
                </a:lnTo>
                <a:lnTo>
                  <a:pt x="470330" y="6354347"/>
                </a:lnTo>
                <a:lnTo>
                  <a:pt x="474731" y="6357902"/>
                </a:lnTo>
                <a:lnTo>
                  <a:pt x="577056" y="6419958"/>
                </a:lnTo>
                <a:lnTo>
                  <a:pt x="582187" y="6422184"/>
                </a:lnTo>
                <a:lnTo>
                  <a:pt x="587603" y="6422926"/>
                </a:lnTo>
                <a:lnTo>
                  <a:pt x="593018" y="6422184"/>
                </a:lnTo>
                <a:lnTo>
                  <a:pt x="598149" y="6419958"/>
                </a:lnTo>
                <a:lnTo>
                  <a:pt x="693908" y="6361884"/>
                </a:lnTo>
                <a:lnTo>
                  <a:pt x="700475" y="6357902"/>
                </a:lnTo>
                <a:lnTo>
                  <a:pt x="704876" y="6354347"/>
                </a:lnTo>
                <a:lnTo>
                  <a:pt x="708195" y="6349791"/>
                </a:lnTo>
                <a:lnTo>
                  <a:pt x="710290" y="6344494"/>
                </a:lnTo>
                <a:cubicBezTo>
                  <a:pt x="710533" y="6342567"/>
                  <a:pt x="710777" y="6340640"/>
                  <a:pt x="711020" y="6338713"/>
                </a:cubicBezTo>
                <a:lnTo>
                  <a:pt x="711020" y="6287037"/>
                </a:lnTo>
                <a:lnTo>
                  <a:pt x="587603" y="6361884"/>
                </a:lnTo>
                <a:lnTo>
                  <a:pt x="518967" y="6320260"/>
                </a:lnTo>
                <a:cubicBezTo>
                  <a:pt x="518979" y="6291852"/>
                  <a:pt x="518992" y="6263444"/>
                  <a:pt x="519004" y="6235036"/>
                </a:cubicBezTo>
                <a:lnTo>
                  <a:pt x="582538" y="6196483"/>
                </a:lnTo>
                <a:lnTo>
                  <a:pt x="585000" y="6195414"/>
                </a:lnTo>
                <a:lnTo>
                  <a:pt x="587603" y="6195057"/>
                </a:lnTo>
                <a:lnTo>
                  <a:pt x="590208" y="6195414"/>
                </a:lnTo>
                <a:lnTo>
                  <a:pt x="592674" y="6196485"/>
                </a:lnTo>
                <a:lnTo>
                  <a:pt x="656238" y="6235034"/>
                </a:lnTo>
                <a:lnTo>
                  <a:pt x="596138" y="6271483"/>
                </a:lnTo>
                <a:lnTo>
                  <a:pt x="591986" y="6273284"/>
                </a:lnTo>
                <a:lnTo>
                  <a:pt x="587603" y="6273884"/>
                </a:lnTo>
                <a:lnTo>
                  <a:pt x="583221" y="6273283"/>
                </a:lnTo>
                <a:lnTo>
                  <a:pt x="579069" y="6271481"/>
                </a:lnTo>
                <a:lnTo>
                  <a:pt x="536076" y="6245395"/>
                </a:lnTo>
                <a:lnTo>
                  <a:pt x="536046" y="6309859"/>
                </a:lnTo>
                <a:lnTo>
                  <a:pt x="587603" y="6341127"/>
                </a:lnTo>
                <a:lnTo>
                  <a:pt x="698481" y="6273884"/>
                </a:lnTo>
                <a:lnTo>
                  <a:pt x="711020" y="6266280"/>
                </a:lnTo>
                <a:lnTo>
                  <a:pt x="711020" y="6214601"/>
                </a:lnTo>
                <a:cubicBezTo>
                  <a:pt x="710777" y="6212674"/>
                  <a:pt x="710533" y="6210747"/>
                  <a:pt x="710290" y="6208820"/>
                </a:cubicBezTo>
                <a:lnTo>
                  <a:pt x="708195" y="6203523"/>
                </a:lnTo>
                <a:lnTo>
                  <a:pt x="704876" y="6198968"/>
                </a:lnTo>
                <a:lnTo>
                  <a:pt x="700475" y="6195413"/>
                </a:lnTo>
                <a:lnTo>
                  <a:pt x="699887" y="6195057"/>
                </a:lnTo>
                <a:lnTo>
                  <a:pt x="598149" y="6133358"/>
                </a:lnTo>
                <a:lnTo>
                  <a:pt x="593018" y="6131131"/>
                </a:lnTo>
                <a:lnTo>
                  <a:pt x="587603" y="6130388"/>
                </a:lnTo>
                <a:close/>
                <a:moveTo>
                  <a:pt x="0" y="0"/>
                </a:moveTo>
                <a:lnTo>
                  <a:pt x="12204708" y="0"/>
                </a:lnTo>
                <a:cubicBezTo>
                  <a:pt x="12207885" y="2286000"/>
                  <a:pt x="12201531" y="4581525"/>
                  <a:pt x="12204708" y="6867525"/>
                </a:cubicBezTo>
                <a:lnTo>
                  <a:pt x="6353" y="6867525"/>
                </a:lnTo>
                <a:cubicBezTo>
                  <a:pt x="4235" y="4578350"/>
                  <a:pt x="2118" y="2289175"/>
                  <a:pt x="0" y="0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0201486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age Photo - Yellow Logo T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49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0534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age Photo - Grey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Epiroc Logo - 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537" y="6125763"/>
            <a:ext cx="1136926" cy="316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294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rgbClr val="4255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59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4" name="Picture 13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741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5308816" cy="437997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55186" y="1517904"/>
            <a:ext cx="5304901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38" y="1503364"/>
            <a:ext cx="51869" cy="4376683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8224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89" y="2024459"/>
            <a:ext cx="1" cy="344799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0" y="2024459"/>
            <a:ext cx="1" cy="344799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622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59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7582351" y="1517904"/>
            <a:ext cx="4198189" cy="4379976"/>
          </a:xfrm>
          <a:solidFill>
            <a:schemeClr val="tx2"/>
          </a:solidFill>
          <a:ln>
            <a:noFill/>
          </a:ln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  <a:ln>
            <a:noFill/>
          </a:ln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938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 box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7639" y="1517904"/>
            <a:ext cx="669515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59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/>
          </p:nvPr>
        </p:nvSpPr>
        <p:spPr>
          <a:xfrm>
            <a:off x="411587" y="1517904"/>
            <a:ext cx="4198189" cy="4379976"/>
          </a:xfrm>
          <a:solidFill>
            <a:schemeClr val="tx2"/>
          </a:solidFill>
        </p:spPr>
        <p:txBody>
          <a:bodyPr lIns="432000" tIns="360000" rIns="432000" bIns="360000">
            <a:no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228600" indent="-217488">
              <a:lnSpc>
                <a:spcPct val="100000"/>
              </a:lnSpc>
              <a:buFont typeface="Arial"/>
              <a:buChar char="•"/>
              <a:defRPr sz="1600">
                <a:solidFill>
                  <a:schemeClr val="tx1"/>
                </a:solidFill>
              </a:defRPr>
            </a:lvl2pPr>
            <a:lvl3pPr marL="468313" indent="-228600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286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 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6605" y="411481"/>
            <a:ext cx="5844538" cy="525401"/>
          </a:xfrm>
        </p:spPr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082" y="1517904"/>
            <a:ext cx="7225642" cy="4379976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59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4058879" cy="6857999"/>
          </a:xfrm>
        </p:spPr>
        <p:txBody>
          <a:bodyPr wrap="none" tIns="45720" rtlCol="0" anchor="ctr" anchorCtr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536605" y="932688"/>
            <a:ext cx="5844538" cy="395302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702437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and High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6" y="412628"/>
            <a:ext cx="7225642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7905"/>
            <a:ext cx="7225642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</a:t>
            </a:r>
            <a:r>
              <a:rPr lang="en-US" noProof="0"/>
              <a:t>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131006" y="0"/>
            <a:ext cx="4060994" cy="6858000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6" y="932688"/>
            <a:ext cx="7225642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9266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20734" y="2024626"/>
            <a:ext cx="5442097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29296" y="2024626"/>
            <a:ext cx="5442097" cy="3822192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000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11" name="object 10"/>
          <p:cNvSpPr>
            <a:spLocks/>
          </p:cNvSpPr>
          <p:nvPr userDrawn="1"/>
        </p:nvSpPr>
        <p:spPr bwMode="auto">
          <a:xfrm>
            <a:off x="6090286" y="2025166"/>
            <a:ext cx="45731" cy="3821112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6327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6"/>
            <a:ext cx="5304901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467890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190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7036" y="1514476"/>
            <a:ext cx="5304901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rgbClr val="425563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rgbClr val="425563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rgbClr val="425563"/>
                </a:solidFill>
              </a:defRPr>
            </a:lvl3pPr>
            <a:lvl4pPr>
              <a:defRPr sz="1800">
                <a:solidFill>
                  <a:srgbClr val="425563"/>
                </a:solidFill>
              </a:defRPr>
            </a:lvl4pPr>
            <a:lvl5pPr>
              <a:defRPr sz="1800">
                <a:solidFill>
                  <a:srgbClr val="4255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15956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6370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Wide Picture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6"/>
            <a:ext cx="3612821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592881" y="1514476"/>
            <a:ext cx="7179910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990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rgbClr val="4255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59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0640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</a:t>
            </a:r>
            <a:r>
              <a:rPr lang="en-US" noProof="0"/>
              <a:t>title</a:t>
            </a:r>
            <a:r>
              <a:rPr lang="en-US"/>
              <a:t>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482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</a:t>
            </a:r>
            <a:r>
              <a:rPr lang="en-US" noProof="0"/>
              <a:t>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4466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470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1588" y="1655064"/>
            <a:ext cx="11361204" cy="4448874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11587" y="932688"/>
            <a:ext cx="9969556" cy="374904"/>
          </a:xfrm>
        </p:spPr>
        <p:txBody>
          <a:bodyPr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</a:t>
            </a:r>
            <a:r>
              <a:rPr lang="en-US" noProof="0"/>
              <a:t>sub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3389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411587" y="970473"/>
            <a:ext cx="11359806" cy="5136244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784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7905"/>
            <a:ext cx="5308617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308817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rgbClr val="425563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rgbClr val="425563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rgbClr val="425563"/>
                </a:solidFill>
              </a:defRPr>
            </a:lvl3pPr>
            <a:lvl4pPr>
              <a:defRPr sz="1600">
                <a:solidFill>
                  <a:srgbClr val="425563"/>
                </a:solidFill>
              </a:defRPr>
            </a:lvl4pPr>
            <a:lvl5pPr>
              <a:defRPr sz="1600">
                <a:solidFill>
                  <a:srgbClr val="425563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64174" y="1517905"/>
            <a:ext cx="5308617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</a:t>
            </a:r>
            <a:r>
              <a:rPr lang="en-US" noProof="0"/>
              <a:t>text</a:t>
            </a:r>
            <a:r>
              <a:rPr lang="en-US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67890" y="1971675"/>
            <a:ext cx="5304901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 noProof="0"/>
              <a:t>Third</a:t>
            </a:r>
            <a:r>
              <a:rPr lang="en-US"/>
              <a:t>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0372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7905"/>
            <a:ext cx="5308617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1587" y="1971675"/>
            <a:ext cx="5308817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64174" y="1517905"/>
            <a:ext cx="5308617" cy="416589"/>
          </a:xfrm>
        </p:spPr>
        <p:txBody>
          <a:bodyPr rIns="90000" anchor="b">
            <a:noAutofit/>
          </a:bodyPr>
          <a:lstStyle>
            <a:lvl1pPr marL="0" indent="0">
              <a:spcBef>
                <a:spcPts val="600"/>
              </a:spcBef>
              <a:buNone/>
              <a:defRPr sz="2000" b="0" i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67890" y="1971675"/>
            <a:ext cx="5304901" cy="4035426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noProof="0"/>
              <a:t>add</a:t>
            </a:r>
            <a:r>
              <a:rPr lang="en-US"/>
              <a:t>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102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1514476"/>
            <a:ext cx="5304901" cy="4492625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467890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677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to the lef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5639" y="1514476"/>
            <a:ext cx="5304901" cy="4492624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8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11587" y="1514476"/>
            <a:ext cx="5304901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0143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11587" y="1514476"/>
            <a:ext cx="5300868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70334" y="1514476"/>
            <a:ext cx="5302457" cy="4492625"/>
          </a:xfrm>
        </p:spPr>
        <p:txBody>
          <a:bodyPr wrap="none" tIns="1080000" rtlCol="0">
            <a:normAutofit/>
          </a:bodyPr>
          <a:lstStyle>
            <a:lvl1pPr algn="ctr"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1678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8" name="Picture 7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4697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1588" y="1655064"/>
            <a:ext cx="11361204" cy="4453128"/>
          </a:xfrm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4652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1588" y="1514476"/>
            <a:ext cx="11365895" cy="4492625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59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4537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979714"/>
            <a:ext cx="2821127" cy="5027386"/>
          </a:xfrm>
        </p:spPr>
        <p:txBody>
          <a:bodyPr vert="eaVert"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1587" y="979714"/>
            <a:ext cx="8101152" cy="5027386"/>
          </a:xfrm>
        </p:spPr>
        <p:txBody>
          <a:bodyPr vert="eaVert"/>
          <a:lstStyle>
            <a:lvl1pPr>
              <a:defRPr>
                <a:solidFill>
                  <a:srgbClr val="425563"/>
                </a:solidFill>
              </a:defRPr>
            </a:lvl1pPr>
            <a:lvl2pPr>
              <a:defRPr>
                <a:solidFill>
                  <a:srgbClr val="425563"/>
                </a:solidFill>
              </a:defRPr>
            </a:lvl2pPr>
            <a:lvl3pPr>
              <a:buClr>
                <a:srgbClr val="425559"/>
              </a:buClr>
              <a:buSzPct val="75000"/>
              <a:defRPr>
                <a:solidFill>
                  <a:srgbClr val="425563"/>
                </a:solidFill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455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5"/>
          <p:cNvSpPr>
            <a:spLocks/>
          </p:cNvSpPr>
          <p:nvPr userDrawn="1"/>
        </p:nvSpPr>
        <p:spPr bwMode="auto">
          <a:xfrm>
            <a:off x="0" y="5688015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1696" y="6116501"/>
            <a:ext cx="1138916" cy="316916"/>
          </a:xfrm>
          <a:prstGeom prst="rect">
            <a:avLst/>
          </a:prstGeom>
        </p:spPr>
      </p:pic>
      <p:sp>
        <p:nvSpPr>
          <p:cNvPr id="17" name="object 2"/>
          <p:cNvSpPr>
            <a:spLocks/>
          </p:cNvSpPr>
          <p:nvPr userDrawn="1"/>
        </p:nvSpPr>
        <p:spPr bwMode="auto">
          <a:xfrm>
            <a:off x="-2" y="2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rgbClr val="49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978153" y="2075687"/>
            <a:ext cx="10247756" cy="932688"/>
          </a:xfrm>
        </p:spPr>
        <p:txBody>
          <a:bodyPr wrap="square" anchor="ctr" anchorCtr="0">
            <a:noAutofit/>
          </a:bodyPr>
          <a:lstStyle>
            <a:lvl1pPr algn="ctr">
              <a:defRPr sz="60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969012" y="3218688"/>
            <a:ext cx="10247756" cy="594360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</a:t>
            </a:r>
            <a:r>
              <a:rPr lang="en-US" noProof="0"/>
              <a:t>Master</a:t>
            </a:r>
            <a:r>
              <a:rPr lang="en-US"/>
              <a:t>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23905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Head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12201273" cy="6858000"/>
          </a:xfrm>
          <a:prstGeom prst="rect">
            <a:avLst/>
          </a:prstGeom>
          <a:solidFill>
            <a:schemeClr val="bg2"/>
          </a:solidFill>
        </p:spPr>
        <p:txBody>
          <a:bodyPr wrap="none" tIns="1080000" rtlCol="0">
            <a:normAutofit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" y="3052733"/>
            <a:ext cx="12185650" cy="821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90000"/>
              </a:lnSpc>
              <a:buNone/>
              <a:defRPr sz="6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5443" y="6309360"/>
            <a:ext cx="265424" cy="137160"/>
          </a:xfrm>
          <a:prstGeom prst="rect">
            <a:avLst/>
          </a:prstGeom>
        </p:spPr>
        <p:txBody>
          <a:bodyPr vert="horz" wrap="square" lIns="54000" tIns="0" rIns="54000" bIns="0" rtlCol="0" anchor="ctr">
            <a:spAutoFit/>
          </a:bodyPr>
          <a:lstStyle>
            <a:lvl1pPr algn="r">
              <a:defRPr sz="900" b="0">
                <a:solidFill>
                  <a:srgbClr val="435363"/>
                </a:solidFill>
              </a:defRPr>
            </a:lvl1pPr>
          </a:lstStyle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288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Text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/>
          <p:cNvSpPr>
            <a:spLocks/>
          </p:cNvSpPr>
          <p:nvPr userDrawn="1"/>
        </p:nvSpPr>
        <p:spPr bwMode="auto">
          <a:xfrm>
            <a:off x="0" y="2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rgbClr val="49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41467" y="728069"/>
            <a:ext cx="8094548" cy="34747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6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tatement, comment, quote or divider in sentence case format on up to four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1467" y="4206240"/>
            <a:ext cx="8094548" cy="594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object 5"/>
          <p:cNvSpPr>
            <a:spLocks/>
          </p:cNvSpPr>
          <p:nvPr userDrawn="1"/>
        </p:nvSpPr>
        <p:spPr bwMode="auto">
          <a:xfrm>
            <a:off x="0" y="5688015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1696" y="6116501"/>
            <a:ext cx="1138916" cy="31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5055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Text Only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5"/>
          <p:cNvSpPr>
            <a:spLocks/>
          </p:cNvSpPr>
          <p:nvPr userDrawn="1"/>
        </p:nvSpPr>
        <p:spPr bwMode="auto">
          <a:xfrm>
            <a:off x="0" y="5688015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0" tIns="0" rIns="0" bIns="0"/>
          <a:lstStyle/>
          <a:p>
            <a:endParaRPr lang="en-US" sz="1800">
              <a:solidFill>
                <a:schemeClr val="tx1"/>
              </a:solidFill>
            </a:endParaRPr>
          </a:p>
        </p:txBody>
      </p:sp>
      <p:pic>
        <p:nvPicPr>
          <p:cNvPr id="2" name="Picture 1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692" y="6125761"/>
            <a:ext cx="1139316" cy="317027"/>
          </a:xfrm>
          <a:prstGeom prst="rect">
            <a:avLst/>
          </a:prstGeom>
        </p:spPr>
      </p:pic>
      <p:sp>
        <p:nvSpPr>
          <p:cNvPr id="10" name="object 2"/>
          <p:cNvSpPr>
            <a:spLocks/>
          </p:cNvSpPr>
          <p:nvPr userDrawn="1"/>
        </p:nvSpPr>
        <p:spPr bwMode="auto">
          <a:xfrm>
            <a:off x="0" y="2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841467" y="728069"/>
            <a:ext cx="8094548" cy="34747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600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tatement, comment, quote or divider in sentence case format on up to four lines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41467" y="4206240"/>
            <a:ext cx="8094548" cy="594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511159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Text Only - Electric Green AUTO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/>
          <p:cNvSpPr>
            <a:spLocks/>
          </p:cNvSpPr>
          <p:nvPr userDrawn="1"/>
        </p:nvSpPr>
        <p:spPr bwMode="auto">
          <a:xfrm>
            <a:off x="0" y="2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1" name="object 5"/>
          <p:cNvSpPr>
            <a:spLocks/>
          </p:cNvSpPr>
          <p:nvPr userDrawn="1"/>
        </p:nvSpPr>
        <p:spPr bwMode="auto">
          <a:xfrm>
            <a:off x="0" y="5688015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841467" y="728069"/>
            <a:ext cx="8094548" cy="34747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6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tatement, comment, quote or divider in sentence case format on up to four lines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41467" y="4206240"/>
            <a:ext cx="8094548" cy="594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692" y="6125761"/>
            <a:ext cx="1139316" cy="31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9095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Text Only -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/>
          <p:cNvSpPr>
            <a:spLocks/>
          </p:cNvSpPr>
          <p:nvPr userDrawn="1"/>
        </p:nvSpPr>
        <p:spPr bwMode="auto">
          <a:xfrm>
            <a:off x="0" y="2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1" name="object 5"/>
          <p:cNvSpPr>
            <a:spLocks/>
          </p:cNvSpPr>
          <p:nvPr userDrawn="1"/>
        </p:nvSpPr>
        <p:spPr bwMode="auto">
          <a:xfrm>
            <a:off x="0" y="5688015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841467" y="728069"/>
            <a:ext cx="8094548" cy="347472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6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tatement, comment, quote or divider in sentence case format on up to four lines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41467" y="4206240"/>
            <a:ext cx="8094548" cy="594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42556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692" y="6125761"/>
            <a:ext cx="1139316" cy="31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0384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23" y="6123410"/>
            <a:ext cx="1139316" cy="317027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787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Lef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7124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epiroc_log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537" y="6123314"/>
            <a:ext cx="1136926" cy="306858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0735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Epiroc Logo - 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537" y="6125763"/>
            <a:ext cx="1136926" cy="316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3146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1692" y="360701"/>
            <a:ext cx="1139316" cy="317027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6971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piroc_log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3387" y="361084"/>
            <a:ext cx="1136926" cy="306858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0928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4" name="Picture 1" descr="Epiroc Logo - 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3387" y="360994"/>
            <a:ext cx="1136926" cy="316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5005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935700" y="496350"/>
                </a:moveTo>
                <a:lnTo>
                  <a:pt x="940447" y="496642"/>
                </a:lnTo>
                <a:lnTo>
                  <a:pt x="945030" y="497521"/>
                </a:lnTo>
                <a:lnTo>
                  <a:pt x="949390" y="498991"/>
                </a:lnTo>
                <a:lnTo>
                  <a:pt x="953466" y="501055"/>
                </a:lnTo>
                <a:lnTo>
                  <a:pt x="957195" y="503718"/>
                </a:lnTo>
                <a:lnTo>
                  <a:pt x="960518" y="506984"/>
                </a:lnTo>
                <a:lnTo>
                  <a:pt x="963373" y="510856"/>
                </a:lnTo>
                <a:lnTo>
                  <a:pt x="965700" y="515338"/>
                </a:lnTo>
                <a:lnTo>
                  <a:pt x="967438" y="520435"/>
                </a:lnTo>
                <a:lnTo>
                  <a:pt x="968525" y="526151"/>
                </a:lnTo>
                <a:lnTo>
                  <a:pt x="968901" y="532489"/>
                </a:lnTo>
                <a:lnTo>
                  <a:pt x="968525" y="538834"/>
                </a:lnTo>
                <a:lnTo>
                  <a:pt x="967438" y="544568"/>
                </a:lnTo>
                <a:lnTo>
                  <a:pt x="965700" y="549693"/>
                </a:lnTo>
                <a:lnTo>
                  <a:pt x="963373" y="554211"/>
                </a:lnTo>
                <a:lnTo>
                  <a:pt x="960518" y="558121"/>
                </a:lnTo>
                <a:lnTo>
                  <a:pt x="957195" y="561427"/>
                </a:lnTo>
                <a:lnTo>
                  <a:pt x="953466" y="564129"/>
                </a:lnTo>
                <a:lnTo>
                  <a:pt x="949390" y="566228"/>
                </a:lnTo>
                <a:lnTo>
                  <a:pt x="945030" y="567725"/>
                </a:lnTo>
                <a:lnTo>
                  <a:pt x="940447" y="568623"/>
                </a:lnTo>
                <a:lnTo>
                  <a:pt x="935700" y="568922"/>
                </a:lnTo>
                <a:lnTo>
                  <a:pt x="931026" y="568617"/>
                </a:lnTo>
                <a:lnTo>
                  <a:pt x="926503" y="567702"/>
                </a:lnTo>
                <a:lnTo>
                  <a:pt x="922191" y="566180"/>
                </a:lnTo>
                <a:lnTo>
                  <a:pt x="918153" y="564055"/>
                </a:lnTo>
                <a:lnTo>
                  <a:pt x="914452" y="561328"/>
                </a:lnTo>
                <a:lnTo>
                  <a:pt x="911149" y="558003"/>
                </a:lnTo>
                <a:lnTo>
                  <a:pt x="908308" y="554081"/>
                </a:lnTo>
                <a:lnTo>
                  <a:pt x="905989" y="549566"/>
                </a:lnTo>
                <a:lnTo>
                  <a:pt x="904256" y="544461"/>
                </a:lnTo>
                <a:lnTo>
                  <a:pt x="903170" y="538768"/>
                </a:lnTo>
                <a:lnTo>
                  <a:pt x="902795" y="532489"/>
                </a:lnTo>
                <a:lnTo>
                  <a:pt x="903170" y="526151"/>
                </a:lnTo>
                <a:lnTo>
                  <a:pt x="904256" y="520435"/>
                </a:lnTo>
                <a:lnTo>
                  <a:pt x="905989" y="515338"/>
                </a:lnTo>
                <a:lnTo>
                  <a:pt x="908308" y="510856"/>
                </a:lnTo>
                <a:lnTo>
                  <a:pt x="911149" y="506984"/>
                </a:lnTo>
                <a:lnTo>
                  <a:pt x="914452" y="503718"/>
                </a:lnTo>
                <a:lnTo>
                  <a:pt x="918153" y="501055"/>
                </a:lnTo>
                <a:lnTo>
                  <a:pt x="922191" y="498991"/>
                </a:lnTo>
                <a:lnTo>
                  <a:pt x="926503" y="497521"/>
                </a:lnTo>
                <a:lnTo>
                  <a:pt x="931026" y="496642"/>
                </a:lnTo>
                <a:close/>
                <a:moveTo>
                  <a:pt x="1275877" y="496350"/>
                </a:moveTo>
                <a:lnTo>
                  <a:pt x="1280484" y="496635"/>
                </a:lnTo>
                <a:lnTo>
                  <a:pt x="1284967" y="497497"/>
                </a:lnTo>
                <a:lnTo>
                  <a:pt x="1289259" y="498942"/>
                </a:lnTo>
                <a:lnTo>
                  <a:pt x="1293295" y="500980"/>
                </a:lnTo>
                <a:lnTo>
                  <a:pt x="1297006" y="503618"/>
                </a:lnTo>
                <a:lnTo>
                  <a:pt x="1300329" y="506863"/>
                </a:lnTo>
                <a:lnTo>
                  <a:pt x="1303196" y="510725"/>
                </a:lnTo>
                <a:lnTo>
                  <a:pt x="1305541" y="515210"/>
                </a:lnTo>
                <a:lnTo>
                  <a:pt x="1307298" y="520327"/>
                </a:lnTo>
                <a:lnTo>
                  <a:pt x="1308401" y="526084"/>
                </a:lnTo>
                <a:lnTo>
                  <a:pt x="1308783" y="532488"/>
                </a:lnTo>
                <a:lnTo>
                  <a:pt x="1308401" y="538900"/>
                </a:lnTo>
                <a:lnTo>
                  <a:pt x="1307298" y="544675"/>
                </a:lnTo>
                <a:lnTo>
                  <a:pt x="1305541" y="549821"/>
                </a:lnTo>
                <a:lnTo>
                  <a:pt x="1303196" y="554341"/>
                </a:lnTo>
                <a:lnTo>
                  <a:pt x="1300329" y="558241"/>
                </a:lnTo>
                <a:lnTo>
                  <a:pt x="1297006" y="561527"/>
                </a:lnTo>
                <a:lnTo>
                  <a:pt x="1293295" y="564203"/>
                </a:lnTo>
                <a:lnTo>
                  <a:pt x="1289259" y="566275"/>
                </a:lnTo>
                <a:lnTo>
                  <a:pt x="1284967" y="567749"/>
                </a:lnTo>
                <a:lnTo>
                  <a:pt x="1280484" y="568629"/>
                </a:lnTo>
                <a:lnTo>
                  <a:pt x="1275877" y="568921"/>
                </a:lnTo>
                <a:lnTo>
                  <a:pt x="1271336" y="568623"/>
                </a:lnTo>
                <a:lnTo>
                  <a:pt x="1266894" y="567725"/>
                </a:lnTo>
                <a:lnTo>
                  <a:pt x="1262622" y="566227"/>
                </a:lnTo>
                <a:lnTo>
                  <a:pt x="1258589" y="564129"/>
                </a:lnTo>
                <a:lnTo>
                  <a:pt x="1254867" y="561427"/>
                </a:lnTo>
                <a:lnTo>
                  <a:pt x="1251524" y="558122"/>
                </a:lnTo>
                <a:lnTo>
                  <a:pt x="1248632" y="554211"/>
                </a:lnTo>
                <a:lnTo>
                  <a:pt x="1246260" y="549693"/>
                </a:lnTo>
                <a:lnTo>
                  <a:pt x="1244479" y="544568"/>
                </a:lnTo>
                <a:lnTo>
                  <a:pt x="1243359" y="538833"/>
                </a:lnTo>
                <a:lnTo>
                  <a:pt x="1242970" y="532488"/>
                </a:lnTo>
                <a:lnTo>
                  <a:pt x="1243359" y="526084"/>
                </a:lnTo>
                <a:lnTo>
                  <a:pt x="1244479" y="520327"/>
                </a:lnTo>
                <a:lnTo>
                  <a:pt x="1246260" y="515210"/>
                </a:lnTo>
                <a:lnTo>
                  <a:pt x="1248632" y="510725"/>
                </a:lnTo>
                <a:lnTo>
                  <a:pt x="1251524" y="506863"/>
                </a:lnTo>
                <a:lnTo>
                  <a:pt x="1254867" y="503618"/>
                </a:lnTo>
                <a:lnTo>
                  <a:pt x="1258589" y="500980"/>
                </a:lnTo>
                <a:lnTo>
                  <a:pt x="1262622" y="498942"/>
                </a:lnTo>
                <a:lnTo>
                  <a:pt x="1266894" y="497497"/>
                </a:lnTo>
                <a:lnTo>
                  <a:pt x="1271336" y="496635"/>
                </a:lnTo>
                <a:close/>
                <a:moveTo>
                  <a:pt x="1033700" y="459624"/>
                </a:moveTo>
                <a:lnTo>
                  <a:pt x="1032161" y="459935"/>
                </a:lnTo>
                <a:lnTo>
                  <a:pt x="1030903" y="460783"/>
                </a:lnTo>
                <a:lnTo>
                  <a:pt x="1030056" y="462040"/>
                </a:lnTo>
                <a:lnTo>
                  <a:pt x="1029745" y="463580"/>
                </a:lnTo>
                <a:lnTo>
                  <a:pt x="1029745" y="601691"/>
                </a:lnTo>
                <a:lnTo>
                  <a:pt x="1030056" y="603232"/>
                </a:lnTo>
                <a:lnTo>
                  <a:pt x="1030903" y="604489"/>
                </a:lnTo>
                <a:lnTo>
                  <a:pt x="1032161" y="605336"/>
                </a:lnTo>
                <a:lnTo>
                  <a:pt x="1033700" y="605647"/>
                </a:lnTo>
                <a:lnTo>
                  <a:pt x="1070447" y="605647"/>
                </a:lnTo>
                <a:lnTo>
                  <a:pt x="1071987" y="605336"/>
                </a:lnTo>
                <a:lnTo>
                  <a:pt x="1073245" y="604489"/>
                </a:lnTo>
                <a:lnTo>
                  <a:pt x="1074093" y="603232"/>
                </a:lnTo>
                <a:lnTo>
                  <a:pt x="1074403" y="601691"/>
                </a:lnTo>
                <a:lnTo>
                  <a:pt x="1074403" y="463580"/>
                </a:lnTo>
                <a:lnTo>
                  <a:pt x="1074093" y="462040"/>
                </a:lnTo>
                <a:lnTo>
                  <a:pt x="1073245" y="460783"/>
                </a:lnTo>
                <a:lnTo>
                  <a:pt x="1071987" y="459935"/>
                </a:lnTo>
                <a:lnTo>
                  <a:pt x="1070447" y="459624"/>
                </a:lnTo>
                <a:close/>
                <a:moveTo>
                  <a:pt x="1181190" y="458156"/>
                </a:moveTo>
                <a:lnTo>
                  <a:pt x="1176501" y="458390"/>
                </a:lnTo>
                <a:lnTo>
                  <a:pt x="1171384" y="459147"/>
                </a:lnTo>
                <a:lnTo>
                  <a:pt x="1166048" y="460511"/>
                </a:lnTo>
                <a:lnTo>
                  <a:pt x="1160698" y="462562"/>
                </a:lnTo>
                <a:lnTo>
                  <a:pt x="1155540" y="465386"/>
                </a:lnTo>
                <a:lnTo>
                  <a:pt x="1150781" y="469063"/>
                </a:lnTo>
                <a:lnTo>
                  <a:pt x="1146629" y="473677"/>
                </a:lnTo>
                <a:lnTo>
                  <a:pt x="1143289" y="479310"/>
                </a:lnTo>
                <a:lnTo>
                  <a:pt x="1143289" y="463579"/>
                </a:lnTo>
                <a:lnTo>
                  <a:pt x="1142978" y="462040"/>
                </a:lnTo>
                <a:lnTo>
                  <a:pt x="1142130" y="460783"/>
                </a:lnTo>
                <a:lnTo>
                  <a:pt x="1140873" y="459935"/>
                </a:lnTo>
                <a:lnTo>
                  <a:pt x="1139332" y="459624"/>
                </a:lnTo>
                <a:lnTo>
                  <a:pt x="1104055" y="459624"/>
                </a:lnTo>
                <a:lnTo>
                  <a:pt x="1102515" y="459935"/>
                </a:lnTo>
                <a:lnTo>
                  <a:pt x="1101258" y="460783"/>
                </a:lnTo>
                <a:lnTo>
                  <a:pt x="1100411" y="462040"/>
                </a:lnTo>
                <a:lnTo>
                  <a:pt x="1100100" y="463579"/>
                </a:lnTo>
                <a:lnTo>
                  <a:pt x="1100100" y="601691"/>
                </a:lnTo>
                <a:lnTo>
                  <a:pt x="1100411" y="603231"/>
                </a:lnTo>
                <a:lnTo>
                  <a:pt x="1101258" y="604489"/>
                </a:lnTo>
                <a:lnTo>
                  <a:pt x="1102515" y="605337"/>
                </a:lnTo>
                <a:lnTo>
                  <a:pt x="1104055" y="605648"/>
                </a:lnTo>
                <a:lnTo>
                  <a:pt x="1140802" y="605648"/>
                </a:lnTo>
                <a:lnTo>
                  <a:pt x="1142342" y="605337"/>
                </a:lnTo>
                <a:lnTo>
                  <a:pt x="1143599" y="604489"/>
                </a:lnTo>
                <a:lnTo>
                  <a:pt x="1144447" y="603231"/>
                </a:lnTo>
                <a:lnTo>
                  <a:pt x="1144757" y="601691"/>
                </a:lnTo>
                <a:lnTo>
                  <a:pt x="1144757" y="541889"/>
                </a:lnTo>
                <a:lnTo>
                  <a:pt x="1145147" y="534408"/>
                </a:lnTo>
                <a:lnTo>
                  <a:pt x="1146274" y="527806"/>
                </a:lnTo>
                <a:lnTo>
                  <a:pt x="1148071" y="522047"/>
                </a:lnTo>
                <a:lnTo>
                  <a:pt x="1150476" y="517097"/>
                </a:lnTo>
                <a:lnTo>
                  <a:pt x="1153422" y="512920"/>
                </a:lnTo>
                <a:lnTo>
                  <a:pt x="1156845" y="509483"/>
                </a:lnTo>
                <a:lnTo>
                  <a:pt x="1160680" y="506749"/>
                </a:lnTo>
                <a:lnTo>
                  <a:pt x="1164862" y="504683"/>
                </a:lnTo>
                <a:lnTo>
                  <a:pt x="1169326" y="503251"/>
                </a:lnTo>
                <a:lnTo>
                  <a:pt x="1174007" y="502418"/>
                </a:lnTo>
                <a:lnTo>
                  <a:pt x="1178840" y="502148"/>
                </a:lnTo>
                <a:lnTo>
                  <a:pt x="1181051" y="502174"/>
                </a:lnTo>
                <a:lnTo>
                  <a:pt x="1183170" y="502260"/>
                </a:lnTo>
                <a:lnTo>
                  <a:pt x="1185250" y="502418"/>
                </a:lnTo>
                <a:lnTo>
                  <a:pt x="1187311" y="502653"/>
                </a:lnTo>
                <a:lnTo>
                  <a:pt x="1188880" y="502560"/>
                </a:lnTo>
                <a:lnTo>
                  <a:pt x="1189751" y="502148"/>
                </a:lnTo>
                <a:lnTo>
                  <a:pt x="1190249" y="501912"/>
                </a:lnTo>
                <a:lnTo>
                  <a:pt x="1191272" y="500804"/>
                </a:lnTo>
                <a:lnTo>
                  <a:pt x="1191808" y="499334"/>
                </a:lnTo>
                <a:lnTo>
                  <a:pt x="1194820" y="479310"/>
                </a:lnTo>
                <a:lnTo>
                  <a:pt x="1197113" y="464060"/>
                </a:lnTo>
                <a:lnTo>
                  <a:pt x="1197051" y="462547"/>
                </a:lnTo>
                <a:lnTo>
                  <a:pt x="1190711" y="458997"/>
                </a:lnTo>
                <a:lnTo>
                  <a:pt x="1184010" y="458256"/>
                </a:lnTo>
                <a:close/>
                <a:moveTo>
                  <a:pt x="944809" y="456099"/>
                </a:moveTo>
                <a:lnTo>
                  <a:pt x="938047" y="456424"/>
                </a:lnTo>
                <a:lnTo>
                  <a:pt x="931694" y="457351"/>
                </a:lnTo>
                <a:lnTo>
                  <a:pt x="925788" y="458808"/>
                </a:lnTo>
                <a:lnTo>
                  <a:pt x="920368" y="460722"/>
                </a:lnTo>
                <a:lnTo>
                  <a:pt x="915473" y="463021"/>
                </a:lnTo>
                <a:lnTo>
                  <a:pt x="911141" y="465631"/>
                </a:lnTo>
                <a:lnTo>
                  <a:pt x="907411" y="468481"/>
                </a:lnTo>
                <a:lnTo>
                  <a:pt x="901913" y="474608"/>
                </a:lnTo>
                <a:lnTo>
                  <a:pt x="901913" y="463579"/>
                </a:lnTo>
                <a:lnTo>
                  <a:pt x="901602" y="462040"/>
                </a:lnTo>
                <a:lnTo>
                  <a:pt x="900754" y="460783"/>
                </a:lnTo>
                <a:lnTo>
                  <a:pt x="899496" y="459935"/>
                </a:lnTo>
                <a:lnTo>
                  <a:pt x="897956" y="459624"/>
                </a:lnTo>
                <a:lnTo>
                  <a:pt x="862679" y="459624"/>
                </a:lnTo>
                <a:lnTo>
                  <a:pt x="861139" y="459935"/>
                </a:lnTo>
                <a:lnTo>
                  <a:pt x="859881" y="460783"/>
                </a:lnTo>
                <a:lnTo>
                  <a:pt x="859033" y="462040"/>
                </a:lnTo>
                <a:lnTo>
                  <a:pt x="858722" y="463579"/>
                </a:lnTo>
                <a:lnTo>
                  <a:pt x="858722" y="657515"/>
                </a:lnTo>
                <a:lnTo>
                  <a:pt x="859033" y="659055"/>
                </a:lnTo>
                <a:lnTo>
                  <a:pt x="859881" y="660312"/>
                </a:lnTo>
                <a:lnTo>
                  <a:pt x="861139" y="661159"/>
                </a:lnTo>
                <a:lnTo>
                  <a:pt x="862679" y="661470"/>
                </a:lnTo>
                <a:lnTo>
                  <a:pt x="899425" y="661470"/>
                </a:lnTo>
                <a:lnTo>
                  <a:pt x="900965" y="661159"/>
                </a:lnTo>
                <a:lnTo>
                  <a:pt x="902222" y="660312"/>
                </a:lnTo>
                <a:lnTo>
                  <a:pt x="903070" y="659055"/>
                </a:lnTo>
                <a:lnTo>
                  <a:pt x="903381" y="657515"/>
                </a:lnTo>
                <a:lnTo>
                  <a:pt x="903381" y="594189"/>
                </a:lnTo>
                <a:lnTo>
                  <a:pt x="906255" y="597182"/>
                </a:lnTo>
                <a:lnTo>
                  <a:pt x="909786" y="599955"/>
                </a:lnTo>
                <a:lnTo>
                  <a:pt x="913943" y="602452"/>
                </a:lnTo>
                <a:lnTo>
                  <a:pt x="918696" y="604619"/>
                </a:lnTo>
                <a:lnTo>
                  <a:pt x="924014" y="606401"/>
                </a:lnTo>
                <a:lnTo>
                  <a:pt x="929865" y="607741"/>
                </a:lnTo>
                <a:lnTo>
                  <a:pt x="936219" y="608586"/>
                </a:lnTo>
                <a:lnTo>
                  <a:pt x="943045" y="608880"/>
                </a:lnTo>
                <a:lnTo>
                  <a:pt x="948538" y="608684"/>
                </a:lnTo>
                <a:lnTo>
                  <a:pt x="953872" y="608101"/>
                </a:lnTo>
                <a:lnTo>
                  <a:pt x="959038" y="607143"/>
                </a:lnTo>
                <a:lnTo>
                  <a:pt x="964026" y="605821"/>
                </a:lnTo>
                <a:lnTo>
                  <a:pt x="968827" y="604145"/>
                </a:lnTo>
                <a:lnTo>
                  <a:pt x="973432" y="602128"/>
                </a:lnTo>
                <a:lnTo>
                  <a:pt x="977830" y="599778"/>
                </a:lnTo>
                <a:lnTo>
                  <a:pt x="982014" y="597108"/>
                </a:lnTo>
                <a:lnTo>
                  <a:pt x="985893" y="594189"/>
                </a:lnTo>
                <a:lnTo>
                  <a:pt x="989697" y="590851"/>
                </a:lnTo>
                <a:lnTo>
                  <a:pt x="993177" y="587285"/>
                </a:lnTo>
                <a:lnTo>
                  <a:pt x="996404" y="583443"/>
                </a:lnTo>
                <a:lnTo>
                  <a:pt x="999369" y="579334"/>
                </a:lnTo>
                <a:lnTo>
                  <a:pt x="1002062" y="574971"/>
                </a:lnTo>
                <a:lnTo>
                  <a:pt x="1004473" y="570363"/>
                </a:lnTo>
                <a:lnTo>
                  <a:pt x="1005104" y="568922"/>
                </a:lnTo>
                <a:lnTo>
                  <a:pt x="1008414" y="560460"/>
                </a:lnTo>
                <a:lnTo>
                  <a:pt x="1009924" y="555186"/>
                </a:lnTo>
                <a:lnTo>
                  <a:pt x="1011118" y="549693"/>
                </a:lnTo>
                <a:lnTo>
                  <a:pt x="1011978" y="544048"/>
                </a:lnTo>
                <a:lnTo>
                  <a:pt x="1012502" y="538206"/>
                </a:lnTo>
                <a:lnTo>
                  <a:pt x="1012679" y="532196"/>
                </a:lnTo>
                <a:lnTo>
                  <a:pt x="1012521" y="526299"/>
                </a:lnTo>
                <a:lnTo>
                  <a:pt x="1012052" y="520556"/>
                </a:lnTo>
                <a:lnTo>
                  <a:pt x="1011275" y="514979"/>
                </a:lnTo>
                <a:lnTo>
                  <a:pt x="1010197" y="509579"/>
                </a:lnTo>
                <a:lnTo>
                  <a:pt x="1008821" y="504368"/>
                </a:lnTo>
                <a:lnTo>
                  <a:pt x="1007154" y="499358"/>
                </a:lnTo>
                <a:lnTo>
                  <a:pt x="1005929" y="496350"/>
                </a:lnTo>
                <a:lnTo>
                  <a:pt x="1005199" y="494560"/>
                </a:lnTo>
                <a:lnTo>
                  <a:pt x="1002963" y="489987"/>
                </a:lnTo>
                <a:lnTo>
                  <a:pt x="1000449" y="485650"/>
                </a:lnTo>
                <a:lnTo>
                  <a:pt x="997663" y="481560"/>
                </a:lnTo>
                <a:lnTo>
                  <a:pt x="994610" y="477730"/>
                </a:lnTo>
                <a:lnTo>
                  <a:pt x="991701" y="474608"/>
                </a:lnTo>
                <a:lnTo>
                  <a:pt x="987721" y="470897"/>
                </a:lnTo>
                <a:lnTo>
                  <a:pt x="983896" y="467916"/>
                </a:lnTo>
                <a:lnTo>
                  <a:pt x="979824" y="465243"/>
                </a:lnTo>
                <a:lnTo>
                  <a:pt x="975509" y="462887"/>
                </a:lnTo>
                <a:lnTo>
                  <a:pt x="970957" y="460862"/>
                </a:lnTo>
                <a:lnTo>
                  <a:pt x="966172" y="459179"/>
                </a:lnTo>
                <a:lnTo>
                  <a:pt x="961160" y="457849"/>
                </a:lnTo>
                <a:lnTo>
                  <a:pt x="955926" y="456884"/>
                </a:lnTo>
                <a:lnTo>
                  <a:pt x="950474" y="456297"/>
                </a:lnTo>
                <a:close/>
                <a:moveTo>
                  <a:pt x="1443125" y="455218"/>
                </a:moveTo>
                <a:lnTo>
                  <a:pt x="1437582" y="455398"/>
                </a:lnTo>
                <a:lnTo>
                  <a:pt x="1432151" y="455932"/>
                </a:lnTo>
                <a:lnTo>
                  <a:pt x="1426846" y="456811"/>
                </a:lnTo>
                <a:lnTo>
                  <a:pt x="1421677" y="458026"/>
                </a:lnTo>
                <a:lnTo>
                  <a:pt x="1416659" y="459568"/>
                </a:lnTo>
                <a:lnTo>
                  <a:pt x="1411803" y="461427"/>
                </a:lnTo>
                <a:lnTo>
                  <a:pt x="1407121" y="463595"/>
                </a:lnTo>
                <a:lnTo>
                  <a:pt x="1402627" y="466062"/>
                </a:lnTo>
                <a:lnTo>
                  <a:pt x="1398332" y="468819"/>
                </a:lnTo>
                <a:lnTo>
                  <a:pt x="1394249" y="471858"/>
                </a:lnTo>
                <a:lnTo>
                  <a:pt x="1390391" y="475168"/>
                </a:lnTo>
                <a:lnTo>
                  <a:pt x="1386770" y="478741"/>
                </a:lnTo>
                <a:lnTo>
                  <a:pt x="1383399" y="482568"/>
                </a:lnTo>
                <a:lnTo>
                  <a:pt x="1380289" y="486640"/>
                </a:lnTo>
                <a:lnTo>
                  <a:pt x="1377454" y="490947"/>
                </a:lnTo>
                <a:lnTo>
                  <a:pt x="1374906" y="495480"/>
                </a:lnTo>
                <a:lnTo>
                  <a:pt x="1372657" y="500230"/>
                </a:lnTo>
                <a:lnTo>
                  <a:pt x="1370714" y="505207"/>
                </a:lnTo>
                <a:lnTo>
                  <a:pt x="1369107" y="510346"/>
                </a:lnTo>
                <a:lnTo>
                  <a:pt x="1367831" y="515694"/>
                </a:lnTo>
                <a:lnTo>
                  <a:pt x="1366904" y="521221"/>
                </a:lnTo>
                <a:lnTo>
                  <a:pt x="1366339" y="526921"/>
                </a:lnTo>
                <a:lnTo>
                  <a:pt x="1366148" y="532783"/>
                </a:lnTo>
                <a:lnTo>
                  <a:pt x="1366328" y="538368"/>
                </a:lnTo>
                <a:lnTo>
                  <a:pt x="1366861" y="543808"/>
                </a:lnTo>
                <a:lnTo>
                  <a:pt x="1367735" y="549094"/>
                </a:lnTo>
                <a:lnTo>
                  <a:pt x="1368939" y="554217"/>
                </a:lnTo>
                <a:lnTo>
                  <a:pt x="1370461" y="559170"/>
                </a:lnTo>
                <a:lnTo>
                  <a:pt x="1372290" y="563945"/>
                </a:lnTo>
                <a:lnTo>
                  <a:pt x="1374414" y="568532"/>
                </a:lnTo>
                <a:lnTo>
                  <a:pt x="1376822" y="572925"/>
                </a:lnTo>
                <a:lnTo>
                  <a:pt x="1379503" y="577115"/>
                </a:lnTo>
                <a:lnTo>
                  <a:pt x="1382444" y="581094"/>
                </a:lnTo>
                <a:lnTo>
                  <a:pt x="1385635" y="584854"/>
                </a:lnTo>
                <a:lnTo>
                  <a:pt x="1389064" y="588386"/>
                </a:lnTo>
                <a:lnTo>
                  <a:pt x="1392720" y="591682"/>
                </a:lnTo>
                <a:lnTo>
                  <a:pt x="1396590" y="594734"/>
                </a:lnTo>
                <a:lnTo>
                  <a:pt x="1400664" y="597535"/>
                </a:lnTo>
                <a:lnTo>
                  <a:pt x="1404929" y="600075"/>
                </a:lnTo>
                <a:lnTo>
                  <a:pt x="1409376" y="602347"/>
                </a:lnTo>
                <a:lnTo>
                  <a:pt x="1413992" y="604343"/>
                </a:lnTo>
                <a:lnTo>
                  <a:pt x="1418765" y="606054"/>
                </a:lnTo>
                <a:lnTo>
                  <a:pt x="1423684" y="607472"/>
                </a:lnTo>
                <a:lnTo>
                  <a:pt x="1428738" y="608589"/>
                </a:lnTo>
                <a:lnTo>
                  <a:pt x="1433915" y="609397"/>
                </a:lnTo>
                <a:lnTo>
                  <a:pt x="1439204" y="609888"/>
                </a:lnTo>
                <a:lnTo>
                  <a:pt x="1444593" y="610054"/>
                </a:lnTo>
                <a:lnTo>
                  <a:pt x="1451387" y="609792"/>
                </a:lnTo>
                <a:lnTo>
                  <a:pt x="1457861" y="609029"/>
                </a:lnTo>
                <a:lnTo>
                  <a:pt x="1464012" y="607795"/>
                </a:lnTo>
                <a:lnTo>
                  <a:pt x="1469837" y="606122"/>
                </a:lnTo>
                <a:lnTo>
                  <a:pt x="1475333" y="604040"/>
                </a:lnTo>
                <a:lnTo>
                  <a:pt x="1480496" y="601582"/>
                </a:lnTo>
                <a:lnTo>
                  <a:pt x="1485323" y="598778"/>
                </a:lnTo>
                <a:lnTo>
                  <a:pt x="1489811" y="595660"/>
                </a:lnTo>
                <a:lnTo>
                  <a:pt x="1493956" y="592258"/>
                </a:lnTo>
                <a:lnTo>
                  <a:pt x="1497754" y="588604"/>
                </a:lnTo>
                <a:lnTo>
                  <a:pt x="1501204" y="584730"/>
                </a:lnTo>
                <a:lnTo>
                  <a:pt x="1504301" y="580666"/>
                </a:lnTo>
                <a:lnTo>
                  <a:pt x="1507042" y="576444"/>
                </a:lnTo>
                <a:lnTo>
                  <a:pt x="1509424" y="572095"/>
                </a:lnTo>
                <a:lnTo>
                  <a:pt x="1510866" y="568921"/>
                </a:lnTo>
                <a:lnTo>
                  <a:pt x="1511444" y="567651"/>
                </a:lnTo>
                <a:lnTo>
                  <a:pt x="1513097" y="563141"/>
                </a:lnTo>
                <a:lnTo>
                  <a:pt x="1513281" y="561547"/>
                </a:lnTo>
                <a:lnTo>
                  <a:pt x="1512854" y="560061"/>
                </a:lnTo>
                <a:lnTo>
                  <a:pt x="1511899" y="558850"/>
                </a:lnTo>
                <a:lnTo>
                  <a:pt x="1510494" y="558082"/>
                </a:lnTo>
                <a:lnTo>
                  <a:pt x="1478437" y="548274"/>
                </a:lnTo>
                <a:lnTo>
                  <a:pt x="1476977" y="548114"/>
                </a:lnTo>
                <a:lnTo>
                  <a:pt x="1475607" y="548485"/>
                </a:lnTo>
                <a:lnTo>
                  <a:pt x="1474453" y="549319"/>
                </a:lnTo>
                <a:lnTo>
                  <a:pt x="1473641" y="550549"/>
                </a:lnTo>
                <a:lnTo>
                  <a:pt x="1471554" y="554602"/>
                </a:lnTo>
                <a:lnTo>
                  <a:pt x="1468804" y="558407"/>
                </a:lnTo>
                <a:lnTo>
                  <a:pt x="1465376" y="561827"/>
                </a:lnTo>
                <a:lnTo>
                  <a:pt x="1461256" y="564725"/>
                </a:lnTo>
                <a:lnTo>
                  <a:pt x="1456429" y="566965"/>
                </a:lnTo>
                <a:lnTo>
                  <a:pt x="1450879" y="568410"/>
                </a:lnTo>
                <a:lnTo>
                  <a:pt x="1444593" y="568921"/>
                </a:lnTo>
                <a:lnTo>
                  <a:pt x="1439628" y="568603"/>
                </a:lnTo>
                <a:lnTo>
                  <a:pt x="1434865" y="567655"/>
                </a:lnTo>
                <a:lnTo>
                  <a:pt x="1430362" y="566090"/>
                </a:lnTo>
                <a:lnTo>
                  <a:pt x="1426174" y="563921"/>
                </a:lnTo>
                <a:lnTo>
                  <a:pt x="1422361" y="561157"/>
                </a:lnTo>
                <a:lnTo>
                  <a:pt x="1418978" y="557812"/>
                </a:lnTo>
                <a:lnTo>
                  <a:pt x="1416082" y="553898"/>
                </a:lnTo>
                <a:lnTo>
                  <a:pt x="1413730" y="549426"/>
                </a:lnTo>
                <a:lnTo>
                  <a:pt x="1411980" y="544408"/>
                </a:lnTo>
                <a:lnTo>
                  <a:pt x="1410889" y="538856"/>
                </a:lnTo>
                <a:lnTo>
                  <a:pt x="1410512" y="532783"/>
                </a:lnTo>
                <a:lnTo>
                  <a:pt x="1410875" y="526636"/>
                </a:lnTo>
                <a:lnTo>
                  <a:pt x="1411929" y="521025"/>
                </a:lnTo>
                <a:lnTo>
                  <a:pt x="1413623" y="515959"/>
                </a:lnTo>
                <a:lnTo>
                  <a:pt x="1415905" y="511450"/>
                </a:lnTo>
                <a:lnTo>
                  <a:pt x="1418724" y="507507"/>
                </a:lnTo>
                <a:lnTo>
                  <a:pt x="1422027" y="504142"/>
                </a:lnTo>
                <a:lnTo>
                  <a:pt x="1425763" y="501365"/>
                </a:lnTo>
                <a:lnTo>
                  <a:pt x="1429881" y="499187"/>
                </a:lnTo>
                <a:lnTo>
                  <a:pt x="1434329" y="497618"/>
                </a:lnTo>
                <a:lnTo>
                  <a:pt x="1439055" y="496669"/>
                </a:lnTo>
                <a:lnTo>
                  <a:pt x="1444007" y="496350"/>
                </a:lnTo>
                <a:lnTo>
                  <a:pt x="1450254" y="496849"/>
                </a:lnTo>
                <a:lnTo>
                  <a:pt x="1455700" y="498264"/>
                </a:lnTo>
                <a:lnTo>
                  <a:pt x="1460381" y="500467"/>
                </a:lnTo>
                <a:lnTo>
                  <a:pt x="1464334" y="503334"/>
                </a:lnTo>
                <a:lnTo>
                  <a:pt x="1467597" y="506738"/>
                </a:lnTo>
                <a:lnTo>
                  <a:pt x="1470207" y="510553"/>
                </a:lnTo>
                <a:lnTo>
                  <a:pt x="1472200" y="514654"/>
                </a:lnTo>
                <a:lnTo>
                  <a:pt x="1473000" y="515910"/>
                </a:lnTo>
                <a:lnTo>
                  <a:pt x="1474155" y="516767"/>
                </a:lnTo>
                <a:lnTo>
                  <a:pt x="1475534" y="517153"/>
                </a:lnTo>
                <a:lnTo>
                  <a:pt x="1477009" y="517000"/>
                </a:lnTo>
                <a:lnTo>
                  <a:pt x="1509619" y="507169"/>
                </a:lnTo>
                <a:lnTo>
                  <a:pt x="1511024" y="506410"/>
                </a:lnTo>
                <a:lnTo>
                  <a:pt x="1511984" y="505207"/>
                </a:lnTo>
                <a:lnTo>
                  <a:pt x="1512419" y="503726"/>
                </a:lnTo>
                <a:lnTo>
                  <a:pt x="1512247" y="502133"/>
                </a:lnTo>
                <a:lnTo>
                  <a:pt x="1510718" y="497812"/>
                </a:lnTo>
                <a:lnTo>
                  <a:pt x="1510081" y="496350"/>
                </a:lnTo>
                <a:lnTo>
                  <a:pt x="1508870" y="493566"/>
                </a:lnTo>
                <a:lnTo>
                  <a:pt x="1506704" y="489417"/>
                </a:lnTo>
                <a:lnTo>
                  <a:pt x="1504220" y="485390"/>
                </a:lnTo>
                <a:lnTo>
                  <a:pt x="1501418" y="481510"/>
                </a:lnTo>
                <a:lnTo>
                  <a:pt x="1498299" y="477800"/>
                </a:lnTo>
                <a:lnTo>
                  <a:pt x="1494863" y="474286"/>
                </a:lnTo>
                <a:lnTo>
                  <a:pt x="1491110" y="470991"/>
                </a:lnTo>
                <a:lnTo>
                  <a:pt x="1487040" y="467940"/>
                </a:lnTo>
                <a:lnTo>
                  <a:pt x="1482654" y="465156"/>
                </a:lnTo>
                <a:lnTo>
                  <a:pt x="1477952" y="462665"/>
                </a:lnTo>
                <a:lnTo>
                  <a:pt x="1472935" y="460491"/>
                </a:lnTo>
                <a:lnTo>
                  <a:pt x="1467602" y="458657"/>
                </a:lnTo>
                <a:lnTo>
                  <a:pt x="1461955" y="457189"/>
                </a:lnTo>
                <a:lnTo>
                  <a:pt x="1455992" y="456110"/>
                </a:lnTo>
                <a:lnTo>
                  <a:pt x="1449716" y="455445"/>
                </a:lnTo>
                <a:close/>
                <a:moveTo>
                  <a:pt x="1275877" y="455218"/>
                </a:moveTo>
                <a:lnTo>
                  <a:pt x="1270260" y="455398"/>
                </a:lnTo>
                <a:lnTo>
                  <a:pt x="1264763" y="455932"/>
                </a:lnTo>
                <a:lnTo>
                  <a:pt x="1259396" y="456811"/>
                </a:lnTo>
                <a:lnTo>
                  <a:pt x="1254173" y="458025"/>
                </a:lnTo>
                <a:lnTo>
                  <a:pt x="1249104" y="459565"/>
                </a:lnTo>
                <a:lnTo>
                  <a:pt x="1244204" y="461422"/>
                </a:lnTo>
                <a:lnTo>
                  <a:pt x="1239483" y="463587"/>
                </a:lnTo>
                <a:lnTo>
                  <a:pt x="1234954" y="466050"/>
                </a:lnTo>
                <a:lnTo>
                  <a:pt x="1230628" y="468802"/>
                </a:lnTo>
                <a:lnTo>
                  <a:pt x="1226519" y="471834"/>
                </a:lnTo>
                <a:lnTo>
                  <a:pt x="1222639" y="475136"/>
                </a:lnTo>
                <a:lnTo>
                  <a:pt x="1218999" y="478700"/>
                </a:lnTo>
                <a:lnTo>
                  <a:pt x="1215611" y="482515"/>
                </a:lnTo>
                <a:lnTo>
                  <a:pt x="1212489" y="486573"/>
                </a:lnTo>
                <a:lnTo>
                  <a:pt x="1209643" y="490865"/>
                </a:lnTo>
                <a:lnTo>
                  <a:pt x="1207087" y="495381"/>
                </a:lnTo>
                <a:lnTo>
                  <a:pt x="1204832" y="500111"/>
                </a:lnTo>
                <a:lnTo>
                  <a:pt x="1202890" y="505048"/>
                </a:lnTo>
                <a:lnTo>
                  <a:pt x="1201274" y="510180"/>
                </a:lnTo>
                <a:lnTo>
                  <a:pt x="1199996" y="515500"/>
                </a:lnTo>
                <a:lnTo>
                  <a:pt x="1199069" y="520997"/>
                </a:lnTo>
                <a:lnTo>
                  <a:pt x="1198503" y="526663"/>
                </a:lnTo>
                <a:lnTo>
                  <a:pt x="1198312" y="532488"/>
                </a:lnTo>
                <a:lnTo>
                  <a:pt x="1198487" y="538075"/>
                </a:lnTo>
                <a:lnTo>
                  <a:pt x="1199007" y="543520"/>
                </a:lnTo>
                <a:lnTo>
                  <a:pt x="1199861" y="548812"/>
                </a:lnTo>
                <a:lnTo>
                  <a:pt x="1201038" y="553945"/>
                </a:lnTo>
                <a:lnTo>
                  <a:pt x="1202526" y="558909"/>
                </a:lnTo>
                <a:lnTo>
                  <a:pt x="1204316" y="563697"/>
                </a:lnTo>
                <a:lnTo>
                  <a:pt x="1206397" y="568299"/>
                </a:lnTo>
                <a:lnTo>
                  <a:pt x="1208758" y="572708"/>
                </a:lnTo>
                <a:lnTo>
                  <a:pt x="1211388" y="576915"/>
                </a:lnTo>
                <a:lnTo>
                  <a:pt x="1214277" y="580911"/>
                </a:lnTo>
                <a:lnTo>
                  <a:pt x="1217414" y="584688"/>
                </a:lnTo>
                <a:lnTo>
                  <a:pt x="1220788" y="588239"/>
                </a:lnTo>
                <a:lnTo>
                  <a:pt x="1224388" y="591553"/>
                </a:lnTo>
                <a:lnTo>
                  <a:pt x="1228204" y="594624"/>
                </a:lnTo>
                <a:lnTo>
                  <a:pt x="1232226" y="597442"/>
                </a:lnTo>
                <a:lnTo>
                  <a:pt x="1236441" y="599999"/>
                </a:lnTo>
                <a:lnTo>
                  <a:pt x="1240840" y="602287"/>
                </a:lnTo>
                <a:lnTo>
                  <a:pt x="1245412" y="604297"/>
                </a:lnTo>
                <a:lnTo>
                  <a:pt x="1250147" y="606021"/>
                </a:lnTo>
                <a:lnTo>
                  <a:pt x="1255033" y="607450"/>
                </a:lnTo>
                <a:lnTo>
                  <a:pt x="1260059" y="608576"/>
                </a:lnTo>
                <a:lnTo>
                  <a:pt x="1265216" y="609391"/>
                </a:lnTo>
                <a:lnTo>
                  <a:pt x="1270492" y="609887"/>
                </a:lnTo>
                <a:lnTo>
                  <a:pt x="1275877" y="610053"/>
                </a:lnTo>
                <a:lnTo>
                  <a:pt x="1281295" y="609887"/>
                </a:lnTo>
                <a:lnTo>
                  <a:pt x="1286599" y="609391"/>
                </a:lnTo>
                <a:lnTo>
                  <a:pt x="1291779" y="608576"/>
                </a:lnTo>
                <a:lnTo>
                  <a:pt x="1296823" y="607450"/>
                </a:lnTo>
                <a:lnTo>
                  <a:pt x="1301722" y="606021"/>
                </a:lnTo>
                <a:lnTo>
                  <a:pt x="1306466" y="604297"/>
                </a:lnTo>
                <a:lnTo>
                  <a:pt x="1311043" y="602287"/>
                </a:lnTo>
                <a:lnTo>
                  <a:pt x="1315444" y="599999"/>
                </a:lnTo>
                <a:lnTo>
                  <a:pt x="1319658" y="597442"/>
                </a:lnTo>
                <a:lnTo>
                  <a:pt x="1323675" y="594624"/>
                </a:lnTo>
                <a:lnTo>
                  <a:pt x="1327485" y="591553"/>
                </a:lnTo>
                <a:lnTo>
                  <a:pt x="1331077" y="588239"/>
                </a:lnTo>
                <a:lnTo>
                  <a:pt x="1334441" y="584688"/>
                </a:lnTo>
                <a:lnTo>
                  <a:pt x="1337567" y="580911"/>
                </a:lnTo>
                <a:lnTo>
                  <a:pt x="1340444" y="576915"/>
                </a:lnTo>
                <a:lnTo>
                  <a:pt x="1343062" y="572708"/>
                </a:lnTo>
                <a:lnTo>
                  <a:pt x="1345079" y="568921"/>
                </a:lnTo>
                <a:lnTo>
                  <a:pt x="1347480" y="563697"/>
                </a:lnTo>
                <a:lnTo>
                  <a:pt x="1349259" y="558909"/>
                </a:lnTo>
                <a:lnTo>
                  <a:pt x="1350738" y="553945"/>
                </a:lnTo>
                <a:lnTo>
                  <a:pt x="1351906" y="548812"/>
                </a:lnTo>
                <a:lnTo>
                  <a:pt x="1352753" y="543520"/>
                </a:lnTo>
                <a:lnTo>
                  <a:pt x="1353269" y="538075"/>
                </a:lnTo>
                <a:lnTo>
                  <a:pt x="1353443" y="532488"/>
                </a:lnTo>
                <a:lnTo>
                  <a:pt x="1353254" y="526663"/>
                </a:lnTo>
                <a:lnTo>
                  <a:pt x="1352692" y="520997"/>
                </a:lnTo>
                <a:lnTo>
                  <a:pt x="1351772" y="515500"/>
                </a:lnTo>
                <a:lnTo>
                  <a:pt x="1350503" y="510180"/>
                </a:lnTo>
                <a:lnTo>
                  <a:pt x="1348897" y="505048"/>
                </a:lnTo>
                <a:lnTo>
                  <a:pt x="1346968" y="500111"/>
                </a:lnTo>
                <a:lnTo>
                  <a:pt x="1345184" y="496350"/>
                </a:lnTo>
                <a:lnTo>
                  <a:pt x="1344725" y="495381"/>
                </a:lnTo>
                <a:lnTo>
                  <a:pt x="1342181" y="490865"/>
                </a:lnTo>
                <a:lnTo>
                  <a:pt x="1339348" y="486573"/>
                </a:lnTo>
                <a:lnTo>
                  <a:pt x="1336238" y="482515"/>
                </a:lnTo>
                <a:lnTo>
                  <a:pt x="1332861" y="478700"/>
                </a:lnTo>
                <a:lnTo>
                  <a:pt x="1329231" y="475136"/>
                </a:lnTo>
                <a:lnTo>
                  <a:pt x="1325357" y="471834"/>
                </a:lnTo>
                <a:lnTo>
                  <a:pt x="1321254" y="468802"/>
                </a:lnTo>
                <a:lnTo>
                  <a:pt x="1316931" y="466050"/>
                </a:lnTo>
                <a:lnTo>
                  <a:pt x="1312401" y="463587"/>
                </a:lnTo>
                <a:lnTo>
                  <a:pt x="1307676" y="461422"/>
                </a:lnTo>
                <a:lnTo>
                  <a:pt x="1302767" y="459565"/>
                </a:lnTo>
                <a:lnTo>
                  <a:pt x="1297686" y="458025"/>
                </a:lnTo>
                <a:lnTo>
                  <a:pt x="1292445" y="456811"/>
                </a:lnTo>
                <a:lnTo>
                  <a:pt x="1287055" y="455932"/>
                </a:lnTo>
                <a:lnTo>
                  <a:pt x="1281528" y="455398"/>
                </a:lnTo>
                <a:close/>
                <a:moveTo>
                  <a:pt x="711092" y="397337"/>
                </a:moveTo>
                <a:lnTo>
                  <a:pt x="709553" y="397647"/>
                </a:lnTo>
                <a:lnTo>
                  <a:pt x="708295" y="398495"/>
                </a:lnTo>
                <a:lnTo>
                  <a:pt x="707448" y="399753"/>
                </a:lnTo>
                <a:lnTo>
                  <a:pt x="707137" y="401292"/>
                </a:lnTo>
                <a:lnTo>
                  <a:pt x="707137" y="601691"/>
                </a:lnTo>
                <a:lnTo>
                  <a:pt x="707448" y="603231"/>
                </a:lnTo>
                <a:lnTo>
                  <a:pt x="708295" y="604489"/>
                </a:lnTo>
                <a:lnTo>
                  <a:pt x="709553" y="605336"/>
                </a:lnTo>
                <a:lnTo>
                  <a:pt x="711092" y="605647"/>
                </a:lnTo>
                <a:lnTo>
                  <a:pt x="835394" y="605647"/>
                </a:lnTo>
                <a:lnTo>
                  <a:pt x="836934" y="605336"/>
                </a:lnTo>
                <a:lnTo>
                  <a:pt x="838191" y="604489"/>
                </a:lnTo>
                <a:lnTo>
                  <a:pt x="839039" y="603231"/>
                </a:lnTo>
                <a:lnTo>
                  <a:pt x="839350" y="601691"/>
                </a:lnTo>
                <a:lnTo>
                  <a:pt x="839350" y="565531"/>
                </a:lnTo>
                <a:lnTo>
                  <a:pt x="836934" y="561887"/>
                </a:lnTo>
                <a:lnTo>
                  <a:pt x="757513" y="561576"/>
                </a:lnTo>
                <a:lnTo>
                  <a:pt x="755974" y="561265"/>
                </a:lnTo>
                <a:lnTo>
                  <a:pt x="754716" y="560417"/>
                </a:lnTo>
                <a:lnTo>
                  <a:pt x="753869" y="559160"/>
                </a:lnTo>
                <a:lnTo>
                  <a:pt x="753558" y="557620"/>
                </a:lnTo>
                <a:lnTo>
                  <a:pt x="753558" y="525573"/>
                </a:lnTo>
                <a:lnTo>
                  <a:pt x="753869" y="524033"/>
                </a:lnTo>
                <a:lnTo>
                  <a:pt x="754716" y="522776"/>
                </a:lnTo>
                <a:lnTo>
                  <a:pt x="755974" y="521928"/>
                </a:lnTo>
                <a:lnTo>
                  <a:pt x="757513" y="521617"/>
                </a:lnTo>
                <a:lnTo>
                  <a:pt x="827166" y="521617"/>
                </a:lnTo>
                <a:lnTo>
                  <a:pt x="828706" y="521307"/>
                </a:lnTo>
                <a:lnTo>
                  <a:pt x="829964" y="520459"/>
                </a:lnTo>
                <a:lnTo>
                  <a:pt x="830812" y="519202"/>
                </a:lnTo>
                <a:lnTo>
                  <a:pt x="831123" y="517662"/>
                </a:lnTo>
                <a:lnTo>
                  <a:pt x="831123" y="484734"/>
                </a:lnTo>
                <a:lnTo>
                  <a:pt x="830812" y="483194"/>
                </a:lnTo>
                <a:lnTo>
                  <a:pt x="829964" y="481937"/>
                </a:lnTo>
                <a:lnTo>
                  <a:pt x="828706" y="481089"/>
                </a:lnTo>
                <a:lnTo>
                  <a:pt x="827166" y="480778"/>
                </a:lnTo>
                <a:lnTo>
                  <a:pt x="757513" y="480778"/>
                </a:lnTo>
                <a:lnTo>
                  <a:pt x="755974" y="480468"/>
                </a:lnTo>
                <a:lnTo>
                  <a:pt x="754716" y="479620"/>
                </a:lnTo>
                <a:lnTo>
                  <a:pt x="753869" y="478363"/>
                </a:lnTo>
                <a:lnTo>
                  <a:pt x="753558" y="476823"/>
                </a:lnTo>
                <a:lnTo>
                  <a:pt x="753558" y="445070"/>
                </a:lnTo>
                <a:lnTo>
                  <a:pt x="753869" y="443530"/>
                </a:lnTo>
                <a:lnTo>
                  <a:pt x="754716" y="442273"/>
                </a:lnTo>
                <a:lnTo>
                  <a:pt x="755974" y="441426"/>
                </a:lnTo>
                <a:lnTo>
                  <a:pt x="757513" y="441115"/>
                </a:lnTo>
                <a:lnTo>
                  <a:pt x="835100" y="441115"/>
                </a:lnTo>
                <a:lnTo>
                  <a:pt x="836639" y="440804"/>
                </a:lnTo>
                <a:lnTo>
                  <a:pt x="837897" y="439956"/>
                </a:lnTo>
                <a:lnTo>
                  <a:pt x="838745" y="438699"/>
                </a:lnTo>
                <a:lnTo>
                  <a:pt x="839055" y="437159"/>
                </a:lnTo>
                <a:lnTo>
                  <a:pt x="839055" y="401292"/>
                </a:lnTo>
                <a:lnTo>
                  <a:pt x="838745" y="399753"/>
                </a:lnTo>
                <a:lnTo>
                  <a:pt x="837897" y="398495"/>
                </a:lnTo>
                <a:lnTo>
                  <a:pt x="836639" y="397647"/>
                </a:lnTo>
                <a:lnTo>
                  <a:pt x="835100" y="397337"/>
                </a:lnTo>
                <a:close/>
                <a:moveTo>
                  <a:pt x="1051780" y="388817"/>
                </a:moveTo>
                <a:lnTo>
                  <a:pt x="1046620" y="389350"/>
                </a:lnTo>
                <a:lnTo>
                  <a:pt x="1041790" y="390878"/>
                </a:lnTo>
                <a:lnTo>
                  <a:pt x="1037402" y="393294"/>
                </a:lnTo>
                <a:lnTo>
                  <a:pt x="1033564" y="396492"/>
                </a:lnTo>
                <a:lnTo>
                  <a:pt x="1030387" y="400365"/>
                </a:lnTo>
                <a:lnTo>
                  <a:pt x="1027982" y="404806"/>
                </a:lnTo>
                <a:lnTo>
                  <a:pt x="1026457" y="409708"/>
                </a:lnTo>
                <a:lnTo>
                  <a:pt x="1025925" y="414966"/>
                </a:lnTo>
                <a:lnTo>
                  <a:pt x="1026457" y="420223"/>
                </a:lnTo>
                <a:lnTo>
                  <a:pt x="1027982" y="425125"/>
                </a:lnTo>
                <a:lnTo>
                  <a:pt x="1030387" y="429566"/>
                </a:lnTo>
                <a:lnTo>
                  <a:pt x="1033564" y="433439"/>
                </a:lnTo>
                <a:lnTo>
                  <a:pt x="1037402" y="436637"/>
                </a:lnTo>
                <a:lnTo>
                  <a:pt x="1041790" y="439053"/>
                </a:lnTo>
                <a:lnTo>
                  <a:pt x="1046620" y="440582"/>
                </a:lnTo>
                <a:lnTo>
                  <a:pt x="1051780" y="441115"/>
                </a:lnTo>
                <a:lnTo>
                  <a:pt x="1057133" y="440582"/>
                </a:lnTo>
                <a:lnTo>
                  <a:pt x="1062109" y="439053"/>
                </a:lnTo>
                <a:lnTo>
                  <a:pt x="1066602" y="436637"/>
                </a:lnTo>
                <a:lnTo>
                  <a:pt x="1070510" y="433439"/>
                </a:lnTo>
                <a:lnTo>
                  <a:pt x="1073729" y="429566"/>
                </a:lnTo>
                <a:lnTo>
                  <a:pt x="1076157" y="425125"/>
                </a:lnTo>
                <a:lnTo>
                  <a:pt x="1077689" y="420223"/>
                </a:lnTo>
                <a:lnTo>
                  <a:pt x="1078223" y="414966"/>
                </a:lnTo>
                <a:lnTo>
                  <a:pt x="1077689" y="409708"/>
                </a:lnTo>
                <a:lnTo>
                  <a:pt x="1076157" y="404806"/>
                </a:lnTo>
                <a:lnTo>
                  <a:pt x="1073729" y="400365"/>
                </a:lnTo>
                <a:lnTo>
                  <a:pt x="1070510" y="396492"/>
                </a:lnTo>
                <a:lnTo>
                  <a:pt x="1066602" y="393294"/>
                </a:lnTo>
                <a:lnTo>
                  <a:pt x="1062109" y="390878"/>
                </a:lnTo>
                <a:lnTo>
                  <a:pt x="1057133" y="389350"/>
                </a:lnTo>
                <a:close/>
                <a:moveTo>
                  <a:pt x="504583" y="360994"/>
                </a:moveTo>
                <a:lnTo>
                  <a:pt x="498943" y="361730"/>
                </a:lnTo>
                <a:lnTo>
                  <a:pt x="493600" y="363938"/>
                </a:lnTo>
                <a:lnTo>
                  <a:pt x="387041" y="425460"/>
                </a:lnTo>
                <a:lnTo>
                  <a:pt x="382458" y="428983"/>
                </a:lnTo>
                <a:lnTo>
                  <a:pt x="379002" y="433499"/>
                </a:lnTo>
                <a:lnTo>
                  <a:pt x="376819" y="438750"/>
                </a:lnTo>
                <a:lnTo>
                  <a:pt x="376059" y="444481"/>
                </a:lnTo>
                <a:lnTo>
                  <a:pt x="376059" y="567525"/>
                </a:lnTo>
                <a:lnTo>
                  <a:pt x="376819" y="573256"/>
                </a:lnTo>
                <a:lnTo>
                  <a:pt x="379002" y="578507"/>
                </a:lnTo>
                <a:lnTo>
                  <a:pt x="382458" y="583023"/>
                </a:lnTo>
                <a:lnTo>
                  <a:pt x="387042" y="586548"/>
                </a:lnTo>
                <a:lnTo>
                  <a:pt x="493600" y="648069"/>
                </a:lnTo>
                <a:lnTo>
                  <a:pt x="498943" y="650276"/>
                </a:lnTo>
                <a:lnTo>
                  <a:pt x="504583" y="651012"/>
                </a:lnTo>
                <a:lnTo>
                  <a:pt x="510222" y="650276"/>
                </a:lnTo>
                <a:lnTo>
                  <a:pt x="515565" y="648069"/>
                </a:lnTo>
                <a:lnTo>
                  <a:pt x="615286" y="590496"/>
                </a:lnTo>
                <a:lnTo>
                  <a:pt x="622125" y="586548"/>
                </a:lnTo>
                <a:lnTo>
                  <a:pt x="626707" y="583023"/>
                </a:lnTo>
                <a:lnTo>
                  <a:pt x="630164" y="578507"/>
                </a:lnTo>
                <a:lnTo>
                  <a:pt x="632346" y="573256"/>
                </a:lnTo>
                <a:lnTo>
                  <a:pt x="633106" y="567525"/>
                </a:lnTo>
                <a:lnTo>
                  <a:pt x="633106" y="516293"/>
                </a:lnTo>
                <a:lnTo>
                  <a:pt x="504583" y="590496"/>
                </a:lnTo>
                <a:lnTo>
                  <a:pt x="433108" y="549230"/>
                </a:lnTo>
                <a:lnTo>
                  <a:pt x="433145" y="464740"/>
                </a:lnTo>
                <a:lnTo>
                  <a:pt x="499308" y="426520"/>
                </a:lnTo>
                <a:lnTo>
                  <a:pt x="501872" y="425460"/>
                </a:lnTo>
                <a:lnTo>
                  <a:pt x="504583" y="425106"/>
                </a:lnTo>
                <a:lnTo>
                  <a:pt x="507296" y="425460"/>
                </a:lnTo>
                <a:lnTo>
                  <a:pt x="509864" y="426521"/>
                </a:lnTo>
                <a:lnTo>
                  <a:pt x="576057" y="464739"/>
                </a:lnTo>
                <a:lnTo>
                  <a:pt x="513471" y="500873"/>
                </a:lnTo>
                <a:lnTo>
                  <a:pt x="509147" y="502659"/>
                </a:lnTo>
                <a:lnTo>
                  <a:pt x="504583" y="503254"/>
                </a:lnTo>
                <a:lnTo>
                  <a:pt x="500020" y="502658"/>
                </a:lnTo>
                <a:lnTo>
                  <a:pt x="495696" y="500872"/>
                </a:lnTo>
                <a:lnTo>
                  <a:pt x="450924" y="475010"/>
                </a:lnTo>
                <a:lnTo>
                  <a:pt x="450893" y="538919"/>
                </a:lnTo>
                <a:lnTo>
                  <a:pt x="504583" y="569918"/>
                </a:lnTo>
                <a:lnTo>
                  <a:pt x="620048" y="503254"/>
                </a:lnTo>
                <a:lnTo>
                  <a:pt x="633106" y="495715"/>
                </a:lnTo>
                <a:lnTo>
                  <a:pt x="633106" y="444481"/>
                </a:lnTo>
                <a:lnTo>
                  <a:pt x="632346" y="438750"/>
                </a:lnTo>
                <a:lnTo>
                  <a:pt x="630164" y="433499"/>
                </a:lnTo>
                <a:lnTo>
                  <a:pt x="626707" y="428983"/>
                </a:lnTo>
                <a:lnTo>
                  <a:pt x="622124" y="425459"/>
                </a:lnTo>
                <a:lnTo>
                  <a:pt x="621513" y="425106"/>
                </a:lnTo>
                <a:lnTo>
                  <a:pt x="515565" y="363938"/>
                </a:lnTo>
                <a:lnTo>
                  <a:pt x="510222" y="361730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6" name="Picture 5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03" y="351160"/>
            <a:ext cx="1139316" cy="31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9300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piroc_log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960" y="361084"/>
            <a:ext cx="1136926" cy="306858"/>
          </a:xfrm>
          <a:prstGeom prst="rect">
            <a:avLst/>
          </a:prstGeom>
        </p:spPr>
      </p:pic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935700" y="496350"/>
                </a:moveTo>
                <a:lnTo>
                  <a:pt x="940447" y="496642"/>
                </a:lnTo>
                <a:lnTo>
                  <a:pt x="945030" y="497521"/>
                </a:lnTo>
                <a:lnTo>
                  <a:pt x="949390" y="498991"/>
                </a:lnTo>
                <a:lnTo>
                  <a:pt x="953466" y="501055"/>
                </a:lnTo>
                <a:lnTo>
                  <a:pt x="957195" y="503718"/>
                </a:lnTo>
                <a:lnTo>
                  <a:pt x="960518" y="506984"/>
                </a:lnTo>
                <a:lnTo>
                  <a:pt x="963373" y="510856"/>
                </a:lnTo>
                <a:lnTo>
                  <a:pt x="965700" y="515338"/>
                </a:lnTo>
                <a:lnTo>
                  <a:pt x="967438" y="520435"/>
                </a:lnTo>
                <a:lnTo>
                  <a:pt x="968525" y="526151"/>
                </a:lnTo>
                <a:lnTo>
                  <a:pt x="968901" y="532489"/>
                </a:lnTo>
                <a:lnTo>
                  <a:pt x="968525" y="538834"/>
                </a:lnTo>
                <a:lnTo>
                  <a:pt x="967438" y="544568"/>
                </a:lnTo>
                <a:lnTo>
                  <a:pt x="965700" y="549693"/>
                </a:lnTo>
                <a:lnTo>
                  <a:pt x="963373" y="554211"/>
                </a:lnTo>
                <a:lnTo>
                  <a:pt x="960518" y="558121"/>
                </a:lnTo>
                <a:lnTo>
                  <a:pt x="957195" y="561427"/>
                </a:lnTo>
                <a:lnTo>
                  <a:pt x="953466" y="564129"/>
                </a:lnTo>
                <a:lnTo>
                  <a:pt x="949390" y="566228"/>
                </a:lnTo>
                <a:lnTo>
                  <a:pt x="945030" y="567725"/>
                </a:lnTo>
                <a:lnTo>
                  <a:pt x="940447" y="568623"/>
                </a:lnTo>
                <a:lnTo>
                  <a:pt x="935700" y="568922"/>
                </a:lnTo>
                <a:lnTo>
                  <a:pt x="931026" y="568617"/>
                </a:lnTo>
                <a:lnTo>
                  <a:pt x="926503" y="567702"/>
                </a:lnTo>
                <a:lnTo>
                  <a:pt x="922191" y="566180"/>
                </a:lnTo>
                <a:lnTo>
                  <a:pt x="918153" y="564055"/>
                </a:lnTo>
                <a:lnTo>
                  <a:pt x="914452" y="561328"/>
                </a:lnTo>
                <a:lnTo>
                  <a:pt x="911149" y="558003"/>
                </a:lnTo>
                <a:lnTo>
                  <a:pt x="908308" y="554081"/>
                </a:lnTo>
                <a:lnTo>
                  <a:pt x="905989" y="549566"/>
                </a:lnTo>
                <a:lnTo>
                  <a:pt x="904256" y="544461"/>
                </a:lnTo>
                <a:lnTo>
                  <a:pt x="903170" y="538768"/>
                </a:lnTo>
                <a:lnTo>
                  <a:pt x="902795" y="532489"/>
                </a:lnTo>
                <a:lnTo>
                  <a:pt x="903170" y="526151"/>
                </a:lnTo>
                <a:lnTo>
                  <a:pt x="904256" y="520435"/>
                </a:lnTo>
                <a:lnTo>
                  <a:pt x="905989" y="515338"/>
                </a:lnTo>
                <a:lnTo>
                  <a:pt x="908308" y="510856"/>
                </a:lnTo>
                <a:lnTo>
                  <a:pt x="911149" y="506984"/>
                </a:lnTo>
                <a:lnTo>
                  <a:pt x="914452" y="503718"/>
                </a:lnTo>
                <a:lnTo>
                  <a:pt x="918153" y="501055"/>
                </a:lnTo>
                <a:lnTo>
                  <a:pt x="922191" y="498991"/>
                </a:lnTo>
                <a:lnTo>
                  <a:pt x="926503" y="497521"/>
                </a:lnTo>
                <a:lnTo>
                  <a:pt x="931026" y="496642"/>
                </a:lnTo>
                <a:close/>
                <a:moveTo>
                  <a:pt x="1275877" y="496350"/>
                </a:moveTo>
                <a:lnTo>
                  <a:pt x="1280484" y="496635"/>
                </a:lnTo>
                <a:lnTo>
                  <a:pt x="1284967" y="497497"/>
                </a:lnTo>
                <a:lnTo>
                  <a:pt x="1289259" y="498942"/>
                </a:lnTo>
                <a:lnTo>
                  <a:pt x="1293295" y="500980"/>
                </a:lnTo>
                <a:lnTo>
                  <a:pt x="1297006" y="503618"/>
                </a:lnTo>
                <a:lnTo>
                  <a:pt x="1300329" y="506863"/>
                </a:lnTo>
                <a:lnTo>
                  <a:pt x="1303196" y="510725"/>
                </a:lnTo>
                <a:lnTo>
                  <a:pt x="1305541" y="515210"/>
                </a:lnTo>
                <a:lnTo>
                  <a:pt x="1307298" y="520327"/>
                </a:lnTo>
                <a:lnTo>
                  <a:pt x="1308401" y="526084"/>
                </a:lnTo>
                <a:lnTo>
                  <a:pt x="1308783" y="532488"/>
                </a:lnTo>
                <a:lnTo>
                  <a:pt x="1308401" y="538900"/>
                </a:lnTo>
                <a:lnTo>
                  <a:pt x="1307298" y="544675"/>
                </a:lnTo>
                <a:lnTo>
                  <a:pt x="1305541" y="549821"/>
                </a:lnTo>
                <a:lnTo>
                  <a:pt x="1303196" y="554341"/>
                </a:lnTo>
                <a:lnTo>
                  <a:pt x="1300329" y="558241"/>
                </a:lnTo>
                <a:lnTo>
                  <a:pt x="1297006" y="561527"/>
                </a:lnTo>
                <a:lnTo>
                  <a:pt x="1293295" y="564203"/>
                </a:lnTo>
                <a:lnTo>
                  <a:pt x="1289259" y="566275"/>
                </a:lnTo>
                <a:lnTo>
                  <a:pt x="1284967" y="567749"/>
                </a:lnTo>
                <a:lnTo>
                  <a:pt x="1280484" y="568629"/>
                </a:lnTo>
                <a:lnTo>
                  <a:pt x="1275877" y="568921"/>
                </a:lnTo>
                <a:lnTo>
                  <a:pt x="1271336" y="568623"/>
                </a:lnTo>
                <a:lnTo>
                  <a:pt x="1266894" y="567725"/>
                </a:lnTo>
                <a:lnTo>
                  <a:pt x="1262622" y="566227"/>
                </a:lnTo>
                <a:lnTo>
                  <a:pt x="1258589" y="564129"/>
                </a:lnTo>
                <a:lnTo>
                  <a:pt x="1254867" y="561427"/>
                </a:lnTo>
                <a:lnTo>
                  <a:pt x="1251524" y="558122"/>
                </a:lnTo>
                <a:lnTo>
                  <a:pt x="1248632" y="554211"/>
                </a:lnTo>
                <a:lnTo>
                  <a:pt x="1246260" y="549693"/>
                </a:lnTo>
                <a:lnTo>
                  <a:pt x="1244479" y="544568"/>
                </a:lnTo>
                <a:lnTo>
                  <a:pt x="1243359" y="538833"/>
                </a:lnTo>
                <a:lnTo>
                  <a:pt x="1242970" y="532488"/>
                </a:lnTo>
                <a:lnTo>
                  <a:pt x="1243359" y="526084"/>
                </a:lnTo>
                <a:lnTo>
                  <a:pt x="1244479" y="520327"/>
                </a:lnTo>
                <a:lnTo>
                  <a:pt x="1246260" y="515210"/>
                </a:lnTo>
                <a:lnTo>
                  <a:pt x="1248632" y="510725"/>
                </a:lnTo>
                <a:lnTo>
                  <a:pt x="1251524" y="506863"/>
                </a:lnTo>
                <a:lnTo>
                  <a:pt x="1254867" y="503618"/>
                </a:lnTo>
                <a:lnTo>
                  <a:pt x="1258589" y="500980"/>
                </a:lnTo>
                <a:lnTo>
                  <a:pt x="1262622" y="498942"/>
                </a:lnTo>
                <a:lnTo>
                  <a:pt x="1266894" y="497497"/>
                </a:lnTo>
                <a:lnTo>
                  <a:pt x="1271336" y="496635"/>
                </a:lnTo>
                <a:close/>
                <a:moveTo>
                  <a:pt x="1033700" y="459624"/>
                </a:moveTo>
                <a:lnTo>
                  <a:pt x="1032161" y="459935"/>
                </a:lnTo>
                <a:lnTo>
                  <a:pt x="1030903" y="460783"/>
                </a:lnTo>
                <a:lnTo>
                  <a:pt x="1030056" y="462040"/>
                </a:lnTo>
                <a:lnTo>
                  <a:pt x="1029745" y="463580"/>
                </a:lnTo>
                <a:lnTo>
                  <a:pt x="1029745" y="601691"/>
                </a:lnTo>
                <a:lnTo>
                  <a:pt x="1030056" y="603232"/>
                </a:lnTo>
                <a:lnTo>
                  <a:pt x="1030903" y="604489"/>
                </a:lnTo>
                <a:lnTo>
                  <a:pt x="1032161" y="605336"/>
                </a:lnTo>
                <a:lnTo>
                  <a:pt x="1033700" y="605647"/>
                </a:lnTo>
                <a:lnTo>
                  <a:pt x="1070447" y="605647"/>
                </a:lnTo>
                <a:lnTo>
                  <a:pt x="1071987" y="605336"/>
                </a:lnTo>
                <a:lnTo>
                  <a:pt x="1073245" y="604489"/>
                </a:lnTo>
                <a:lnTo>
                  <a:pt x="1074093" y="603232"/>
                </a:lnTo>
                <a:lnTo>
                  <a:pt x="1074403" y="601691"/>
                </a:lnTo>
                <a:lnTo>
                  <a:pt x="1074403" y="463580"/>
                </a:lnTo>
                <a:lnTo>
                  <a:pt x="1074093" y="462040"/>
                </a:lnTo>
                <a:lnTo>
                  <a:pt x="1073245" y="460783"/>
                </a:lnTo>
                <a:lnTo>
                  <a:pt x="1071987" y="459935"/>
                </a:lnTo>
                <a:lnTo>
                  <a:pt x="1070447" y="459624"/>
                </a:lnTo>
                <a:close/>
                <a:moveTo>
                  <a:pt x="1181190" y="458156"/>
                </a:moveTo>
                <a:lnTo>
                  <a:pt x="1176501" y="458390"/>
                </a:lnTo>
                <a:lnTo>
                  <a:pt x="1171384" y="459147"/>
                </a:lnTo>
                <a:lnTo>
                  <a:pt x="1166048" y="460511"/>
                </a:lnTo>
                <a:lnTo>
                  <a:pt x="1160698" y="462562"/>
                </a:lnTo>
                <a:lnTo>
                  <a:pt x="1155540" y="465386"/>
                </a:lnTo>
                <a:lnTo>
                  <a:pt x="1150781" y="469063"/>
                </a:lnTo>
                <a:lnTo>
                  <a:pt x="1146629" y="473677"/>
                </a:lnTo>
                <a:lnTo>
                  <a:pt x="1143289" y="479310"/>
                </a:lnTo>
                <a:lnTo>
                  <a:pt x="1143289" y="463579"/>
                </a:lnTo>
                <a:lnTo>
                  <a:pt x="1142978" y="462040"/>
                </a:lnTo>
                <a:lnTo>
                  <a:pt x="1142130" y="460783"/>
                </a:lnTo>
                <a:lnTo>
                  <a:pt x="1140873" y="459935"/>
                </a:lnTo>
                <a:lnTo>
                  <a:pt x="1139332" y="459624"/>
                </a:lnTo>
                <a:lnTo>
                  <a:pt x="1104055" y="459624"/>
                </a:lnTo>
                <a:lnTo>
                  <a:pt x="1102515" y="459935"/>
                </a:lnTo>
                <a:lnTo>
                  <a:pt x="1101258" y="460783"/>
                </a:lnTo>
                <a:lnTo>
                  <a:pt x="1100411" y="462040"/>
                </a:lnTo>
                <a:lnTo>
                  <a:pt x="1100100" y="463579"/>
                </a:lnTo>
                <a:lnTo>
                  <a:pt x="1100100" y="601691"/>
                </a:lnTo>
                <a:lnTo>
                  <a:pt x="1100411" y="603231"/>
                </a:lnTo>
                <a:lnTo>
                  <a:pt x="1101258" y="604489"/>
                </a:lnTo>
                <a:lnTo>
                  <a:pt x="1102515" y="605337"/>
                </a:lnTo>
                <a:lnTo>
                  <a:pt x="1104055" y="605648"/>
                </a:lnTo>
                <a:lnTo>
                  <a:pt x="1140802" y="605648"/>
                </a:lnTo>
                <a:lnTo>
                  <a:pt x="1142342" y="605337"/>
                </a:lnTo>
                <a:lnTo>
                  <a:pt x="1143599" y="604489"/>
                </a:lnTo>
                <a:lnTo>
                  <a:pt x="1144447" y="603231"/>
                </a:lnTo>
                <a:lnTo>
                  <a:pt x="1144757" y="601691"/>
                </a:lnTo>
                <a:lnTo>
                  <a:pt x="1144757" y="541889"/>
                </a:lnTo>
                <a:lnTo>
                  <a:pt x="1145147" y="534408"/>
                </a:lnTo>
                <a:lnTo>
                  <a:pt x="1146274" y="527806"/>
                </a:lnTo>
                <a:lnTo>
                  <a:pt x="1148071" y="522047"/>
                </a:lnTo>
                <a:lnTo>
                  <a:pt x="1150476" y="517097"/>
                </a:lnTo>
                <a:lnTo>
                  <a:pt x="1153422" y="512920"/>
                </a:lnTo>
                <a:lnTo>
                  <a:pt x="1156845" y="509483"/>
                </a:lnTo>
                <a:lnTo>
                  <a:pt x="1160680" y="506749"/>
                </a:lnTo>
                <a:lnTo>
                  <a:pt x="1164862" y="504683"/>
                </a:lnTo>
                <a:lnTo>
                  <a:pt x="1169326" y="503251"/>
                </a:lnTo>
                <a:lnTo>
                  <a:pt x="1174007" y="502418"/>
                </a:lnTo>
                <a:lnTo>
                  <a:pt x="1178840" y="502148"/>
                </a:lnTo>
                <a:lnTo>
                  <a:pt x="1181051" y="502174"/>
                </a:lnTo>
                <a:lnTo>
                  <a:pt x="1183170" y="502260"/>
                </a:lnTo>
                <a:lnTo>
                  <a:pt x="1185250" y="502418"/>
                </a:lnTo>
                <a:lnTo>
                  <a:pt x="1187311" y="502653"/>
                </a:lnTo>
                <a:lnTo>
                  <a:pt x="1188880" y="502560"/>
                </a:lnTo>
                <a:lnTo>
                  <a:pt x="1189751" y="502148"/>
                </a:lnTo>
                <a:lnTo>
                  <a:pt x="1190249" y="501912"/>
                </a:lnTo>
                <a:lnTo>
                  <a:pt x="1191272" y="500804"/>
                </a:lnTo>
                <a:lnTo>
                  <a:pt x="1191808" y="499334"/>
                </a:lnTo>
                <a:lnTo>
                  <a:pt x="1194820" y="479310"/>
                </a:lnTo>
                <a:lnTo>
                  <a:pt x="1197113" y="464060"/>
                </a:lnTo>
                <a:lnTo>
                  <a:pt x="1197051" y="462547"/>
                </a:lnTo>
                <a:lnTo>
                  <a:pt x="1190711" y="458997"/>
                </a:lnTo>
                <a:lnTo>
                  <a:pt x="1184010" y="458256"/>
                </a:lnTo>
                <a:close/>
                <a:moveTo>
                  <a:pt x="944809" y="456099"/>
                </a:moveTo>
                <a:lnTo>
                  <a:pt x="938047" y="456424"/>
                </a:lnTo>
                <a:lnTo>
                  <a:pt x="931694" y="457351"/>
                </a:lnTo>
                <a:lnTo>
                  <a:pt x="925788" y="458808"/>
                </a:lnTo>
                <a:lnTo>
                  <a:pt x="920368" y="460722"/>
                </a:lnTo>
                <a:lnTo>
                  <a:pt x="915473" y="463021"/>
                </a:lnTo>
                <a:lnTo>
                  <a:pt x="911141" y="465631"/>
                </a:lnTo>
                <a:lnTo>
                  <a:pt x="907411" y="468481"/>
                </a:lnTo>
                <a:lnTo>
                  <a:pt x="901913" y="474608"/>
                </a:lnTo>
                <a:lnTo>
                  <a:pt x="901913" y="463579"/>
                </a:lnTo>
                <a:lnTo>
                  <a:pt x="901602" y="462040"/>
                </a:lnTo>
                <a:lnTo>
                  <a:pt x="900754" y="460783"/>
                </a:lnTo>
                <a:lnTo>
                  <a:pt x="899496" y="459935"/>
                </a:lnTo>
                <a:lnTo>
                  <a:pt x="897956" y="459624"/>
                </a:lnTo>
                <a:lnTo>
                  <a:pt x="862679" y="459624"/>
                </a:lnTo>
                <a:lnTo>
                  <a:pt x="861139" y="459935"/>
                </a:lnTo>
                <a:lnTo>
                  <a:pt x="859881" y="460783"/>
                </a:lnTo>
                <a:lnTo>
                  <a:pt x="859033" y="462040"/>
                </a:lnTo>
                <a:lnTo>
                  <a:pt x="858722" y="463579"/>
                </a:lnTo>
                <a:lnTo>
                  <a:pt x="858722" y="657515"/>
                </a:lnTo>
                <a:lnTo>
                  <a:pt x="859033" y="659055"/>
                </a:lnTo>
                <a:lnTo>
                  <a:pt x="859881" y="660312"/>
                </a:lnTo>
                <a:lnTo>
                  <a:pt x="861139" y="661159"/>
                </a:lnTo>
                <a:lnTo>
                  <a:pt x="862679" y="661470"/>
                </a:lnTo>
                <a:lnTo>
                  <a:pt x="899425" y="661470"/>
                </a:lnTo>
                <a:lnTo>
                  <a:pt x="900965" y="661159"/>
                </a:lnTo>
                <a:lnTo>
                  <a:pt x="902222" y="660312"/>
                </a:lnTo>
                <a:lnTo>
                  <a:pt x="903070" y="659055"/>
                </a:lnTo>
                <a:lnTo>
                  <a:pt x="903381" y="657515"/>
                </a:lnTo>
                <a:lnTo>
                  <a:pt x="903381" y="594189"/>
                </a:lnTo>
                <a:lnTo>
                  <a:pt x="906255" y="597182"/>
                </a:lnTo>
                <a:lnTo>
                  <a:pt x="909786" y="599955"/>
                </a:lnTo>
                <a:lnTo>
                  <a:pt x="913943" y="602452"/>
                </a:lnTo>
                <a:lnTo>
                  <a:pt x="918696" y="604619"/>
                </a:lnTo>
                <a:lnTo>
                  <a:pt x="924014" y="606401"/>
                </a:lnTo>
                <a:lnTo>
                  <a:pt x="929865" y="607741"/>
                </a:lnTo>
                <a:lnTo>
                  <a:pt x="936219" y="608586"/>
                </a:lnTo>
                <a:lnTo>
                  <a:pt x="943045" y="608880"/>
                </a:lnTo>
                <a:lnTo>
                  <a:pt x="948538" y="608684"/>
                </a:lnTo>
                <a:lnTo>
                  <a:pt x="953872" y="608101"/>
                </a:lnTo>
                <a:lnTo>
                  <a:pt x="959038" y="607143"/>
                </a:lnTo>
                <a:lnTo>
                  <a:pt x="964026" y="605821"/>
                </a:lnTo>
                <a:lnTo>
                  <a:pt x="968827" y="604145"/>
                </a:lnTo>
                <a:lnTo>
                  <a:pt x="973432" y="602128"/>
                </a:lnTo>
                <a:lnTo>
                  <a:pt x="977830" y="599778"/>
                </a:lnTo>
                <a:lnTo>
                  <a:pt x="982014" y="597108"/>
                </a:lnTo>
                <a:lnTo>
                  <a:pt x="985893" y="594189"/>
                </a:lnTo>
                <a:lnTo>
                  <a:pt x="989697" y="590851"/>
                </a:lnTo>
                <a:lnTo>
                  <a:pt x="993177" y="587285"/>
                </a:lnTo>
                <a:lnTo>
                  <a:pt x="996404" y="583443"/>
                </a:lnTo>
                <a:lnTo>
                  <a:pt x="999369" y="579334"/>
                </a:lnTo>
                <a:lnTo>
                  <a:pt x="1002062" y="574971"/>
                </a:lnTo>
                <a:lnTo>
                  <a:pt x="1004473" y="570363"/>
                </a:lnTo>
                <a:lnTo>
                  <a:pt x="1005104" y="568922"/>
                </a:lnTo>
                <a:lnTo>
                  <a:pt x="1008414" y="560460"/>
                </a:lnTo>
                <a:lnTo>
                  <a:pt x="1009924" y="555186"/>
                </a:lnTo>
                <a:lnTo>
                  <a:pt x="1011118" y="549693"/>
                </a:lnTo>
                <a:lnTo>
                  <a:pt x="1011978" y="544048"/>
                </a:lnTo>
                <a:lnTo>
                  <a:pt x="1012502" y="538206"/>
                </a:lnTo>
                <a:lnTo>
                  <a:pt x="1012679" y="532196"/>
                </a:lnTo>
                <a:lnTo>
                  <a:pt x="1012521" y="526299"/>
                </a:lnTo>
                <a:lnTo>
                  <a:pt x="1012052" y="520556"/>
                </a:lnTo>
                <a:lnTo>
                  <a:pt x="1011275" y="514979"/>
                </a:lnTo>
                <a:lnTo>
                  <a:pt x="1010197" y="509579"/>
                </a:lnTo>
                <a:lnTo>
                  <a:pt x="1008821" y="504368"/>
                </a:lnTo>
                <a:lnTo>
                  <a:pt x="1007154" y="499358"/>
                </a:lnTo>
                <a:lnTo>
                  <a:pt x="1005929" y="496350"/>
                </a:lnTo>
                <a:lnTo>
                  <a:pt x="1005199" y="494560"/>
                </a:lnTo>
                <a:lnTo>
                  <a:pt x="1002963" y="489987"/>
                </a:lnTo>
                <a:lnTo>
                  <a:pt x="1000449" y="485650"/>
                </a:lnTo>
                <a:lnTo>
                  <a:pt x="997663" y="481560"/>
                </a:lnTo>
                <a:lnTo>
                  <a:pt x="994610" y="477730"/>
                </a:lnTo>
                <a:lnTo>
                  <a:pt x="991701" y="474608"/>
                </a:lnTo>
                <a:lnTo>
                  <a:pt x="987721" y="470897"/>
                </a:lnTo>
                <a:lnTo>
                  <a:pt x="983896" y="467916"/>
                </a:lnTo>
                <a:lnTo>
                  <a:pt x="979824" y="465243"/>
                </a:lnTo>
                <a:lnTo>
                  <a:pt x="975509" y="462887"/>
                </a:lnTo>
                <a:lnTo>
                  <a:pt x="970957" y="460862"/>
                </a:lnTo>
                <a:lnTo>
                  <a:pt x="966172" y="459179"/>
                </a:lnTo>
                <a:lnTo>
                  <a:pt x="961160" y="457849"/>
                </a:lnTo>
                <a:lnTo>
                  <a:pt x="955926" y="456884"/>
                </a:lnTo>
                <a:lnTo>
                  <a:pt x="950474" y="456297"/>
                </a:lnTo>
                <a:close/>
                <a:moveTo>
                  <a:pt x="1443125" y="455218"/>
                </a:moveTo>
                <a:lnTo>
                  <a:pt x="1437582" y="455398"/>
                </a:lnTo>
                <a:lnTo>
                  <a:pt x="1432151" y="455932"/>
                </a:lnTo>
                <a:lnTo>
                  <a:pt x="1426846" y="456811"/>
                </a:lnTo>
                <a:lnTo>
                  <a:pt x="1421677" y="458026"/>
                </a:lnTo>
                <a:lnTo>
                  <a:pt x="1416659" y="459568"/>
                </a:lnTo>
                <a:lnTo>
                  <a:pt x="1411803" y="461427"/>
                </a:lnTo>
                <a:lnTo>
                  <a:pt x="1407121" y="463595"/>
                </a:lnTo>
                <a:lnTo>
                  <a:pt x="1402627" y="466062"/>
                </a:lnTo>
                <a:lnTo>
                  <a:pt x="1398332" y="468819"/>
                </a:lnTo>
                <a:lnTo>
                  <a:pt x="1394249" y="471858"/>
                </a:lnTo>
                <a:lnTo>
                  <a:pt x="1390391" y="475168"/>
                </a:lnTo>
                <a:lnTo>
                  <a:pt x="1386770" y="478741"/>
                </a:lnTo>
                <a:lnTo>
                  <a:pt x="1383399" y="482568"/>
                </a:lnTo>
                <a:lnTo>
                  <a:pt x="1380289" y="486640"/>
                </a:lnTo>
                <a:lnTo>
                  <a:pt x="1377454" y="490947"/>
                </a:lnTo>
                <a:lnTo>
                  <a:pt x="1374906" y="495480"/>
                </a:lnTo>
                <a:lnTo>
                  <a:pt x="1372657" y="500230"/>
                </a:lnTo>
                <a:lnTo>
                  <a:pt x="1370714" y="505207"/>
                </a:lnTo>
                <a:lnTo>
                  <a:pt x="1369107" y="510346"/>
                </a:lnTo>
                <a:lnTo>
                  <a:pt x="1367831" y="515694"/>
                </a:lnTo>
                <a:lnTo>
                  <a:pt x="1366904" y="521221"/>
                </a:lnTo>
                <a:lnTo>
                  <a:pt x="1366339" y="526921"/>
                </a:lnTo>
                <a:lnTo>
                  <a:pt x="1366148" y="532783"/>
                </a:lnTo>
                <a:lnTo>
                  <a:pt x="1366328" y="538368"/>
                </a:lnTo>
                <a:lnTo>
                  <a:pt x="1366861" y="543808"/>
                </a:lnTo>
                <a:lnTo>
                  <a:pt x="1367735" y="549094"/>
                </a:lnTo>
                <a:lnTo>
                  <a:pt x="1368939" y="554217"/>
                </a:lnTo>
                <a:lnTo>
                  <a:pt x="1370461" y="559170"/>
                </a:lnTo>
                <a:lnTo>
                  <a:pt x="1372290" y="563945"/>
                </a:lnTo>
                <a:lnTo>
                  <a:pt x="1374414" y="568532"/>
                </a:lnTo>
                <a:lnTo>
                  <a:pt x="1376822" y="572925"/>
                </a:lnTo>
                <a:lnTo>
                  <a:pt x="1379503" y="577115"/>
                </a:lnTo>
                <a:lnTo>
                  <a:pt x="1382444" y="581094"/>
                </a:lnTo>
                <a:lnTo>
                  <a:pt x="1385635" y="584854"/>
                </a:lnTo>
                <a:lnTo>
                  <a:pt x="1389064" y="588386"/>
                </a:lnTo>
                <a:lnTo>
                  <a:pt x="1392720" y="591682"/>
                </a:lnTo>
                <a:lnTo>
                  <a:pt x="1396590" y="594734"/>
                </a:lnTo>
                <a:lnTo>
                  <a:pt x="1400664" y="597535"/>
                </a:lnTo>
                <a:lnTo>
                  <a:pt x="1404929" y="600075"/>
                </a:lnTo>
                <a:lnTo>
                  <a:pt x="1409376" y="602347"/>
                </a:lnTo>
                <a:lnTo>
                  <a:pt x="1413992" y="604343"/>
                </a:lnTo>
                <a:lnTo>
                  <a:pt x="1418765" y="606054"/>
                </a:lnTo>
                <a:lnTo>
                  <a:pt x="1423684" y="607472"/>
                </a:lnTo>
                <a:lnTo>
                  <a:pt x="1428738" y="608589"/>
                </a:lnTo>
                <a:lnTo>
                  <a:pt x="1433915" y="609397"/>
                </a:lnTo>
                <a:lnTo>
                  <a:pt x="1439204" y="609888"/>
                </a:lnTo>
                <a:lnTo>
                  <a:pt x="1444593" y="610054"/>
                </a:lnTo>
                <a:lnTo>
                  <a:pt x="1451387" y="609792"/>
                </a:lnTo>
                <a:lnTo>
                  <a:pt x="1457861" y="609029"/>
                </a:lnTo>
                <a:lnTo>
                  <a:pt x="1464012" y="607795"/>
                </a:lnTo>
                <a:lnTo>
                  <a:pt x="1469837" y="606122"/>
                </a:lnTo>
                <a:lnTo>
                  <a:pt x="1475333" y="604040"/>
                </a:lnTo>
                <a:lnTo>
                  <a:pt x="1480496" y="601582"/>
                </a:lnTo>
                <a:lnTo>
                  <a:pt x="1485323" y="598778"/>
                </a:lnTo>
                <a:lnTo>
                  <a:pt x="1489811" y="595660"/>
                </a:lnTo>
                <a:lnTo>
                  <a:pt x="1493956" y="592258"/>
                </a:lnTo>
                <a:lnTo>
                  <a:pt x="1497754" y="588604"/>
                </a:lnTo>
                <a:lnTo>
                  <a:pt x="1501204" y="584730"/>
                </a:lnTo>
                <a:lnTo>
                  <a:pt x="1504301" y="580666"/>
                </a:lnTo>
                <a:lnTo>
                  <a:pt x="1507042" y="576444"/>
                </a:lnTo>
                <a:lnTo>
                  <a:pt x="1509424" y="572095"/>
                </a:lnTo>
                <a:lnTo>
                  <a:pt x="1510866" y="568921"/>
                </a:lnTo>
                <a:lnTo>
                  <a:pt x="1511444" y="567651"/>
                </a:lnTo>
                <a:lnTo>
                  <a:pt x="1513097" y="563141"/>
                </a:lnTo>
                <a:lnTo>
                  <a:pt x="1513281" y="561547"/>
                </a:lnTo>
                <a:lnTo>
                  <a:pt x="1512854" y="560061"/>
                </a:lnTo>
                <a:lnTo>
                  <a:pt x="1511899" y="558850"/>
                </a:lnTo>
                <a:lnTo>
                  <a:pt x="1510494" y="558082"/>
                </a:lnTo>
                <a:lnTo>
                  <a:pt x="1478437" y="548274"/>
                </a:lnTo>
                <a:lnTo>
                  <a:pt x="1476977" y="548114"/>
                </a:lnTo>
                <a:lnTo>
                  <a:pt x="1475607" y="548485"/>
                </a:lnTo>
                <a:lnTo>
                  <a:pt x="1474453" y="549319"/>
                </a:lnTo>
                <a:lnTo>
                  <a:pt x="1473641" y="550549"/>
                </a:lnTo>
                <a:lnTo>
                  <a:pt x="1471554" y="554602"/>
                </a:lnTo>
                <a:lnTo>
                  <a:pt x="1468804" y="558407"/>
                </a:lnTo>
                <a:lnTo>
                  <a:pt x="1465376" y="561827"/>
                </a:lnTo>
                <a:lnTo>
                  <a:pt x="1461256" y="564725"/>
                </a:lnTo>
                <a:lnTo>
                  <a:pt x="1456429" y="566965"/>
                </a:lnTo>
                <a:lnTo>
                  <a:pt x="1450879" y="568410"/>
                </a:lnTo>
                <a:lnTo>
                  <a:pt x="1444593" y="568921"/>
                </a:lnTo>
                <a:lnTo>
                  <a:pt x="1439628" y="568603"/>
                </a:lnTo>
                <a:lnTo>
                  <a:pt x="1434865" y="567655"/>
                </a:lnTo>
                <a:lnTo>
                  <a:pt x="1430362" y="566090"/>
                </a:lnTo>
                <a:lnTo>
                  <a:pt x="1426174" y="563921"/>
                </a:lnTo>
                <a:lnTo>
                  <a:pt x="1422361" y="561157"/>
                </a:lnTo>
                <a:lnTo>
                  <a:pt x="1418978" y="557812"/>
                </a:lnTo>
                <a:lnTo>
                  <a:pt x="1416082" y="553898"/>
                </a:lnTo>
                <a:lnTo>
                  <a:pt x="1413730" y="549426"/>
                </a:lnTo>
                <a:lnTo>
                  <a:pt x="1411980" y="544408"/>
                </a:lnTo>
                <a:lnTo>
                  <a:pt x="1410889" y="538856"/>
                </a:lnTo>
                <a:lnTo>
                  <a:pt x="1410512" y="532783"/>
                </a:lnTo>
                <a:lnTo>
                  <a:pt x="1410875" y="526636"/>
                </a:lnTo>
                <a:lnTo>
                  <a:pt x="1411929" y="521025"/>
                </a:lnTo>
                <a:lnTo>
                  <a:pt x="1413623" y="515959"/>
                </a:lnTo>
                <a:lnTo>
                  <a:pt x="1415905" y="511450"/>
                </a:lnTo>
                <a:lnTo>
                  <a:pt x="1418724" y="507507"/>
                </a:lnTo>
                <a:lnTo>
                  <a:pt x="1422027" y="504142"/>
                </a:lnTo>
                <a:lnTo>
                  <a:pt x="1425763" y="501365"/>
                </a:lnTo>
                <a:lnTo>
                  <a:pt x="1429881" y="499187"/>
                </a:lnTo>
                <a:lnTo>
                  <a:pt x="1434329" y="497618"/>
                </a:lnTo>
                <a:lnTo>
                  <a:pt x="1439055" y="496669"/>
                </a:lnTo>
                <a:lnTo>
                  <a:pt x="1444007" y="496350"/>
                </a:lnTo>
                <a:lnTo>
                  <a:pt x="1450254" y="496849"/>
                </a:lnTo>
                <a:lnTo>
                  <a:pt x="1455700" y="498264"/>
                </a:lnTo>
                <a:lnTo>
                  <a:pt x="1460381" y="500467"/>
                </a:lnTo>
                <a:lnTo>
                  <a:pt x="1464334" y="503334"/>
                </a:lnTo>
                <a:lnTo>
                  <a:pt x="1467597" y="506738"/>
                </a:lnTo>
                <a:lnTo>
                  <a:pt x="1470207" y="510553"/>
                </a:lnTo>
                <a:lnTo>
                  <a:pt x="1472200" y="514654"/>
                </a:lnTo>
                <a:lnTo>
                  <a:pt x="1473000" y="515910"/>
                </a:lnTo>
                <a:lnTo>
                  <a:pt x="1474155" y="516767"/>
                </a:lnTo>
                <a:lnTo>
                  <a:pt x="1475534" y="517153"/>
                </a:lnTo>
                <a:lnTo>
                  <a:pt x="1477009" y="517000"/>
                </a:lnTo>
                <a:lnTo>
                  <a:pt x="1509619" y="507169"/>
                </a:lnTo>
                <a:lnTo>
                  <a:pt x="1511024" y="506410"/>
                </a:lnTo>
                <a:lnTo>
                  <a:pt x="1511984" y="505207"/>
                </a:lnTo>
                <a:lnTo>
                  <a:pt x="1512419" y="503726"/>
                </a:lnTo>
                <a:lnTo>
                  <a:pt x="1512247" y="502133"/>
                </a:lnTo>
                <a:lnTo>
                  <a:pt x="1510718" y="497812"/>
                </a:lnTo>
                <a:lnTo>
                  <a:pt x="1510081" y="496350"/>
                </a:lnTo>
                <a:lnTo>
                  <a:pt x="1508870" y="493566"/>
                </a:lnTo>
                <a:lnTo>
                  <a:pt x="1506704" y="489417"/>
                </a:lnTo>
                <a:lnTo>
                  <a:pt x="1504220" y="485390"/>
                </a:lnTo>
                <a:lnTo>
                  <a:pt x="1501418" y="481510"/>
                </a:lnTo>
                <a:lnTo>
                  <a:pt x="1498299" y="477800"/>
                </a:lnTo>
                <a:lnTo>
                  <a:pt x="1494863" y="474286"/>
                </a:lnTo>
                <a:lnTo>
                  <a:pt x="1491110" y="470991"/>
                </a:lnTo>
                <a:lnTo>
                  <a:pt x="1487040" y="467940"/>
                </a:lnTo>
                <a:lnTo>
                  <a:pt x="1482654" y="465156"/>
                </a:lnTo>
                <a:lnTo>
                  <a:pt x="1477952" y="462665"/>
                </a:lnTo>
                <a:lnTo>
                  <a:pt x="1472935" y="460491"/>
                </a:lnTo>
                <a:lnTo>
                  <a:pt x="1467602" y="458657"/>
                </a:lnTo>
                <a:lnTo>
                  <a:pt x="1461955" y="457189"/>
                </a:lnTo>
                <a:lnTo>
                  <a:pt x="1455992" y="456110"/>
                </a:lnTo>
                <a:lnTo>
                  <a:pt x="1449716" y="455445"/>
                </a:lnTo>
                <a:close/>
                <a:moveTo>
                  <a:pt x="1275877" y="455218"/>
                </a:moveTo>
                <a:lnTo>
                  <a:pt x="1270260" y="455398"/>
                </a:lnTo>
                <a:lnTo>
                  <a:pt x="1264763" y="455932"/>
                </a:lnTo>
                <a:lnTo>
                  <a:pt x="1259396" y="456811"/>
                </a:lnTo>
                <a:lnTo>
                  <a:pt x="1254173" y="458025"/>
                </a:lnTo>
                <a:lnTo>
                  <a:pt x="1249104" y="459565"/>
                </a:lnTo>
                <a:lnTo>
                  <a:pt x="1244204" y="461422"/>
                </a:lnTo>
                <a:lnTo>
                  <a:pt x="1239483" y="463587"/>
                </a:lnTo>
                <a:lnTo>
                  <a:pt x="1234954" y="466050"/>
                </a:lnTo>
                <a:lnTo>
                  <a:pt x="1230628" y="468802"/>
                </a:lnTo>
                <a:lnTo>
                  <a:pt x="1226519" y="471834"/>
                </a:lnTo>
                <a:lnTo>
                  <a:pt x="1222639" y="475136"/>
                </a:lnTo>
                <a:lnTo>
                  <a:pt x="1218999" y="478700"/>
                </a:lnTo>
                <a:lnTo>
                  <a:pt x="1215611" y="482515"/>
                </a:lnTo>
                <a:lnTo>
                  <a:pt x="1212489" y="486573"/>
                </a:lnTo>
                <a:lnTo>
                  <a:pt x="1209643" y="490865"/>
                </a:lnTo>
                <a:lnTo>
                  <a:pt x="1207087" y="495381"/>
                </a:lnTo>
                <a:lnTo>
                  <a:pt x="1204832" y="500111"/>
                </a:lnTo>
                <a:lnTo>
                  <a:pt x="1202890" y="505048"/>
                </a:lnTo>
                <a:lnTo>
                  <a:pt x="1201274" y="510180"/>
                </a:lnTo>
                <a:lnTo>
                  <a:pt x="1199996" y="515500"/>
                </a:lnTo>
                <a:lnTo>
                  <a:pt x="1199069" y="520997"/>
                </a:lnTo>
                <a:lnTo>
                  <a:pt x="1198503" y="526663"/>
                </a:lnTo>
                <a:lnTo>
                  <a:pt x="1198312" y="532488"/>
                </a:lnTo>
                <a:lnTo>
                  <a:pt x="1198487" y="538075"/>
                </a:lnTo>
                <a:lnTo>
                  <a:pt x="1199007" y="543520"/>
                </a:lnTo>
                <a:lnTo>
                  <a:pt x="1199861" y="548812"/>
                </a:lnTo>
                <a:lnTo>
                  <a:pt x="1201038" y="553945"/>
                </a:lnTo>
                <a:lnTo>
                  <a:pt x="1202526" y="558909"/>
                </a:lnTo>
                <a:lnTo>
                  <a:pt x="1204316" y="563697"/>
                </a:lnTo>
                <a:lnTo>
                  <a:pt x="1206397" y="568299"/>
                </a:lnTo>
                <a:lnTo>
                  <a:pt x="1208758" y="572708"/>
                </a:lnTo>
                <a:lnTo>
                  <a:pt x="1211388" y="576915"/>
                </a:lnTo>
                <a:lnTo>
                  <a:pt x="1214277" y="580911"/>
                </a:lnTo>
                <a:lnTo>
                  <a:pt x="1217414" y="584688"/>
                </a:lnTo>
                <a:lnTo>
                  <a:pt x="1220788" y="588239"/>
                </a:lnTo>
                <a:lnTo>
                  <a:pt x="1224388" y="591553"/>
                </a:lnTo>
                <a:lnTo>
                  <a:pt x="1228204" y="594624"/>
                </a:lnTo>
                <a:lnTo>
                  <a:pt x="1232226" y="597442"/>
                </a:lnTo>
                <a:lnTo>
                  <a:pt x="1236441" y="599999"/>
                </a:lnTo>
                <a:lnTo>
                  <a:pt x="1240840" y="602287"/>
                </a:lnTo>
                <a:lnTo>
                  <a:pt x="1245412" y="604297"/>
                </a:lnTo>
                <a:lnTo>
                  <a:pt x="1250147" y="606021"/>
                </a:lnTo>
                <a:lnTo>
                  <a:pt x="1255033" y="607450"/>
                </a:lnTo>
                <a:lnTo>
                  <a:pt x="1260059" y="608576"/>
                </a:lnTo>
                <a:lnTo>
                  <a:pt x="1265216" y="609391"/>
                </a:lnTo>
                <a:lnTo>
                  <a:pt x="1270492" y="609887"/>
                </a:lnTo>
                <a:lnTo>
                  <a:pt x="1275877" y="610053"/>
                </a:lnTo>
                <a:lnTo>
                  <a:pt x="1281295" y="609887"/>
                </a:lnTo>
                <a:lnTo>
                  <a:pt x="1286599" y="609391"/>
                </a:lnTo>
                <a:lnTo>
                  <a:pt x="1291779" y="608576"/>
                </a:lnTo>
                <a:lnTo>
                  <a:pt x="1296823" y="607450"/>
                </a:lnTo>
                <a:lnTo>
                  <a:pt x="1301722" y="606021"/>
                </a:lnTo>
                <a:lnTo>
                  <a:pt x="1306466" y="604297"/>
                </a:lnTo>
                <a:lnTo>
                  <a:pt x="1311043" y="602287"/>
                </a:lnTo>
                <a:lnTo>
                  <a:pt x="1315444" y="599999"/>
                </a:lnTo>
                <a:lnTo>
                  <a:pt x="1319658" y="597442"/>
                </a:lnTo>
                <a:lnTo>
                  <a:pt x="1323675" y="594624"/>
                </a:lnTo>
                <a:lnTo>
                  <a:pt x="1327485" y="591553"/>
                </a:lnTo>
                <a:lnTo>
                  <a:pt x="1331077" y="588239"/>
                </a:lnTo>
                <a:lnTo>
                  <a:pt x="1334441" y="584688"/>
                </a:lnTo>
                <a:lnTo>
                  <a:pt x="1337567" y="580911"/>
                </a:lnTo>
                <a:lnTo>
                  <a:pt x="1340444" y="576915"/>
                </a:lnTo>
                <a:lnTo>
                  <a:pt x="1343062" y="572708"/>
                </a:lnTo>
                <a:lnTo>
                  <a:pt x="1345079" y="568921"/>
                </a:lnTo>
                <a:lnTo>
                  <a:pt x="1347480" y="563697"/>
                </a:lnTo>
                <a:lnTo>
                  <a:pt x="1349259" y="558909"/>
                </a:lnTo>
                <a:lnTo>
                  <a:pt x="1350738" y="553945"/>
                </a:lnTo>
                <a:lnTo>
                  <a:pt x="1351906" y="548812"/>
                </a:lnTo>
                <a:lnTo>
                  <a:pt x="1352753" y="543520"/>
                </a:lnTo>
                <a:lnTo>
                  <a:pt x="1353269" y="538075"/>
                </a:lnTo>
                <a:lnTo>
                  <a:pt x="1353443" y="532488"/>
                </a:lnTo>
                <a:lnTo>
                  <a:pt x="1353254" y="526663"/>
                </a:lnTo>
                <a:lnTo>
                  <a:pt x="1352692" y="520997"/>
                </a:lnTo>
                <a:lnTo>
                  <a:pt x="1351772" y="515500"/>
                </a:lnTo>
                <a:lnTo>
                  <a:pt x="1350503" y="510180"/>
                </a:lnTo>
                <a:lnTo>
                  <a:pt x="1348897" y="505048"/>
                </a:lnTo>
                <a:lnTo>
                  <a:pt x="1346968" y="500111"/>
                </a:lnTo>
                <a:lnTo>
                  <a:pt x="1345184" y="496350"/>
                </a:lnTo>
                <a:lnTo>
                  <a:pt x="1344725" y="495381"/>
                </a:lnTo>
                <a:lnTo>
                  <a:pt x="1342181" y="490865"/>
                </a:lnTo>
                <a:lnTo>
                  <a:pt x="1339348" y="486573"/>
                </a:lnTo>
                <a:lnTo>
                  <a:pt x="1336238" y="482515"/>
                </a:lnTo>
                <a:lnTo>
                  <a:pt x="1332861" y="478700"/>
                </a:lnTo>
                <a:lnTo>
                  <a:pt x="1329231" y="475136"/>
                </a:lnTo>
                <a:lnTo>
                  <a:pt x="1325357" y="471834"/>
                </a:lnTo>
                <a:lnTo>
                  <a:pt x="1321254" y="468802"/>
                </a:lnTo>
                <a:lnTo>
                  <a:pt x="1316931" y="466050"/>
                </a:lnTo>
                <a:lnTo>
                  <a:pt x="1312401" y="463587"/>
                </a:lnTo>
                <a:lnTo>
                  <a:pt x="1307676" y="461422"/>
                </a:lnTo>
                <a:lnTo>
                  <a:pt x="1302767" y="459565"/>
                </a:lnTo>
                <a:lnTo>
                  <a:pt x="1297686" y="458025"/>
                </a:lnTo>
                <a:lnTo>
                  <a:pt x="1292445" y="456811"/>
                </a:lnTo>
                <a:lnTo>
                  <a:pt x="1287055" y="455932"/>
                </a:lnTo>
                <a:lnTo>
                  <a:pt x="1281528" y="455398"/>
                </a:lnTo>
                <a:close/>
                <a:moveTo>
                  <a:pt x="711092" y="397337"/>
                </a:moveTo>
                <a:lnTo>
                  <a:pt x="709553" y="397647"/>
                </a:lnTo>
                <a:lnTo>
                  <a:pt x="708295" y="398495"/>
                </a:lnTo>
                <a:lnTo>
                  <a:pt x="707448" y="399753"/>
                </a:lnTo>
                <a:lnTo>
                  <a:pt x="707137" y="401292"/>
                </a:lnTo>
                <a:lnTo>
                  <a:pt x="707137" y="601691"/>
                </a:lnTo>
                <a:lnTo>
                  <a:pt x="707448" y="603231"/>
                </a:lnTo>
                <a:lnTo>
                  <a:pt x="708295" y="604489"/>
                </a:lnTo>
                <a:lnTo>
                  <a:pt x="709553" y="605336"/>
                </a:lnTo>
                <a:lnTo>
                  <a:pt x="711092" y="605647"/>
                </a:lnTo>
                <a:lnTo>
                  <a:pt x="835394" y="605647"/>
                </a:lnTo>
                <a:lnTo>
                  <a:pt x="836934" y="605336"/>
                </a:lnTo>
                <a:lnTo>
                  <a:pt x="838191" y="604489"/>
                </a:lnTo>
                <a:lnTo>
                  <a:pt x="839039" y="603231"/>
                </a:lnTo>
                <a:lnTo>
                  <a:pt x="839350" y="601691"/>
                </a:lnTo>
                <a:lnTo>
                  <a:pt x="839350" y="565531"/>
                </a:lnTo>
                <a:lnTo>
                  <a:pt x="836934" y="561887"/>
                </a:lnTo>
                <a:lnTo>
                  <a:pt x="757513" y="561576"/>
                </a:lnTo>
                <a:lnTo>
                  <a:pt x="755974" y="561265"/>
                </a:lnTo>
                <a:lnTo>
                  <a:pt x="754716" y="560417"/>
                </a:lnTo>
                <a:lnTo>
                  <a:pt x="753869" y="559160"/>
                </a:lnTo>
                <a:lnTo>
                  <a:pt x="753558" y="557620"/>
                </a:lnTo>
                <a:lnTo>
                  <a:pt x="753558" y="525573"/>
                </a:lnTo>
                <a:lnTo>
                  <a:pt x="753869" y="524033"/>
                </a:lnTo>
                <a:lnTo>
                  <a:pt x="754716" y="522776"/>
                </a:lnTo>
                <a:lnTo>
                  <a:pt x="755974" y="521928"/>
                </a:lnTo>
                <a:lnTo>
                  <a:pt x="757513" y="521617"/>
                </a:lnTo>
                <a:lnTo>
                  <a:pt x="827166" y="521617"/>
                </a:lnTo>
                <a:lnTo>
                  <a:pt x="828706" y="521307"/>
                </a:lnTo>
                <a:lnTo>
                  <a:pt x="829964" y="520459"/>
                </a:lnTo>
                <a:lnTo>
                  <a:pt x="830812" y="519202"/>
                </a:lnTo>
                <a:lnTo>
                  <a:pt x="831123" y="517662"/>
                </a:lnTo>
                <a:lnTo>
                  <a:pt x="831123" y="484734"/>
                </a:lnTo>
                <a:lnTo>
                  <a:pt x="830812" y="483194"/>
                </a:lnTo>
                <a:lnTo>
                  <a:pt x="829964" y="481937"/>
                </a:lnTo>
                <a:lnTo>
                  <a:pt x="828706" y="481089"/>
                </a:lnTo>
                <a:lnTo>
                  <a:pt x="827166" y="480778"/>
                </a:lnTo>
                <a:lnTo>
                  <a:pt x="757513" y="480778"/>
                </a:lnTo>
                <a:lnTo>
                  <a:pt x="755974" y="480468"/>
                </a:lnTo>
                <a:lnTo>
                  <a:pt x="754716" y="479620"/>
                </a:lnTo>
                <a:lnTo>
                  <a:pt x="753869" y="478363"/>
                </a:lnTo>
                <a:lnTo>
                  <a:pt x="753558" y="476823"/>
                </a:lnTo>
                <a:lnTo>
                  <a:pt x="753558" y="445070"/>
                </a:lnTo>
                <a:lnTo>
                  <a:pt x="753869" y="443530"/>
                </a:lnTo>
                <a:lnTo>
                  <a:pt x="754716" y="442273"/>
                </a:lnTo>
                <a:lnTo>
                  <a:pt x="755974" y="441426"/>
                </a:lnTo>
                <a:lnTo>
                  <a:pt x="757513" y="441115"/>
                </a:lnTo>
                <a:lnTo>
                  <a:pt x="835100" y="441115"/>
                </a:lnTo>
                <a:lnTo>
                  <a:pt x="836639" y="440804"/>
                </a:lnTo>
                <a:lnTo>
                  <a:pt x="837897" y="439956"/>
                </a:lnTo>
                <a:lnTo>
                  <a:pt x="838745" y="438699"/>
                </a:lnTo>
                <a:lnTo>
                  <a:pt x="839055" y="437159"/>
                </a:lnTo>
                <a:lnTo>
                  <a:pt x="839055" y="401292"/>
                </a:lnTo>
                <a:lnTo>
                  <a:pt x="838745" y="399753"/>
                </a:lnTo>
                <a:lnTo>
                  <a:pt x="837897" y="398495"/>
                </a:lnTo>
                <a:lnTo>
                  <a:pt x="836639" y="397647"/>
                </a:lnTo>
                <a:lnTo>
                  <a:pt x="835100" y="397337"/>
                </a:lnTo>
                <a:close/>
                <a:moveTo>
                  <a:pt x="1051780" y="388817"/>
                </a:moveTo>
                <a:lnTo>
                  <a:pt x="1046620" y="389350"/>
                </a:lnTo>
                <a:lnTo>
                  <a:pt x="1041790" y="390878"/>
                </a:lnTo>
                <a:lnTo>
                  <a:pt x="1037402" y="393294"/>
                </a:lnTo>
                <a:lnTo>
                  <a:pt x="1033564" y="396492"/>
                </a:lnTo>
                <a:lnTo>
                  <a:pt x="1030387" y="400365"/>
                </a:lnTo>
                <a:lnTo>
                  <a:pt x="1027982" y="404806"/>
                </a:lnTo>
                <a:lnTo>
                  <a:pt x="1026457" y="409708"/>
                </a:lnTo>
                <a:lnTo>
                  <a:pt x="1025925" y="414966"/>
                </a:lnTo>
                <a:lnTo>
                  <a:pt x="1026457" y="420223"/>
                </a:lnTo>
                <a:lnTo>
                  <a:pt x="1027982" y="425125"/>
                </a:lnTo>
                <a:lnTo>
                  <a:pt x="1030387" y="429566"/>
                </a:lnTo>
                <a:lnTo>
                  <a:pt x="1033564" y="433439"/>
                </a:lnTo>
                <a:lnTo>
                  <a:pt x="1037402" y="436637"/>
                </a:lnTo>
                <a:lnTo>
                  <a:pt x="1041790" y="439053"/>
                </a:lnTo>
                <a:lnTo>
                  <a:pt x="1046620" y="440582"/>
                </a:lnTo>
                <a:lnTo>
                  <a:pt x="1051780" y="441115"/>
                </a:lnTo>
                <a:lnTo>
                  <a:pt x="1057133" y="440582"/>
                </a:lnTo>
                <a:lnTo>
                  <a:pt x="1062109" y="439053"/>
                </a:lnTo>
                <a:lnTo>
                  <a:pt x="1066602" y="436637"/>
                </a:lnTo>
                <a:lnTo>
                  <a:pt x="1070510" y="433439"/>
                </a:lnTo>
                <a:lnTo>
                  <a:pt x="1073729" y="429566"/>
                </a:lnTo>
                <a:lnTo>
                  <a:pt x="1076157" y="425125"/>
                </a:lnTo>
                <a:lnTo>
                  <a:pt x="1077689" y="420223"/>
                </a:lnTo>
                <a:lnTo>
                  <a:pt x="1078223" y="414966"/>
                </a:lnTo>
                <a:lnTo>
                  <a:pt x="1077689" y="409708"/>
                </a:lnTo>
                <a:lnTo>
                  <a:pt x="1076157" y="404806"/>
                </a:lnTo>
                <a:lnTo>
                  <a:pt x="1073729" y="400365"/>
                </a:lnTo>
                <a:lnTo>
                  <a:pt x="1070510" y="396492"/>
                </a:lnTo>
                <a:lnTo>
                  <a:pt x="1066602" y="393294"/>
                </a:lnTo>
                <a:lnTo>
                  <a:pt x="1062109" y="390878"/>
                </a:lnTo>
                <a:lnTo>
                  <a:pt x="1057133" y="389350"/>
                </a:lnTo>
                <a:close/>
                <a:moveTo>
                  <a:pt x="504583" y="360994"/>
                </a:moveTo>
                <a:lnTo>
                  <a:pt x="498943" y="361730"/>
                </a:lnTo>
                <a:lnTo>
                  <a:pt x="493600" y="363938"/>
                </a:lnTo>
                <a:lnTo>
                  <a:pt x="387041" y="425460"/>
                </a:lnTo>
                <a:lnTo>
                  <a:pt x="382458" y="428983"/>
                </a:lnTo>
                <a:lnTo>
                  <a:pt x="379002" y="433499"/>
                </a:lnTo>
                <a:lnTo>
                  <a:pt x="376819" y="438750"/>
                </a:lnTo>
                <a:lnTo>
                  <a:pt x="376059" y="444481"/>
                </a:lnTo>
                <a:lnTo>
                  <a:pt x="376059" y="567525"/>
                </a:lnTo>
                <a:lnTo>
                  <a:pt x="376819" y="573256"/>
                </a:lnTo>
                <a:lnTo>
                  <a:pt x="379002" y="578507"/>
                </a:lnTo>
                <a:lnTo>
                  <a:pt x="382458" y="583023"/>
                </a:lnTo>
                <a:lnTo>
                  <a:pt x="387042" y="586548"/>
                </a:lnTo>
                <a:lnTo>
                  <a:pt x="493600" y="648069"/>
                </a:lnTo>
                <a:lnTo>
                  <a:pt x="498943" y="650276"/>
                </a:lnTo>
                <a:lnTo>
                  <a:pt x="504583" y="651012"/>
                </a:lnTo>
                <a:lnTo>
                  <a:pt x="510222" y="650276"/>
                </a:lnTo>
                <a:lnTo>
                  <a:pt x="515565" y="648069"/>
                </a:lnTo>
                <a:lnTo>
                  <a:pt x="615286" y="590496"/>
                </a:lnTo>
                <a:lnTo>
                  <a:pt x="622125" y="586548"/>
                </a:lnTo>
                <a:lnTo>
                  <a:pt x="626707" y="583023"/>
                </a:lnTo>
                <a:lnTo>
                  <a:pt x="630164" y="578507"/>
                </a:lnTo>
                <a:lnTo>
                  <a:pt x="632346" y="573256"/>
                </a:lnTo>
                <a:lnTo>
                  <a:pt x="633106" y="567525"/>
                </a:lnTo>
                <a:lnTo>
                  <a:pt x="633106" y="516293"/>
                </a:lnTo>
                <a:lnTo>
                  <a:pt x="504583" y="590496"/>
                </a:lnTo>
                <a:lnTo>
                  <a:pt x="433108" y="549230"/>
                </a:lnTo>
                <a:lnTo>
                  <a:pt x="433145" y="464740"/>
                </a:lnTo>
                <a:lnTo>
                  <a:pt x="499308" y="426520"/>
                </a:lnTo>
                <a:lnTo>
                  <a:pt x="501872" y="425460"/>
                </a:lnTo>
                <a:lnTo>
                  <a:pt x="504583" y="425106"/>
                </a:lnTo>
                <a:lnTo>
                  <a:pt x="507296" y="425460"/>
                </a:lnTo>
                <a:lnTo>
                  <a:pt x="509864" y="426521"/>
                </a:lnTo>
                <a:lnTo>
                  <a:pt x="576057" y="464739"/>
                </a:lnTo>
                <a:lnTo>
                  <a:pt x="513471" y="500873"/>
                </a:lnTo>
                <a:lnTo>
                  <a:pt x="509147" y="502659"/>
                </a:lnTo>
                <a:lnTo>
                  <a:pt x="504583" y="503254"/>
                </a:lnTo>
                <a:lnTo>
                  <a:pt x="500020" y="502658"/>
                </a:lnTo>
                <a:lnTo>
                  <a:pt x="495696" y="500872"/>
                </a:lnTo>
                <a:lnTo>
                  <a:pt x="450924" y="475010"/>
                </a:lnTo>
                <a:lnTo>
                  <a:pt x="450893" y="538919"/>
                </a:lnTo>
                <a:lnTo>
                  <a:pt x="504583" y="569918"/>
                </a:lnTo>
                <a:lnTo>
                  <a:pt x="620048" y="503254"/>
                </a:lnTo>
                <a:lnTo>
                  <a:pt x="633106" y="495715"/>
                </a:lnTo>
                <a:lnTo>
                  <a:pt x="633106" y="444481"/>
                </a:lnTo>
                <a:lnTo>
                  <a:pt x="632346" y="438750"/>
                </a:lnTo>
                <a:lnTo>
                  <a:pt x="630164" y="433499"/>
                </a:lnTo>
                <a:lnTo>
                  <a:pt x="626707" y="428983"/>
                </a:lnTo>
                <a:lnTo>
                  <a:pt x="622124" y="425459"/>
                </a:lnTo>
                <a:lnTo>
                  <a:pt x="621513" y="425106"/>
                </a:lnTo>
                <a:lnTo>
                  <a:pt x="515565" y="363938"/>
                </a:lnTo>
                <a:lnTo>
                  <a:pt x="510222" y="361730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2409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Epiroc Logo - 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960" y="350834"/>
            <a:ext cx="1147565" cy="31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935700" y="496350"/>
                </a:moveTo>
                <a:lnTo>
                  <a:pt x="940447" y="496642"/>
                </a:lnTo>
                <a:lnTo>
                  <a:pt x="945030" y="497521"/>
                </a:lnTo>
                <a:lnTo>
                  <a:pt x="949390" y="498991"/>
                </a:lnTo>
                <a:lnTo>
                  <a:pt x="953466" y="501055"/>
                </a:lnTo>
                <a:lnTo>
                  <a:pt x="957195" y="503718"/>
                </a:lnTo>
                <a:lnTo>
                  <a:pt x="960518" y="506984"/>
                </a:lnTo>
                <a:lnTo>
                  <a:pt x="963373" y="510856"/>
                </a:lnTo>
                <a:lnTo>
                  <a:pt x="965700" y="515338"/>
                </a:lnTo>
                <a:lnTo>
                  <a:pt x="967438" y="520435"/>
                </a:lnTo>
                <a:lnTo>
                  <a:pt x="968525" y="526151"/>
                </a:lnTo>
                <a:lnTo>
                  <a:pt x="968901" y="532489"/>
                </a:lnTo>
                <a:lnTo>
                  <a:pt x="968525" y="538834"/>
                </a:lnTo>
                <a:lnTo>
                  <a:pt x="967438" y="544568"/>
                </a:lnTo>
                <a:lnTo>
                  <a:pt x="965700" y="549693"/>
                </a:lnTo>
                <a:lnTo>
                  <a:pt x="963373" y="554211"/>
                </a:lnTo>
                <a:lnTo>
                  <a:pt x="960518" y="558121"/>
                </a:lnTo>
                <a:lnTo>
                  <a:pt x="957195" y="561427"/>
                </a:lnTo>
                <a:lnTo>
                  <a:pt x="953466" y="564129"/>
                </a:lnTo>
                <a:lnTo>
                  <a:pt x="949390" y="566228"/>
                </a:lnTo>
                <a:lnTo>
                  <a:pt x="945030" y="567725"/>
                </a:lnTo>
                <a:lnTo>
                  <a:pt x="940447" y="568623"/>
                </a:lnTo>
                <a:lnTo>
                  <a:pt x="935700" y="568922"/>
                </a:lnTo>
                <a:lnTo>
                  <a:pt x="931026" y="568617"/>
                </a:lnTo>
                <a:lnTo>
                  <a:pt x="926503" y="567702"/>
                </a:lnTo>
                <a:lnTo>
                  <a:pt x="922191" y="566180"/>
                </a:lnTo>
                <a:lnTo>
                  <a:pt x="918153" y="564055"/>
                </a:lnTo>
                <a:lnTo>
                  <a:pt x="914452" y="561328"/>
                </a:lnTo>
                <a:lnTo>
                  <a:pt x="911149" y="558003"/>
                </a:lnTo>
                <a:lnTo>
                  <a:pt x="908308" y="554081"/>
                </a:lnTo>
                <a:lnTo>
                  <a:pt x="905989" y="549566"/>
                </a:lnTo>
                <a:lnTo>
                  <a:pt x="904256" y="544461"/>
                </a:lnTo>
                <a:lnTo>
                  <a:pt x="903170" y="538768"/>
                </a:lnTo>
                <a:lnTo>
                  <a:pt x="902795" y="532489"/>
                </a:lnTo>
                <a:lnTo>
                  <a:pt x="903170" y="526151"/>
                </a:lnTo>
                <a:lnTo>
                  <a:pt x="904256" y="520435"/>
                </a:lnTo>
                <a:lnTo>
                  <a:pt x="905989" y="515338"/>
                </a:lnTo>
                <a:lnTo>
                  <a:pt x="908308" y="510856"/>
                </a:lnTo>
                <a:lnTo>
                  <a:pt x="911149" y="506984"/>
                </a:lnTo>
                <a:lnTo>
                  <a:pt x="914452" y="503718"/>
                </a:lnTo>
                <a:lnTo>
                  <a:pt x="918153" y="501055"/>
                </a:lnTo>
                <a:lnTo>
                  <a:pt x="922191" y="498991"/>
                </a:lnTo>
                <a:lnTo>
                  <a:pt x="926503" y="497521"/>
                </a:lnTo>
                <a:lnTo>
                  <a:pt x="931026" y="496642"/>
                </a:lnTo>
                <a:close/>
                <a:moveTo>
                  <a:pt x="1275877" y="496350"/>
                </a:moveTo>
                <a:lnTo>
                  <a:pt x="1280484" y="496635"/>
                </a:lnTo>
                <a:lnTo>
                  <a:pt x="1284967" y="497497"/>
                </a:lnTo>
                <a:lnTo>
                  <a:pt x="1289259" y="498942"/>
                </a:lnTo>
                <a:lnTo>
                  <a:pt x="1293295" y="500980"/>
                </a:lnTo>
                <a:lnTo>
                  <a:pt x="1297006" y="503618"/>
                </a:lnTo>
                <a:lnTo>
                  <a:pt x="1300329" y="506863"/>
                </a:lnTo>
                <a:lnTo>
                  <a:pt x="1303196" y="510725"/>
                </a:lnTo>
                <a:lnTo>
                  <a:pt x="1305541" y="515210"/>
                </a:lnTo>
                <a:lnTo>
                  <a:pt x="1307298" y="520327"/>
                </a:lnTo>
                <a:lnTo>
                  <a:pt x="1308401" y="526084"/>
                </a:lnTo>
                <a:lnTo>
                  <a:pt x="1308783" y="532488"/>
                </a:lnTo>
                <a:lnTo>
                  <a:pt x="1308401" y="538900"/>
                </a:lnTo>
                <a:lnTo>
                  <a:pt x="1307298" y="544675"/>
                </a:lnTo>
                <a:lnTo>
                  <a:pt x="1305541" y="549821"/>
                </a:lnTo>
                <a:lnTo>
                  <a:pt x="1303196" y="554341"/>
                </a:lnTo>
                <a:lnTo>
                  <a:pt x="1300329" y="558241"/>
                </a:lnTo>
                <a:lnTo>
                  <a:pt x="1297006" y="561527"/>
                </a:lnTo>
                <a:lnTo>
                  <a:pt x="1293295" y="564203"/>
                </a:lnTo>
                <a:lnTo>
                  <a:pt x="1289259" y="566275"/>
                </a:lnTo>
                <a:lnTo>
                  <a:pt x="1284967" y="567749"/>
                </a:lnTo>
                <a:lnTo>
                  <a:pt x="1280484" y="568629"/>
                </a:lnTo>
                <a:lnTo>
                  <a:pt x="1275877" y="568921"/>
                </a:lnTo>
                <a:lnTo>
                  <a:pt x="1271336" y="568623"/>
                </a:lnTo>
                <a:lnTo>
                  <a:pt x="1266894" y="567725"/>
                </a:lnTo>
                <a:lnTo>
                  <a:pt x="1262622" y="566227"/>
                </a:lnTo>
                <a:lnTo>
                  <a:pt x="1258589" y="564129"/>
                </a:lnTo>
                <a:lnTo>
                  <a:pt x="1254867" y="561427"/>
                </a:lnTo>
                <a:lnTo>
                  <a:pt x="1251524" y="558122"/>
                </a:lnTo>
                <a:lnTo>
                  <a:pt x="1248632" y="554211"/>
                </a:lnTo>
                <a:lnTo>
                  <a:pt x="1246260" y="549693"/>
                </a:lnTo>
                <a:lnTo>
                  <a:pt x="1244479" y="544568"/>
                </a:lnTo>
                <a:lnTo>
                  <a:pt x="1243359" y="538833"/>
                </a:lnTo>
                <a:lnTo>
                  <a:pt x="1242970" y="532488"/>
                </a:lnTo>
                <a:lnTo>
                  <a:pt x="1243359" y="526084"/>
                </a:lnTo>
                <a:lnTo>
                  <a:pt x="1244479" y="520327"/>
                </a:lnTo>
                <a:lnTo>
                  <a:pt x="1246260" y="515210"/>
                </a:lnTo>
                <a:lnTo>
                  <a:pt x="1248632" y="510725"/>
                </a:lnTo>
                <a:lnTo>
                  <a:pt x="1251524" y="506863"/>
                </a:lnTo>
                <a:lnTo>
                  <a:pt x="1254867" y="503618"/>
                </a:lnTo>
                <a:lnTo>
                  <a:pt x="1258589" y="500980"/>
                </a:lnTo>
                <a:lnTo>
                  <a:pt x="1262622" y="498942"/>
                </a:lnTo>
                <a:lnTo>
                  <a:pt x="1266894" y="497497"/>
                </a:lnTo>
                <a:lnTo>
                  <a:pt x="1271336" y="496635"/>
                </a:lnTo>
                <a:close/>
                <a:moveTo>
                  <a:pt x="1033700" y="459624"/>
                </a:moveTo>
                <a:lnTo>
                  <a:pt x="1032161" y="459935"/>
                </a:lnTo>
                <a:lnTo>
                  <a:pt x="1030903" y="460783"/>
                </a:lnTo>
                <a:lnTo>
                  <a:pt x="1030056" y="462040"/>
                </a:lnTo>
                <a:lnTo>
                  <a:pt x="1029745" y="463580"/>
                </a:lnTo>
                <a:lnTo>
                  <a:pt x="1029745" y="601691"/>
                </a:lnTo>
                <a:lnTo>
                  <a:pt x="1030056" y="603232"/>
                </a:lnTo>
                <a:lnTo>
                  <a:pt x="1030903" y="604489"/>
                </a:lnTo>
                <a:lnTo>
                  <a:pt x="1032161" y="605336"/>
                </a:lnTo>
                <a:lnTo>
                  <a:pt x="1033700" y="605647"/>
                </a:lnTo>
                <a:lnTo>
                  <a:pt x="1070447" y="605647"/>
                </a:lnTo>
                <a:lnTo>
                  <a:pt x="1071987" y="605336"/>
                </a:lnTo>
                <a:lnTo>
                  <a:pt x="1073245" y="604489"/>
                </a:lnTo>
                <a:lnTo>
                  <a:pt x="1074093" y="603232"/>
                </a:lnTo>
                <a:lnTo>
                  <a:pt x="1074403" y="601691"/>
                </a:lnTo>
                <a:lnTo>
                  <a:pt x="1074403" y="463580"/>
                </a:lnTo>
                <a:lnTo>
                  <a:pt x="1074093" y="462040"/>
                </a:lnTo>
                <a:lnTo>
                  <a:pt x="1073245" y="460783"/>
                </a:lnTo>
                <a:lnTo>
                  <a:pt x="1071987" y="459935"/>
                </a:lnTo>
                <a:lnTo>
                  <a:pt x="1070447" y="459624"/>
                </a:lnTo>
                <a:close/>
                <a:moveTo>
                  <a:pt x="1181190" y="458156"/>
                </a:moveTo>
                <a:lnTo>
                  <a:pt x="1176501" y="458390"/>
                </a:lnTo>
                <a:lnTo>
                  <a:pt x="1171384" y="459147"/>
                </a:lnTo>
                <a:lnTo>
                  <a:pt x="1166048" y="460511"/>
                </a:lnTo>
                <a:lnTo>
                  <a:pt x="1160698" y="462562"/>
                </a:lnTo>
                <a:lnTo>
                  <a:pt x="1155540" y="465386"/>
                </a:lnTo>
                <a:lnTo>
                  <a:pt x="1150781" y="469063"/>
                </a:lnTo>
                <a:lnTo>
                  <a:pt x="1146629" y="473677"/>
                </a:lnTo>
                <a:lnTo>
                  <a:pt x="1143289" y="479310"/>
                </a:lnTo>
                <a:lnTo>
                  <a:pt x="1143289" y="463579"/>
                </a:lnTo>
                <a:lnTo>
                  <a:pt x="1142978" y="462040"/>
                </a:lnTo>
                <a:lnTo>
                  <a:pt x="1142130" y="460783"/>
                </a:lnTo>
                <a:lnTo>
                  <a:pt x="1140873" y="459935"/>
                </a:lnTo>
                <a:lnTo>
                  <a:pt x="1139332" y="459624"/>
                </a:lnTo>
                <a:lnTo>
                  <a:pt x="1104055" y="459624"/>
                </a:lnTo>
                <a:lnTo>
                  <a:pt x="1102515" y="459935"/>
                </a:lnTo>
                <a:lnTo>
                  <a:pt x="1101258" y="460783"/>
                </a:lnTo>
                <a:lnTo>
                  <a:pt x="1100411" y="462040"/>
                </a:lnTo>
                <a:lnTo>
                  <a:pt x="1100100" y="463579"/>
                </a:lnTo>
                <a:lnTo>
                  <a:pt x="1100100" y="601691"/>
                </a:lnTo>
                <a:lnTo>
                  <a:pt x="1100411" y="603231"/>
                </a:lnTo>
                <a:lnTo>
                  <a:pt x="1101258" y="604489"/>
                </a:lnTo>
                <a:lnTo>
                  <a:pt x="1102515" y="605337"/>
                </a:lnTo>
                <a:lnTo>
                  <a:pt x="1104055" y="605648"/>
                </a:lnTo>
                <a:lnTo>
                  <a:pt x="1140802" y="605648"/>
                </a:lnTo>
                <a:lnTo>
                  <a:pt x="1142342" y="605337"/>
                </a:lnTo>
                <a:lnTo>
                  <a:pt x="1143599" y="604489"/>
                </a:lnTo>
                <a:lnTo>
                  <a:pt x="1144447" y="603231"/>
                </a:lnTo>
                <a:lnTo>
                  <a:pt x="1144757" y="601691"/>
                </a:lnTo>
                <a:lnTo>
                  <a:pt x="1144757" y="541889"/>
                </a:lnTo>
                <a:lnTo>
                  <a:pt x="1145147" y="534408"/>
                </a:lnTo>
                <a:lnTo>
                  <a:pt x="1146274" y="527806"/>
                </a:lnTo>
                <a:lnTo>
                  <a:pt x="1148071" y="522047"/>
                </a:lnTo>
                <a:lnTo>
                  <a:pt x="1150476" y="517097"/>
                </a:lnTo>
                <a:lnTo>
                  <a:pt x="1153422" y="512920"/>
                </a:lnTo>
                <a:lnTo>
                  <a:pt x="1156845" y="509483"/>
                </a:lnTo>
                <a:lnTo>
                  <a:pt x="1160680" y="506749"/>
                </a:lnTo>
                <a:lnTo>
                  <a:pt x="1164862" y="504683"/>
                </a:lnTo>
                <a:lnTo>
                  <a:pt x="1169326" y="503251"/>
                </a:lnTo>
                <a:lnTo>
                  <a:pt x="1174007" y="502418"/>
                </a:lnTo>
                <a:lnTo>
                  <a:pt x="1178840" y="502148"/>
                </a:lnTo>
                <a:lnTo>
                  <a:pt x="1181051" y="502174"/>
                </a:lnTo>
                <a:lnTo>
                  <a:pt x="1183170" y="502260"/>
                </a:lnTo>
                <a:lnTo>
                  <a:pt x="1185250" y="502418"/>
                </a:lnTo>
                <a:lnTo>
                  <a:pt x="1187311" y="502653"/>
                </a:lnTo>
                <a:lnTo>
                  <a:pt x="1188880" y="502560"/>
                </a:lnTo>
                <a:lnTo>
                  <a:pt x="1189751" y="502148"/>
                </a:lnTo>
                <a:lnTo>
                  <a:pt x="1190249" y="501912"/>
                </a:lnTo>
                <a:lnTo>
                  <a:pt x="1191272" y="500804"/>
                </a:lnTo>
                <a:lnTo>
                  <a:pt x="1191808" y="499334"/>
                </a:lnTo>
                <a:lnTo>
                  <a:pt x="1194820" y="479310"/>
                </a:lnTo>
                <a:lnTo>
                  <a:pt x="1197113" y="464060"/>
                </a:lnTo>
                <a:lnTo>
                  <a:pt x="1197051" y="462547"/>
                </a:lnTo>
                <a:lnTo>
                  <a:pt x="1190711" y="458997"/>
                </a:lnTo>
                <a:lnTo>
                  <a:pt x="1184010" y="458256"/>
                </a:lnTo>
                <a:close/>
                <a:moveTo>
                  <a:pt x="944809" y="456099"/>
                </a:moveTo>
                <a:lnTo>
                  <a:pt x="938047" y="456424"/>
                </a:lnTo>
                <a:lnTo>
                  <a:pt x="931694" y="457351"/>
                </a:lnTo>
                <a:lnTo>
                  <a:pt x="925788" y="458808"/>
                </a:lnTo>
                <a:lnTo>
                  <a:pt x="920368" y="460722"/>
                </a:lnTo>
                <a:lnTo>
                  <a:pt x="915473" y="463021"/>
                </a:lnTo>
                <a:lnTo>
                  <a:pt x="911141" y="465631"/>
                </a:lnTo>
                <a:lnTo>
                  <a:pt x="907411" y="468481"/>
                </a:lnTo>
                <a:lnTo>
                  <a:pt x="901913" y="474608"/>
                </a:lnTo>
                <a:lnTo>
                  <a:pt x="901913" y="463579"/>
                </a:lnTo>
                <a:lnTo>
                  <a:pt x="901602" y="462040"/>
                </a:lnTo>
                <a:lnTo>
                  <a:pt x="900754" y="460783"/>
                </a:lnTo>
                <a:lnTo>
                  <a:pt x="899496" y="459935"/>
                </a:lnTo>
                <a:lnTo>
                  <a:pt x="897956" y="459624"/>
                </a:lnTo>
                <a:lnTo>
                  <a:pt x="862679" y="459624"/>
                </a:lnTo>
                <a:lnTo>
                  <a:pt x="861139" y="459935"/>
                </a:lnTo>
                <a:lnTo>
                  <a:pt x="859881" y="460783"/>
                </a:lnTo>
                <a:lnTo>
                  <a:pt x="859033" y="462040"/>
                </a:lnTo>
                <a:lnTo>
                  <a:pt x="858722" y="463579"/>
                </a:lnTo>
                <a:lnTo>
                  <a:pt x="858722" y="657515"/>
                </a:lnTo>
                <a:lnTo>
                  <a:pt x="859033" y="659055"/>
                </a:lnTo>
                <a:lnTo>
                  <a:pt x="859881" y="660312"/>
                </a:lnTo>
                <a:lnTo>
                  <a:pt x="861139" y="661159"/>
                </a:lnTo>
                <a:lnTo>
                  <a:pt x="862679" y="661470"/>
                </a:lnTo>
                <a:lnTo>
                  <a:pt x="899425" y="661470"/>
                </a:lnTo>
                <a:lnTo>
                  <a:pt x="900965" y="661159"/>
                </a:lnTo>
                <a:lnTo>
                  <a:pt x="902222" y="660312"/>
                </a:lnTo>
                <a:lnTo>
                  <a:pt x="903070" y="659055"/>
                </a:lnTo>
                <a:lnTo>
                  <a:pt x="903381" y="657515"/>
                </a:lnTo>
                <a:lnTo>
                  <a:pt x="903381" y="594189"/>
                </a:lnTo>
                <a:lnTo>
                  <a:pt x="906255" y="597182"/>
                </a:lnTo>
                <a:lnTo>
                  <a:pt x="909786" y="599955"/>
                </a:lnTo>
                <a:lnTo>
                  <a:pt x="913943" y="602452"/>
                </a:lnTo>
                <a:lnTo>
                  <a:pt x="918696" y="604619"/>
                </a:lnTo>
                <a:lnTo>
                  <a:pt x="924014" y="606401"/>
                </a:lnTo>
                <a:lnTo>
                  <a:pt x="929865" y="607741"/>
                </a:lnTo>
                <a:lnTo>
                  <a:pt x="936219" y="608586"/>
                </a:lnTo>
                <a:lnTo>
                  <a:pt x="943045" y="608880"/>
                </a:lnTo>
                <a:lnTo>
                  <a:pt x="948538" y="608684"/>
                </a:lnTo>
                <a:lnTo>
                  <a:pt x="953872" y="608101"/>
                </a:lnTo>
                <a:lnTo>
                  <a:pt x="959038" y="607143"/>
                </a:lnTo>
                <a:lnTo>
                  <a:pt x="964026" y="605821"/>
                </a:lnTo>
                <a:lnTo>
                  <a:pt x="968827" y="604145"/>
                </a:lnTo>
                <a:lnTo>
                  <a:pt x="973432" y="602128"/>
                </a:lnTo>
                <a:lnTo>
                  <a:pt x="977830" y="599778"/>
                </a:lnTo>
                <a:lnTo>
                  <a:pt x="982014" y="597108"/>
                </a:lnTo>
                <a:lnTo>
                  <a:pt x="985893" y="594189"/>
                </a:lnTo>
                <a:lnTo>
                  <a:pt x="989697" y="590851"/>
                </a:lnTo>
                <a:lnTo>
                  <a:pt x="993177" y="587285"/>
                </a:lnTo>
                <a:lnTo>
                  <a:pt x="996404" y="583443"/>
                </a:lnTo>
                <a:lnTo>
                  <a:pt x="999369" y="579334"/>
                </a:lnTo>
                <a:lnTo>
                  <a:pt x="1002062" y="574971"/>
                </a:lnTo>
                <a:lnTo>
                  <a:pt x="1004473" y="570363"/>
                </a:lnTo>
                <a:lnTo>
                  <a:pt x="1005104" y="568922"/>
                </a:lnTo>
                <a:lnTo>
                  <a:pt x="1008414" y="560460"/>
                </a:lnTo>
                <a:lnTo>
                  <a:pt x="1009924" y="555186"/>
                </a:lnTo>
                <a:lnTo>
                  <a:pt x="1011118" y="549693"/>
                </a:lnTo>
                <a:lnTo>
                  <a:pt x="1011978" y="544048"/>
                </a:lnTo>
                <a:lnTo>
                  <a:pt x="1012502" y="538206"/>
                </a:lnTo>
                <a:lnTo>
                  <a:pt x="1012679" y="532196"/>
                </a:lnTo>
                <a:lnTo>
                  <a:pt x="1012521" y="526299"/>
                </a:lnTo>
                <a:lnTo>
                  <a:pt x="1012052" y="520556"/>
                </a:lnTo>
                <a:lnTo>
                  <a:pt x="1011275" y="514979"/>
                </a:lnTo>
                <a:lnTo>
                  <a:pt x="1010197" y="509579"/>
                </a:lnTo>
                <a:lnTo>
                  <a:pt x="1008821" y="504368"/>
                </a:lnTo>
                <a:lnTo>
                  <a:pt x="1007154" y="499358"/>
                </a:lnTo>
                <a:lnTo>
                  <a:pt x="1005929" y="496350"/>
                </a:lnTo>
                <a:lnTo>
                  <a:pt x="1005199" y="494560"/>
                </a:lnTo>
                <a:lnTo>
                  <a:pt x="1002963" y="489987"/>
                </a:lnTo>
                <a:lnTo>
                  <a:pt x="1000449" y="485650"/>
                </a:lnTo>
                <a:lnTo>
                  <a:pt x="997663" y="481560"/>
                </a:lnTo>
                <a:lnTo>
                  <a:pt x="994610" y="477730"/>
                </a:lnTo>
                <a:lnTo>
                  <a:pt x="991701" y="474608"/>
                </a:lnTo>
                <a:lnTo>
                  <a:pt x="987721" y="470897"/>
                </a:lnTo>
                <a:lnTo>
                  <a:pt x="983896" y="467916"/>
                </a:lnTo>
                <a:lnTo>
                  <a:pt x="979824" y="465243"/>
                </a:lnTo>
                <a:lnTo>
                  <a:pt x="975509" y="462887"/>
                </a:lnTo>
                <a:lnTo>
                  <a:pt x="970957" y="460862"/>
                </a:lnTo>
                <a:lnTo>
                  <a:pt x="966172" y="459179"/>
                </a:lnTo>
                <a:lnTo>
                  <a:pt x="961160" y="457849"/>
                </a:lnTo>
                <a:lnTo>
                  <a:pt x="955926" y="456884"/>
                </a:lnTo>
                <a:lnTo>
                  <a:pt x="950474" y="456297"/>
                </a:lnTo>
                <a:close/>
                <a:moveTo>
                  <a:pt x="1443125" y="455218"/>
                </a:moveTo>
                <a:lnTo>
                  <a:pt x="1437582" y="455398"/>
                </a:lnTo>
                <a:lnTo>
                  <a:pt x="1432151" y="455932"/>
                </a:lnTo>
                <a:lnTo>
                  <a:pt x="1426846" y="456811"/>
                </a:lnTo>
                <a:lnTo>
                  <a:pt x="1421677" y="458026"/>
                </a:lnTo>
                <a:lnTo>
                  <a:pt x="1416659" y="459568"/>
                </a:lnTo>
                <a:lnTo>
                  <a:pt x="1411803" y="461427"/>
                </a:lnTo>
                <a:lnTo>
                  <a:pt x="1407121" y="463595"/>
                </a:lnTo>
                <a:lnTo>
                  <a:pt x="1402627" y="466062"/>
                </a:lnTo>
                <a:lnTo>
                  <a:pt x="1398332" y="468819"/>
                </a:lnTo>
                <a:lnTo>
                  <a:pt x="1394249" y="471858"/>
                </a:lnTo>
                <a:lnTo>
                  <a:pt x="1390391" y="475168"/>
                </a:lnTo>
                <a:lnTo>
                  <a:pt x="1386770" y="478741"/>
                </a:lnTo>
                <a:lnTo>
                  <a:pt x="1383399" y="482568"/>
                </a:lnTo>
                <a:lnTo>
                  <a:pt x="1380289" y="486640"/>
                </a:lnTo>
                <a:lnTo>
                  <a:pt x="1377454" y="490947"/>
                </a:lnTo>
                <a:lnTo>
                  <a:pt x="1374906" y="495480"/>
                </a:lnTo>
                <a:lnTo>
                  <a:pt x="1372657" y="500230"/>
                </a:lnTo>
                <a:lnTo>
                  <a:pt x="1370714" y="505207"/>
                </a:lnTo>
                <a:lnTo>
                  <a:pt x="1369107" y="510346"/>
                </a:lnTo>
                <a:lnTo>
                  <a:pt x="1367831" y="515694"/>
                </a:lnTo>
                <a:lnTo>
                  <a:pt x="1366904" y="521221"/>
                </a:lnTo>
                <a:lnTo>
                  <a:pt x="1366339" y="526921"/>
                </a:lnTo>
                <a:lnTo>
                  <a:pt x="1366148" y="532783"/>
                </a:lnTo>
                <a:lnTo>
                  <a:pt x="1366328" y="538368"/>
                </a:lnTo>
                <a:lnTo>
                  <a:pt x="1366861" y="543808"/>
                </a:lnTo>
                <a:lnTo>
                  <a:pt x="1367735" y="549094"/>
                </a:lnTo>
                <a:lnTo>
                  <a:pt x="1368939" y="554217"/>
                </a:lnTo>
                <a:lnTo>
                  <a:pt x="1370461" y="559170"/>
                </a:lnTo>
                <a:lnTo>
                  <a:pt x="1372290" y="563945"/>
                </a:lnTo>
                <a:lnTo>
                  <a:pt x="1374414" y="568532"/>
                </a:lnTo>
                <a:lnTo>
                  <a:pt x="1376822" y="572925"/>
                </a:lnTo>
                <a:lnTo>
                  <a:pt x="1379503" y="577115"/>
                </a:lnTo>
                <a:lnTo>
                  <a:pt x="1382444" y="581094"/>
                </a:lnTo>
                <a:lnTo>
                  <a:pt x="1385635" y="584854"/>
                </a:lnTo>
                <a:lnTo>
                  <a:pt x="1389064" y="588386"/>
                </a:lnTo>
                <a:lnTo>
                  <a:pt x="1392720" y="591682"/>
                </a:lnTo>
                <a:lnTo>
                  <a:pt x="1396590" y="594734"/>
                </a:lnTo>
                <a:lnTo>
                  <a:pt x="1400664" y="597535"/>
                </a:lnTo>
                <a:lnTo>
                  <a:pt x="1404929" y="600075"/>
                </a:lnTo>
                <a:lnTo>
                  <a:pt x="1409376" y="602347"/>
                </a:lnTo>
                <a:lnTo>
                  <a:pt x="1413992" y="604343"/>
                </a:lnTo>
                <a:lnTo>
                  <a:pt x="1418765" y="606054"/>
                </a:lnTo>
                <a:lnTo>
                  <a:pt x="1423684" y="607472"/>
                </a:lnTo>
                <a:lnTo>
                  <a:pt x="1428738" y="608589"/>
                </a:lnTo>
                <a:lnTo>
                  <a:pt x="1433915" y="609397"/>
                </a:lnTo>
                <a:lnTo>
                  <a:pt x="1439204" y="609888"/>
                </a:lnTo>
                <a:lnTo>
                  <a:pt x="1444593" y="610054"/>
                </a:lnTo>
                <a:lnTo>
                  <a:pt x="1451387" y="609792"/>
                </a:lnTo>
                <a:lnTo>
                  <a:pt x="1457861" y="609029"/>
                </a:lnTo>
                <a:lnTo>
                  <a:pt x="1464012" y="607795"/>
                </a:lnTo>
                <a:lnTo>
                  <a:pt x="1469837" y="606122"/>
                </a:lnTo>
                <a:lnTo>
                  <a:pt x="1475333" y="604040"/>
                </a:lnTo>
                <a:lnTo>
                  <a:pt x="1480496" y="601582"/>
                </a:lnTo>
                <a:lnTo>
                  <a:pt x="1485323" y="598778"/>
                </a:lnTo>
                <a:lnTo>
                  <a:pt x="1489811" y="595660"/>
                </a:lnTo>
                <a:lnTo>
                  <a:pt x="1493956" y="592258"/>
                </a:lnTo>
                <a:lnTo>
                  <a:pt x="1497754" y="588604"/>
                </a:lnTo>
                <a:lnTo>
                  <a:pt x="1501204" y="584730"/>
                </a:lnTo>
                <a:lnTo>
                  <a:pt x="1504301" y="580666"/>
                </a:lnTo>
                <a:lnTo>
                  <a:pt x="1507042" y="576444"/>
                </a:lnTo>
                <a:lnTo>
                  <a:pt x="1509424" y="572095"/>
                </a:lnTo>
                <a:lnTo>
                  <a:pt x="1510866" y="568921"/>
                </a:lnTo>
                <a:lnTo>
                  <a:pt x="1511444" y="567651"/>
                </a:lnTo>
                <a:lnTo>
                  <a:pt x="1513097" y="563141"/>
                </a:lnTo>
                <a:lnTo>
                  <a:pt x="1513281" y="561547"/>
                </a:lnTo>
                <a:lnTo>
                  <a:pt x="1512854" y="560061"/>
                </a:lnTo>
                <a:lnTo>
                  <a:pt x="1511899" y="558850"/>
                </a:lnTo>
                <a:lnTo>
                  <a:pt x="1510494" y="558082"/>
                </a:lnTo>
                <a:lnTo>
                  <a:pt x="1478437" y="548274"/>
                </a:lnTo>
                <a:lnTo>
                  <a:pt x="1476977" y="548114"/>
                </a:lnTo>
                <a:lnTo>
                  <a:pt x="1475607" y="548485"/>
                </a:lnTo>
                <a:lnTo>
                  <a:pt x="1474453" y="549319"/>
                </a:lnTo>
                <a:lnTo>
                  <a:pt x="1473641" y="550549"/>
                </a:lnTo>
                <a:lnTo>
                  <a:pt x="1471554" y="554602"/>
                </a:lnTo>
                <a:lnTo>
                  <a:pt x="1468804" y="558407"/>
                </a:lnTo>
                <a:lnTo>
                  <a:pt x="1465376" y="561827"/>
                </a:lnTo>
                <a:lnTo>
                  <a:pt x="1461256" y="564725"/>
                </a:lnTo>
                <a:lnTo>
                  <a:pt x="1456429" y="566965"/>
                </a:lnTo>
                <a:lnTo>
                  <a:pt x="1450879" y="568410"/>
                </a:lnTo>
                <a:lnTo>
                  <a:pt x="1444593" y="568921"/>
                </a:lnTo>
                <a:lnTo>
                  <a:pt x="1439628" y="568603"/>
                </a:lnTo>
                <a:lnTo>
                  <a:pt x="1434865" y="567655"/>
                </a:lnTo>
                <a:lnTo>
                  <a:pt x="1430362" y="566090"/>
                </a:lnTo>
                <a:lnTo>
                  <a:pt x="1426174" y="563921"/>
                </a:lnTo>
                <a:lnTo>
                  <a:pt x="1422361" y="561157"/>
                </a:lnTo>
                <a:lnTo>
                  <a:pt x="1418978" y="557812"/>
                </a:lnTo>
                <a:lnTo>
                  <a:pt x="1416082" y="553898"/>
                </a:lnTo>
                <a:lnTo>
                  <a:pt x="1413730" y="549426"/>
                </a:lnTo>
                <a:lnTo>
                  <a:pt x="1411980" y="544408"/>
                </a:lnTo>
                <a:lnTo>
                  <a:pt x="1410889" y="538856"/>
                </a:lnTo>
                <a:lnTo>
                  <a:pt x="1410512" y="532783"/>
                </a:lnTo>
                <a:lnTo>
                  <a:pt x="1410875" y="526636"/>
                </a:lnTo>
                <a:lnTo>
                  <a:pt x="1411929" y="521025"/>
                </a:lnTo>
                <a:lnTo>
                  <a:pt x="1413623" y="515959"/>
                </a:lnTo>
                <a:lnTo>
                  <a:pt x="1415905" y="511450"/>
                </a:lnTo>
                <a:lnTo>
                  <a:pt x="1418724" y="507507"/>
                </a:lnTo>
                <a:lnTo>
                  <a:pt x="1422027" y="504142"/>
                </a:lnTo>
                <a:lnTo>
                  <a:pt x="1425763" y="501365"/>
                </a:lnTo>
                <a:lnTo>
                  <a:pt x="1429881" y="499187"/>
                </a:lnTo>
                <a:lnTo>
                  <a:pt x="1434329" y="497618"/>
                </a:lnTo>
                <a:lnTo>
                  <a:pt x="1439055" y="496669"/>
                </a:lnTo>
                <a:lnTo>
                  <a:pt x="1444007" y="496350"/>
                </a:lnTo>
                <a:lnTo>
                  <a:pt x="1450254" y="496849"/>
                </a:lnTo>
                <a:lnTo>
                  <a:pt x="1455700" y="498264"/>
                </a:lnTo>
                <a:lnTo>
                  <a:pt x="1460381" y="500467"/>
                </a:lnTo>
                <a:lnTo>
                  <a:pt x="1464334" y="503334"/>
                </a:lnTo>
                <a:lnTo>
                  <a:pt x="1467597" y="506738"/>
                </a:lnTo>
                <a:lnTo>
                  <a:pt x="1470207" y="510553"/>
                </a:lnTo>
                <a:lnTo>
                  <a:pt x="1472200" y="514654"/>
                </a:lnTo>
                <a:lnTo>
                  <a:pt x="1473000" y="515910"/>
                </a:lnTo>
                <a:lnTo>
                  <a:pt x="1474155" y="516767"/>
                </a:lnTo>
                <a:lnTo>
                  <a:pt x="1475534" y="517153"/>
                </a:lnTo>
                <a:lnTo>
                  <a:pt x="1477009" y="517000"/>
                </a:lnTo>
                <a:lnTo>
                  <a:pt x="1509619" y="507169"/>
                </a:lnTo>
                <a:lnTo>
                  <a:pt x="1511024" y="506410"/>
                </a:lnTo>
                <a:lnTo>
                  <a:pt x="1511984" y="505207"/>
                </a:lnTo>
                <a:lnTo>
                  <a:pt x="1512419" y="503726"/>
                </a:lnTo>
                <a:lnTo>
                  <a:pt x="1512247" y="502133"/>
                </a:lnTo>
                <a:lnTo>
                  <a:pt x="1510718" y="497812"/>
                </a:lnTo>
                <a:lnTo>
                  <a:pt x="1510081" y="496350"/>
                </a:lnTo>
                <a:lnTo>
                  <a:pt x="1508870" y="493566"/>
                </a:lnTo>
                <a:lnTo>
                  <a:pt x="1506704" y="489417"/>
                </a:lnTo>
                <a:lnTo>
                  <a:pt x="1504220" y="485390"/>
                </a:lnTo>
                <a:lnTo>
                  <a:pt x="1501418" y="481510"/>
                </a:lnTo>
                <a:lnTo>
                  <a:pt x="1498299" y="477800"/>
                </a:lnTo>
                <a:lnTo>
                  <a:pt x="1494863" y="474286"/>
                </a:lnTo>
                <a:lnTo>
                  <a:pt x="1491110" y="470991"/>
                </a:lnTo>
                <a:lnTo>
                  <a:pt x="1487040" y="467940"/>
                </a:lnTo>
                <a:lnTo>
                  <a:pt x="1482654" y="465156"/>
                </a:lnTo>
                <a:lnTo>
                  <a:pt x="1477952" y="462665"/>
                </a:lnTo>
                <a:lnTo>
                  <a:pt x="1472935" y="460491"/>
                </a:lnTo>
                <a:lnTo>
                  <a:pt x="1467602" y="458657"/>
                </a:lnTo>
                <a:lnTo>
                  <a:pt x="1461955" y="457189"/>
                </a:lnTo>
                <a:lnTo>
                  <a:pt x="1455992" y="456110"/>
                </a:lnTo>
                <a:lnTo>
                  <a:pt x="1449716" y="455445"/>
                </a:lnTo>
                <a:close/>
                <a:moveTo>
                  <a:pt x="1275877" y="455218"/>
                </a:moveTo>
                <a:lnTo>
                  <a:pt x="1270260" y="455398"/>
                </a:lnTo>
                <a:lnTo>
                  <a:pt x="1264763" y="455932"/>
                </a:lnTo>
                <a:lnTo>
                  <a:pt x="1259396" y="456811"/>
                </a:lnTo>
                <a:lnTo>
                  <a:pt x="1254173" y="458025"/>
                </a:lnTo>
                <a:lnTo>
                  <a:pt x="1249104" y="459565"/>
                </a:lnTo>
                <a:lnTo>
                  <a:pt x="1244204" y="461422"/>
                </a:lnTo>
                <a:lnTo>
                  <a:pt x="1239483" y="463587"/>
                </a:lnTo>
                <a:lnTo>
                  <a:pt x="1234954" y="466050"/>
                </a:lnTo>
                <a:lnTo>
                  <a:pt x="1230628" y="468802"/>
                </a:lnTo>
                <a:lnTo>
                  <a:pt x="1226519" y="471834"/>
                </a:lnTo>
                <a:lnTo>
                  <a:pt x="1222639" y="475136"/>
                </a:lnTo>
                <a:lnTo>
                  <a:pt x="1218999" y="478700"/>
                </a:lnTo>
                <a:lnTo>
                  <a:pt x="1215611" y="482515"/>
                </a:lnTo>
                <a:lnTo>
                  <a:pt x="1212489" y="486573"/>
                </a:lnTo>
                <a:lnTo>
                  <a:pt x="1209643" y="490865"/>
                </a:lnTo>
                <a:lnTo>
                  <a:pt x="1207087" y="495381"/>
                </a:lnTo>
                <a:lnTo>
                  <a:pt x="1204832" y="500111"/>
                </a:lnTo>
                <a:lnTo>
                  <a:pt x="1202890" y="505048"/>
                </a:lnTo>
                <a:lnTo>
                  <a:pt x="1201274" y="510180"/>
                </a:lnTo>
                <a:lnTo>
                  <a:pt x="1199996" y="515500"/>
                </a:lnTo>
                <a:lnTo>
                  <a:pt x="1199069" y="520997"/>
                </a:lnTo>
                <a:lnTo>
                  <a:pt x="1198503" y="526663"/>
                </a:lnTo>
                <a:lnTo>
                  <a:pt x="1198312" y="532488"/>
                </a:lnTo>
                <a:lnTo>
                  <a:pt x="1198487" y="538075"/>
                </a:lnTo>
                <a:lnTo>
                  <a:pt x="1199007" y="543520"/>
                </a:lnTo>
                <a:lnTo>
                  <a:pt x="1199861" y="548812"/>
                </a:lnTo>
                <a:lnTo>
                  <a:pt x="1201038" y="553945"/>
                </a:lnTo>
                <a:lnTo>
                  <a:pt x="1202526" y="558909"/>
                </a:lnTo>
                <a:lnTo>
                  <a:pt x="1204316" y="563697"/>
                </a:lnTo>
                <a:lnTo>
                  <a:pt x="1206397" y="568299"/>
                </a:lnTo>
                <a:lnTo>
                  <a:pt x="1208758" y="572708"/>
                </a:lnTo>
                <a:lnTo>
                  <a:pt x="1211388" y="576915"/>
                </a:lnTo>
                <a:lnTo>
                  <a:pt x="1214277" y="580911"/>
                </a:lnTo>
                <a:lnTo>
                  <a:pt x="1217414" y="584688"/>
                </a:lnTo>
                <a:lnTo>
                  <a:pt x="1220788" y="588239"/>
                </a:lnTo>
                <a:lnTo>
                  <a:pt x="1224388" y="591553"/>
                </a:lnTo>
                <a:lnTo>
                  <a:pt x="1228204" y="594624"/>
                </a:lnTo>
                <a:lnTo>
                  <a:pt x="1232226" y="597442"/>
                </a:lnTo>
                <a:lnTo>
                  <a:pt x="1236441" y="599999"/>
                </a:lnTo>
                <a:lnTo>
                  <a:pt x="1240840" y="602287"/>
                </a:lnTo>
                <a:lnTo>
                  <a:pt x="1245412" y="604297"/>
                </a:lnTo>
                <a:lnTo>
                  <a:pt x="1250147" y="606021"/>
                </a:lnTo>
                <a:lnTo>
                  <a:pt x="1255033" y="607450"/>
                </a:lnTo>
                <a:lnTo>
                  <a:pt x="1260059" y="608576"/>
                </a:lnTo>
                <a:lnTo>
                  <a:pt x="1265216" y="609391"/>
                </a:lnTo>
                <a:lnTo>
                  <a:pt x="1270492" y="609887"/>
                </a:lnTo>
                <a:lnTo>
                  <a:pt x="1275877" y="610053"/>
                </a:lnTo>
                <a:lnTo>
                  <a:pt x="1281295" y="609887"/>
                </a:lnTo>
                <a:lnTo>
                  <a:pt x="1286599" y="609391"/>
                </a:lnTo>
                <a:lnTo>
                  <a:pt x="1291779" y="608576"/>
                </a:lnTo>
                <a:lnTo>
                  <a:pt x="1296823" y="607450"/>
                </a:lnTo>
                <a:lnTo>
                  <a:pt x="1301722" y="606021"/>
                </a:lnTo>
                <a:lnTo>
                  <a:pt x="1306466" y="604297"/>
                </a:lnTo>
                <a:lnTo>
                  <a:pt x="1311043" y="602287"/>
                </a:lnTo>
                <a:lnTo>
                  <a:pt x="1315444" y="599999"/>
                </a:lnTo>
                <a:lnTo>
                  <a:pt x="1319658" y="597442"/>
                </a:lnTo>
                <a:lnTo>
                  <a:pt x="1323675" y="594624"/>
                </a:lnTo>
                <a:lnTo>
                  <a:pt x="1327485" y="591553"/>
                </a:lnTo>
                <a:lnTo>
                  <a:pt x="1331077" y="588239"/>
                </a:lnTo>
                <a:lnTo>
                  <a:pt x="1334441" y="584688"/>
                </a:lnTo>
                <a:lnTo>
                  <a:pt x="1337567" y="580911"/>
                </a:lnTo>
                <a:lnTo>
                  <a:pt x="1340444" y="576915"/>
                </a:lnTo>
                <a:lnTo>
                  <a:pt x="1343062" y="572708"/>
                </a:lnTo>
                <a:lnTo>
                  <a:pt x="1345079" y="568921"/>
                </a:lnTo>
                <a:lnTo>
                  <a:pt x="1347480" y="563697"/>
                </a:lnTo>
                <a:lnTo>
                  <a:pt x="1349259" y="558909"/>
                </a:lnTo>
                <a:lnTo>
                  <a:pt x="1350738" y="553945"/>
                </a:lnTo>
                <a:lnTo>
                  <a:pt x="1351906" y="548812"/>
                </a:lnTo>
                <a:lnTo>
                  <a:pt x="1352753" y="543520"/>
                </a:lnTo>
                <a:lnTo>
                  <a:pt x="1353269" y="538075"/>
                </a:lnTo>
                <a:lnTo>
                  <a:pt x="1353443" y="532488"/>
                </a:lnTo>
                <a:lnTo>
                  <a:pt x="1353254" y="526663"/>
                </a:lnTo>
                <a:lnTo>
                  <a:pt x="1352692" y="520997"/>
                </a:lnTo>
                <a:lnTo>
                  <a:pt x="1351772" y="515500"/>
                </a:lnTo>
                <a:lnTo>
                  <a:pt x="1350503" y="510180"/>
                </a:lnTo>
                <a:lnTo>
                  <a:pt x="1348897" y="505048"/>
                </a:lnTo>
                <a:lnTo>
                  <a:pt x="1346968" y="500111"/>
                </a:lnTo>
                <a:lnTo>
                  <a:pt x="1345184" y="496350"/>
                </a:lnTo>
                <a:lnTo>
                  <a:pt x="1344725" y="495381"/>
                </a:lnTo>
                <a:lnTo>
                  <a:pt x="1342181" y="490865"/>
                </a:lnTo>
                <a:lnTo>
                  <a:pt x="1339348" y="486573"/>
                </a:lnTo>
                <a:lnTo>
                  <a:pt x="1336238" y="482515"/>
                </a:lnTo>
                <a:lnTo>
                  <a:pt x="1332861" y="478700"/>
                </a:lnTo>
                <a:lnTo>
                  <a:pt x="1329231" y="475136"/>
                </a:lnTo>
                <a:lnTo>
                  <a:pt x="1325357" y="471834"/>
                </a:lnTo>
                <a:lnTo>
                  <a:pt x="1321254" y="468802"/>
                </a:lnTo>
                <a:lnTo>
                  <a:pt x="1316931" y="466050"/>
                </a:lnTo>
                <a:lnTo>
                  <a:pt x="1312401" y="463587"/>
                </a:lnTo>
                <a:lnTo>
                  <a:pt x="1307676" y="461422"/>
                </a:lnTo>
                <a:lnTo>
                  <a:pt x="1302767" y="459565"/>
                </a:lnTo>
                <a:lnTo>
                  <a:pt x="1297686" y="458025"/>
                </a:lnTo>
                <a:lnTo>
                  <a:pt x="1292445" y="456811"/>
                </a:lnTo>
                <a:lnTo>
                  <a:pt x="1287055" y="455932"/>
                </a:lnTo>
                <a:lnTo>
                  <a:pt x="1281528" y="455398"/>
                </a:lnTo>
                <a:close/>
                <a:moveTo>
                  <a:pt x="711092" y="397337"/>
                </a:moveTo>
                <a:lnTo>
                  <a:pt x="709553" y="397647"/>
                </a:lnTo>
                <a:lnTo>
                  <a:pt x="708295" y="398495"/>
                </a:lnTo>
                <a:lnTo>
                  <a:pt x="707448" y="399753"/>
                </a:lnTo>
                <a:lnTo>
                  <a:pt x="707137" y="401292"/>
                </a:lnTo>
                <a:lnTo>
                  <a:pt x="707137" y="601691"/>
                </a:lnTo>
                <a:lnTo>
                  <a:pt x="707448" y="603231"/>
                </a:lnTo>
                <a:lnTo>
                  <a:pt x="708295" y="604489"/>
                </a:lnTo>
                <a:lnTo>
                  <a:pt x="709553" y="605336"/>
                </a:lnTo>
                <a:lnTo>
                  <a:pt x="711092" y="605647"/>
                </a:lnTo>
                <a:lnTo>
                  <a:pt x="835394" y="605647"/>
                </a:lnTo>
                <a:lnTo>
                  <a:pt x="836934" y="605336"/>
                </a:lnTo>
                <a:lnTo>
                  <a:pt x="838191" y="604489"/>
                </a:lnTo>
                <a:lnTo>
                  <a:pt x="839039" y="603231"/>
                </a:lnTo>
                <a:lnTo>
                  <a:pt x="839350" y="601691"/>
                </a:lnTo>
                <a:lnTo>
                  <a:pt x="839350" y="565531"/>
                </a:lnTo>
                <a:lnTo>
                  <a:pt x="836934" y="561887"/>
                </a:lnTo>
                <a:lnTo>
                  <a:pt x="757513" y="561576"/>
                </a:lnTo>
                <a:lnTo>
                  <a:pt x="755974" y="561265"/>
                </a:lnTo>
                <a:lnTo>
                  <a:pt x="754716" y="560417"/>
                </a:lnTo>
                <a:lnTo>
                  <a:pt x="753869" y="559160"/>
                </a:lnTo>
                <a:lnTo>
                  <a:pt x="753558" y="557620"/>
                </a:lnTo>
                <a:lnTo>
                  <a:pt x="753558" y="525573"/>
                </a:lnTo>
                <a:lnTo>
                  <a:pt x="753869" y="524033"/>
                </a:lnTo>
                <a:lnTo>
                  <a:pt x="754716" y="522776"/>
                </a:lnTo>
                <a:lnTo>
                  <a:pt x="755974" y="521928"/>
                </a:lnTo>
                <a:lnTo>
                  <a:pt x="757513" y="521617"/>
                </a:lnTo>
                <a:lnTo>
                  <a:pt x="827166" y="521617"/>
                </a:lnTo>
                <a:lnTo>
                  <a:pt x="828706" y="521307"/>
                </a:lnTo>
                <a:lnTo>
                  <a:pt x="829964" y="520459"/>
                </a:lnTo>
                <a:lnTo>
                  <a:pt x="830812" y="519202"/>
                </a:lnTo>
                <a:lnTo>
                  <a:pt x="831123" y="517662"/>
                </a:lnTo>
                <a:lnTo>
                  <a:pt x="831123" y="484734"/>
                </a:lnTo>
                <a:lnTo>
                  <a:pt x="830812" y="483194"/>
                </a:lnTo>
                <a:lnTo>
                  <a:pt x="829964" y="481937"/>
                </a:lnTo>
                <a:lnTo>
                  <a:pt x="828706" y="481089"/>
                </a:lnTo>
                <a:lnTo>
                  <a:pt x="827166" y="480778"/>
                </a:lnTo>
                <a:lnTo>
                  <a:pt x="757513" y="480778"/>
                </a:lnTo>
                <a:lnTo>
                  <a:pt x="755974" y="480468"/>
                </a:lnTo>
                <a:lnTo>
                  <a:pt x="754716" y="479620"/>
                </a:lnTo>
                <a:lnTo>
                  <a:pt x="753869" y="478363"/>
                </a:lnTo>
                <a:lnTo>
                  <a:pt x="753558" y="476823"/>
                </a:lnTo>
                <a:lnTo>
                  <a:pt x="753558" y="445070"/>
                </a:lnTo>
                <a:lnTo>
                  <a:pt x="753869" y="443530"/>
                </a:lnTo>
                <a:lnTo>
                  <a:pt x="754716" y="442273"/>
                </a:lnTo>
                <a:lnTo>
                  <a:pt x="755974" y="441426"/>
                </a:lnTo>
                <a:lnTo>
                  <a:pt x="757513" y="441115"/>
                </a:lnTo>
                <a:lnTo>
                  <a:pt x="835100" y="441115"/>
                </a:lnTo>
                <a:lnTo>
                  <a:pt x="836639" y="440804"/>
                </a:lnTo>
                <a:lnTo>
                  <a:pt x="837897" y="439956"/>
                </a:lnTo>
                <a:lnTo>
                  <a:pt x="838745" y="438699"/>
                </a:lnTo>
                <a:lnTo>
                  <a:pt x="839055" y="437159"/>
                </a:lnTo>
                <a:lnTo>
                  <a:pt x="839055" y="401292"/>
                </a:lnTo>
                <a:lnTo>
                  <a:pt x="838745" y="399753"/>
                </a:lnTo>
                <a:lnTo>
                  <a:pt x="837897" y="398495"/>
                </a:lnTo>
                <a:lnTo>
                  <a:pt x="836639" y="397647"/>
                </a:lnTo>
                <a:lnTo>
                  <a:pt x="835100" y="397337"/>
                </a:lnTo>
                <a:close/>
                <a:moveTo>
                  <a:pt x="1051780" y="388817"/>
                </a:moveTo>
                <a:lnTo>
                  <a:pt x="1046620" y="389350"/>
                </a:lnTo>
                <a:lnTo>
                  <a:pt x="1041790" y="390878"/>
                </a:lnTo>
                <a:lnTo>
                  <a:pt x="1037402" y="393294"/>
                </a:lnTo>
                <a:lnTo>
                  <a:pt x="1033564" y="396492"/>
                </a:lnTo>
                <a:lnTo>
                  <a:pt x="1030387" y="400365"/>
                </a:lnTo>
                <a:lnTo>
                  <a:pt x="1027982" y="404806"/>
                </a:lnTo>
                <a:lnTo>
                  <a:pt x="1026457" y="409708"/>
                </a:lnTo>
                <a:lnTo>
                  <a:pt x="1025925" y="414966"/>
                </a:lnTo>
                <a:lnTo>
                  <a:pt x="1026457" y="420223"/>
                </a:lnTo>
                <a:lnTo>
                  <a:pt x="1027982" y="425125"/>
                </a:lnTo>
                <a:lnTo>
                  <a:pt x="1030387" y="429566"/>
                </a:lnTo>
                <a:lnTo>
                  <a:pt x="1033564" y="433439"/>
                </a:lnTo>
                <a:lnTo>
                  <a:pt x="1037402" y="436637"/>
                </a:lnTo>
                <a:lnTo>
                  <a:pt x="1041790" y="439053"/>
                </a:lnTo>
                <a:lnTo>
                  <a:pt x="1046620" y="440582"/>
                </a:lnTo>
                <a:lnTo>
                  <a:pt x="1051780" y="441115"/>
                </a:lnTo>
                <a:lnTo>
                  <a:pt x="1057133" y="440582"/>
                </a:lnTo>
                <a:lnTo>
                  <a:pt x="1062109" y="439053"/>
                </a:lnTo>
                <a:lnTo>
                  <a:pt x="1066602" y="436637"/>
                </a:lnTo>
                <a:lnTo>
                  <a:pt x="1070510" y="433439"/>
                </a:lnTo>
                <a:lnTo>
                  <a:pt x="1073729" y="429566"/>
                </a:lnTo>
                <a:lnTo>
                  <a:pt x="1076157" y="425125"/>
                </a:lnTo>
                <a:lnTo>
                  <a:pt x="1077689" y="420223"/>
                </a:lnTo>
                <a:lnTo>
                  <a:pt x="1078223" y="414966"/>
                </a:lnTo>
                <a:lnTo>
                  <a:pt x="1077689" y="409708"/>
                </a:lnTo>
                <a:lnTo>
                  <a:pt x="1076157" y="404806"/>
                </a:lnTo>
                <a:lnTo>
                  <a:pt x="1073729" y="400365"/>
                </a:lnTo>
                <a:lnTo>
                  <a:pt x="1070510" y="396492"/>
                </a:lnTo>
                <a:lnTo>
                  <a:pt x="1066602" y="393294"/>
                </a:lnTo>
                <a:lnTo>
                  <a:pt x="1062109" y="390878"/>
                </a:lnTo>
                <a:lnTo>
                  <a:pt x="1057133" y="389350"/>
                </a:lnTo>
                <a:close/>
                <a:moveTo>
                  <a:pt x="504583" y="360994"/>
                </a:moveTo>
                <a:lnTo>
                  <a:pt x="498943" y="361730"/>
                </a:lnTo>
                <a:lnTo>
                  <a:pt x="493600" y="363938"/>
                </a:lnTo>
                <a:lnTo>
                  <a:pt x="387041" y="425460"/>
                </a:lnTo>
                <a:lnTo>
                  <a:pt x="382458" y="428983"/>
                </a:lnTo>
                <a:lnTo>
                  <a:pt x="379002" y="433499"/>
                </a:lnTo>
                <a:lnTo>
                  <a:pt x="376819" y="438750"/>
                </a:lnTo>
                <a:lnTo>
                  <a:pt x="376059" y="444481"/>
                </a:lnTo>
                <a:lnTo>
                  <a:pt x="376059" y="567525"/>
                </a:lnTo>
                <a:lnTo>
                  <a:pt x="376819" y="573256"/>
                </a:lnTo>
                <a:lnTo>
                  <a:pt x="379002" y="578507"/>
                </a:lnTo>
                <a:lnTo>
                  <a:pt x="382458" y="583023"/>
                </a:lnTo>
                <a:lnTo>
                  <a:pt x="387042" y="586548"/>
                </a:lnTo>
                <a:lnTo>
                  <a:pt x="493600" y="648069"/>
                </a:lnTo>
                <a:lnTo>
                  <a:pt x="498943" y="650276"/>
                </a:lnTo>
                <a:lnTo>
                  <a:pt x="504583" y="651012"/>
                </a:lnTo>
                <a:lnTo>
                  <a:pt x="510222" y="650276"/>
                </a:lnTo>
                <a:lnTo>
                  <a:pt x="515565" y="648069"/>
                </a:lnTo>
                <a:lnTo>
                  <a:pt x="615286" y="590496"/>
                </a:lnTo>
                <a:lnTo>
                  <a:pt x="622125" y="586548"/>
                </a:lnTo>
                <a:lnTo>
                  <a:pt x="626707" y="583023"/>
                </a:lnTo>
                <a:lnTo>
                  <a:pt x="630164" y="578507"/>
                </a:lnTo>
                <a:lnTo>
                  <a:pt x="632346" y="573256"/>
                </a:lnTo>
                <a:lnTo>
                  <a:pt x="633106" y="567525"/>
                </a:lnTo>
                <a:lnTo>
                  <a:pt x="633106" y="516293"/>
                </a:lnTo>
                <a:lnTo>
                  <a:pt x="504583" y="590496"/>
                </a:lnTo>
                <a:lnTo>
                  <a:pt x="433108" y="549230"/>
                </a:lnTo>
                <a:lnTo>
                  <a:pt x="433145" y="464740"/>
                </a:lnTo>
                <a:lnTo>
                  <a:pt x="499308" y="426520"/>
                </a:lnTo>
                <a:lnTo>
                  <a:pt x="501872" y="425460"/>
                </a:lnTo>
                <a:lnTo>
                  <a:pt x="504583" y="425106"/>
                </a:lnTo>
                <a:lnTo>
                  <a:pt x="507296" y="425460"/>
                </a:lnTo>
                <a:lnTo>
                  <a:pt x="509864" y="426521"/>
                </a:lnTo>
                <a:lnTo>
                  <a:pt x="576057" y="464739"/>
                </a:lnTo>
                <a:lnTo>
                  <a:pt x="513471" y="500873"/>
                </a:lnTo>
                <a:lnTo>
                  <a:pt x="509147" y="502659"/>
                </a:lnTo>
                <a:lnTo>
                  <a:pt x="504583" y="503254"/>
                </a:lnTo>
                <a:lnTo>
                  <a:pt x="500020" y="502658"/>
                </a:lnTo>
                <a:lnTo>
                  <a:pt x="495696" y="500872"/>
                </a:lnTo>
                <a:lnTo>
                  <a:pt x="450924" y="475010"/>
                </a:lnTo>
                <a:lnTo>
                  <a:pt x="450893" y="538919"/>
                </a:lnTo>
                <a:lnTo>
                  <a:pt x="504583" y="569918"/>
                </a:lnTo>
                <a:lnTo>
                  <a:pt x="620048" y="503254"/>
                </a:lnTo>
                <a:lnTo>
                  <a:pt x="633106" y="495715"/>
                </a:lnTo>
                <a:lnTo>
                  <a:pt x="633106" y="444481"/>
                </a:lnTo>
                <a:lnTo>
                  <a:pt x="632346" y="438750"/>
                </a:lnTo>
                <a:lnTo>
                  <a:pt x="630164" y="433499"/>
                </a:lnTo>
                <a:lnTo>
                  <a:pt x="626707" y="428983"/>
                </a:lnTo>
                <a:lnTo>
                  <a:pt x="622124" y="425459"/>
                </a:lnTo>
                <a:lnTo>
                  <a:pt x="621513" y="425106"/>
                </a:lnTo>
                <a:lnTo>
                  <a:pt x="515565" y="363938"/>
                </a:lnTo>
                <a:lnTo>
                  <a:pt x="510222" y="361730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0979466" y="6276743"/>
            <a:ext cx="6681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BFD6761-EDAA-944D-A2FC-2B45754D91F9}" type="slidenum">
              <a:rPr lang="en-US" sz="900" smtClean="0">
                <a:solidFill>
                  <a:schemeClr val="bg1"/>
                </a:solidFill>
              </a:rPr>
              <a:pPr algn="r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4706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204246" y="6259394"/>
                </a:moveTo>
                <a:lnTo>
                  <a:pt x="11208993" y="6259686"/>
                </a:lnTo>
                <a:lnTo>
                  <a:pt x="11213576" y="6260565"/>
                </a:lnTo>
                <a:lnTo>
                  <a:pt x="11217936" y="6262035"/>
                </a:lnTo>
                <a:lnTo>
                  <a:pt x="11222012" y="6264099"/>
                </a:lnTo>
                <a:lnTo>
                  <a:pt x="11225741" y="6266762"/>
                </a:lnTo>
                <a:lnTo>
                  <a:pt x="11229064" y="6270028"/>
                </a:lnTo>
                <a:lnTo>
                  <a:pt x="11231919" y="6273900"/>
                </a:lnTo>
                <a:lnTo>
                  <a:pt x="11234246" y="6278382"/>
                </a:lnTo>
                <a:lnTo>
                  <a:pt x="11235984" y="6283480"/>
                </a:lnTo>
                <a:lnTo>
                  <a:pt x="11237071" y="6289195"/>
                </a:lnTo>
                <a:lnTo>
                  <a:pt x="11237447" y="6295533"/>
                </a:lnTo>
                <a:lnTo>
                  <a:pt x="11237071" y="6301878"/>
                </a:lnTo>
                <a:lnTo>
                  <a:pt x="11235984" y="6307612"/>
                </a:lnTo>
                <a:lnTo>
                  <a:pt x="11234246" y="6312737"/>
                </a:lnTo>
                <a:lnTo>
                  <a:pt x="11231919" y="6317255"/>
                </a:lnTo>
                <a:lnTo>
                  <a:pt x="11229064" y="6321166"/>
                </a:lnTo>
                <a:lnTo>
                  <a:pt x="11225741" y="6324471"/>
                </a:lnTo>
                <a:lnTo>
                  <a:pt x="11222012" y="6327173"/>
                </a:lnTo>
                <a:lnTo>
                  <a:pt x="11217936" y="6329272"/>
                </a:lnTo>
                <a:lnTo>
                  <a:pt x="11213576" y="6330770"/>
                </a:lnTo>
                <a:lnTo>
                  <a:pt x="11208993" y="6331667"/>
                </a:lnTo>
                <a:lnTo>
                  <a:pt x="11204246" y="6331966"/>
                </a:lnTo>
                <a:lnTo>
                  <a:pt x="11199572" y="6331661"/>
                </a:lnTo>
                <a:lnTo>
                  <a:pt x="11195049" y="6330746"/>
                </a:lnTo>
                <a:lnTo>
                  <a:pt x="11190737" y="6329224"/>
                </a:lnTo>
                <a:lnTo>
                  <a:pt x="11186699" y="6327099"/>
                </a:lnTo>
                <a:lnTo>
                  <a:pt x="11182998" y="6324372"/>
                </a:lnTo>
                <a:lnTo>
                  <a:pt x="11179695" y="6321047"/>
                </a:lnTo>
                <a:lnTo>
                  <a:pt x="11176854" y="6317125"/>
                </a:lnTo>
                <a:lnTo>
                  <a:pt x="11174535" y="6312611"/>
                </a:lnTo>
                <a:lnTo>
                  <a:pt x="11172802" y="6307505"/>
                </a:lnTo>
                <a:lnTo>
                  <a:pt x="11171716" y="6301812"/>
                </a:lnTo>
                <a:lnTo>
                  <a:pt x="11171341" y="6295533"/>
                </a:lnTo>
                <a:lnTo>
                  <a:pt x="11171716" y="6289195"/>
                </a:lnTo>
                <a:lnTo>
                  <a:pt x="11172802" y="6283480"/>
                </a:lnTo>
                <a:lnTo>
                  <a:pt x="11174535" y="6278382"/>
                </a:lnTo>
                <a:lnTo>
                  <a:pt x="11176854" y="6273900"/>
                </a:lnTo>
                <a:lnTo>
                  <a:pt x="11179695" y="6270028"/>
                </a:lnTo>
                <a:lnTo>
                  <a:pt x="11182998" y="6266762"/>
                </a:lnTo>
                <a:lnTo>
                  <a:pt x="11186699" y="6264099"/>
                </a:lnTo>
                <a:lnTo>
                  <a:pt x="11190737" y="6262035"/>
                </a:lnTo>
                <a:lnTo>
                  <a:pt x="11195049" y="6260565"/>
                </a:lnTo>
                <a:lnTo>
                  <a:pt x="11199572" y="6259686"/>
                </a:lnTo>
                <a:close/>
                <a:moveTo>
                  <a:pt x="11544423" y="6259394"/>
                </a:moveTo>
                <a:lnTo>
                  <a:pt x="11549030" y="6259679"/>
                </a:lnTo>
                <a:lnTo>
                  <a:pt x="11553513" y="6260541"/>
                </a:lnTo>
                <a:lnTo>
                  <a:pt x="11557805" y="6261987"/>
                </a:lnTo>
                <a:lnTo>
                  <a:pt x="11561840" y="6264024"/>
                </a:lnTo>
                <a:lnTo>
                  <a:pt x="11565552" y="6266662"/>
                </a:lnTo>
                <a:lnTo>
                  <a:pt x="11568875" y="6269908"/>
                </a:lnTo>
                <a:lnTo>
                  <a:pt x="11571742" y="6273769"/>
                </a:lnTo>
                <a:lnTo>
                  <a:pt x="11574087" y="6278255"/>
                </a:lnTo>
                <a:lnTo>
                  <a:pt x="11575844" y="6283371"/>
                </a:lnTo>
                <a:lnTo>
                  <a:pt x="11576947" y="6289128"/>
                </a:lnTo>
                <a:lnTo>
                  <a:pt x="11577329" y="6295532"/>
                </a:lnTo>
                <a:lnTo>
                  <a:pt x="11576947" y="6301944"/>
                </a:lnTo>
                <a:lnTo>
                  <a:pt x="11575844" y="6307720"/>
                </a:lnTo>
                <a:lnTo>
                  <a:pt x="11574087" y="6312865"/>
                </a:lnTo>
                <a:lnTo>
                  <a:pt x="11571742" y="6317385"/>
                </a:lnTo>
                <a:lnTo>
                  <a:pt x="11568875" y="6321285"/>
                </a:lnTo>
                <a:lnTo>
                  <a:pt x="11565552" y="6324571"/>
                </a:lnTo>
                <a:lnTo>
                  <a:pt x="11561840" y="6327247"/>
                </a:lnTo>
                <a:lnTo>
                  <a:pt x="11557805" y="6329319"/>
                </a:lnTo>
                <a:lnTo>
                  <a:pt x="11553513" y="6330793"/>
                </a:lnTo>
                <a:lnTo>
                  <a:pt x="11549030" y="6331673"/>
                </a:lnTo>
                <a:lnTo>
                  <a:pt x="11544423" y="6331966"/>
                </a:lnTo>
                <a:lnTo>
                  <a:pt x="11539882" y="6331667"/>
                </a:lnTo>
                <a:lnTo>
                  <a:pt x="11535440" y="6330769"/>
                </a:lnTo>
                <a:lnTo>
                  <a:pt x="11531168" y="6329272"/>
                </a:lnTo>
                <a:lnTo>
                  <a:pt x="11527135" y="6327173"/>
                </a:lnTo>
                <a:lnTo>
                  <a:pt x="11523413" y="6324471"/>
                </a:lnTo>
                <a:lnTo>
                  <a:pt x="11520070" y="6321166"/>
                </a:lnTo>
                <a:lnTo>
                  <a:pt x="11517178" y="6317255"/>
                </a:lnTo>
                <a:lnTo>
                  <a:pt x="11514806" y="6312737"/>
                </a:lnTo>
                <a:lnTo>
                  <a:pt x="11513025" y="6307612"/>
                </a:lnTo>
                <a:lnTo>
                  <a:pt x="11511905" y="6301878"/>
                </a:lnTo>
                <a:lnTo>
                  <a:pt x="11511516" y="6295532"/>
                </a:lnTo>
                <a:lnTo>
                  <a:pt x="11511905" y="6289128"/>
                </a:lnTo>
                <a:lnTo>
                  <a:pt x="11513025" y="6283371"/>
                </a:lnTo>
                <a:lnTo>
                  <a:pt x="11514806" y="6278255"/>
                </a:lnTo>
                <a:lnTo>
                  <a:pt x="11517178" y="6273769"/>
                </a:lnTo>
                <a:lnTo>
                  <a:pt x="11520070" y="6269908"/>
                </a:lnTo>
                <a:lnTo>
                  <a:pt x="11523413" y="6266662"/>
                </a:lnTo>
                <a:lnTo>
                  <a:pt x="11527135" y="6264024"/>
                </a:lnTo>
                <a:lnTo>
                  <a:pt x="11531168" y="6261987"/>
                </a:lnTo>
                <a:lnTo>
                  <a:pt x="11535440" y="6260541"/>
                </a:lnTo>
                <a:lnTo>
                  <a:pt x="11539882" y="6259679"/>
                </a:lnTo>
                <a:close/>
                <a:moveTo>
                  <a:pt x="11302246" y="6222669"/>
                </a:moveTo>
                <a:lnTo>
                  <a:pt x="11300707" y="6222979"/>
                </a:lnTo>
                <a:lnTo>
                  <a:pt x="11299449" y="6223827"/>
                </a:lnTo>
                <a:lnTo>
                  <a:pt x="11298602" y="6225084"/>
                </a:lnTo>
                <a:lnTo>
                  <a:pt x="11298291" y="6226624"/>
                </a:lnTo>
                <a:lnTo>
                  <a:pt x="11298291" y="6364736"/>
                </a:lnTo>
                <a:lnTo>
                  <a:pt x="11298602" y="6366276"/>
                </a:lnTo>
                <a:lnTo>
                  <a:pt x="11299449" y="6367533"/>
                </a:lnTo>
                <a:lnTo>
                  <a:pt x="11300707" y="6368380"/>
                </a:lnTo>
                <a:lnTo>
                  <a:pt x="11302246" y="6368691"/>
                </a:lnTo>
                <a:lnTo>
                  <a:pt x="11338992" y="6368691"/>
                </a:lnTo>
                <a:lnTo>
                  <a:pt x="11340533" y="6368380"/>
                </a:lnTo>
                <a:lnTo>
                  <a:pt x="11341790" y="6367533"/>
                </a:lnTo>
                <a:lnTo>
                  <a:pt x="11342638" y="6366276"/>
                </a:lnTo>
                <a:lnTo>
                  <a:pt x="11342949" y="6364736"/>
                </a:lnTo>
                <a:lnTo>
                  <a:pt x="11342949" y="6226624"/>
                </a:lnTo>
                <a:lnTo>
                  <a:pt x="11342638" y="6225084"/>
                </a:lnTo>
                <a:lnTo>
                  <a:pt x="11341790" y="6223827"/>
                </a:lnTo>
                <a:lnTo>
                  <a:pt x="11340533" y="6222979"/>
                </a:lnTo>
                <a:lnTo>
                  <a:pt x="11338992" y="6222669"/>
                </a:lnTo>
                <a:close/>
                <a:moveTo>
                  <a:pt x="11449736" y="6221200"/>
                </a:moveTo>
                <a:lnTo>
                  <a:pt x="11445047" y="6221434"/>
                </a:lnTo>
                <a:lnTo>
                  <a:pt x="11439931" y="6222191"/>
                </a:lnTo>
                <a:lnTo>
                  <a:pt x="11434594" y="6223555"/>
                </a:lnTo>
                <a:lnTo>
                  <a:pt x="11429243" y="6225607"/>
                </a:lnTo>
                <a:lnTo>
                  <a:pt x="11424086" y="6228430"/>
                </a:lnTo>
                <a:lnTo>
                  <a:pt x="11419327" y="6232107"/>
                </a:lnTo>
                <a:lnTo>
                  <a:pt x="11415175" y="6236721"/>
                </a:lnTo>
                <a:lnTo>
                  <a:pt x="11411835" y="6242354"/>
                </a:lnTo>
                <a:lnTo>
                  <a:pt x="11411835" y="6226623"/>
                </a:lnTo>
                <a:lnTo>
                  <a:pt x="11411524" y="6225084"/>
                </a:lnTo>
                <a:lnTo>
                  <a:pt x="11410676" y="6223827"/>
                </a:lnTo>
                <a:lnTo>
                  <a:pt x="11409418" y="6222979"/>
                </a:lnTo>
                <a:lnTo>
                  <a:pt x="11407878" y="6222668"/>
                </a:lnTo>
                <a:lnTo>
                  <a:pt x="11372602" y="6222668"/>
                </a:lnTo>
                <a:lnTo>
                  <a:pt x="11371061" y="6222979"/>
                </a:lnTo>
                <a:lnTo>
                  <a:pt x="11369804" y="6223827"/>
                </a:lnTo>
                <a:lnTo>
                  <a:pt x="11368957" y="6225084"/>
                </a:lnTo>
                <a:lnTo>
                  <a:pt x="11368646" y="6226623"/>
                </a:lnTo>
                <a:lnTo>
                  <a:pt x="11368646" y="6364735"/>
                </a:lnTo>
                <a:lnTo>
                  <a:pt x="11368957" y="6366276"/>
                </a:lnTo>
                <a:lnTo>
                  <a:pt x="11369804" y="6367533"/>
                </a:lnTo>
                <a:lnTo>
                  <a:pt x="11371061" y="6368381"/>
                </a:lnTo>
                <a:lnTo>
                  <a:pt x="11372602" y="6368692"/>
                </a:lnTo>
                <a:lnTo>
                  <a:pt x="11409348" y="6368692"/>
                </a:lnTo>
                <a:lnTo>
                  <a:pt x="11410888" y="6368381"/>
                </a:lnTo>
                <a:lnTo>
                  <a:pt x="11412145" y="6367533"/>
                </a:lnTo>
                <a:lnTo>
                  <a:pt x="11412993" y="6366276"/>
                </a:lnTo>
                <a:lnTo>
                  <a:pt x="11413303" y="6364735"/>
                </a:lnTo>
                <a:lnTo>
                  <a:pt x="11413303" y="6304933"/>
                </a:lnTo>
                <a:lnTo>
                  <a:pt x="11413693" y="6297452"/>
                </a:lnTo>
                <a:lnTo>
                  <a:pt x="11414819" y="6290850"/>
                </a:lnTo>
                <a:lnTo>
                  <a:pt x="11416617" y="6285091"/>
                </a:lnTo>
                <a:lnTo>
                  <a:pt x="11419022" y="6280141"/>
                </a:lnTo>
                <a:lnTo>
                  <a:pt x="11421968" y="6275965"/>
                </a:lnTo>
                <a:lnTo>
                  <a:pt x="11425391" y="6272527"/>
                </a:lnTo>
                <a:lnTo>
                  <a:pt x="11429226" y="6269793"/>
                </a:lnTo>
                <a:lnTo>
                  <a:pt x="11433408" y="6267727"/>
                </a:lnTo>
                <a:lnTo>
                  <a:pt x="11437872" y="6266295"/>
                </a:lnTo>
                <a:lnTo>
                  <a:pt x="11442553" y="6265462"/>
                </a:lnTo>
                <a:lnTo>
                  <a:pt x="11447386" y="6265192"/>
                </a:lnTo>
                <a:lnTo>
                  <a:pt x="11449597" y="6265218"/>
                </a:lnTo>
                <a:lnTo>
                  <a:pt x="11451716" y="6265305"/>
                </a:lnTo>
                <a:lnTo>
                  <a:pt x="11453796" y="6265462"/>
                </a:lnTo>
                <a:lnTo>
                  <a:pt x="11455857" y="6265697"/>
                </a:lnTo>
                <a:lnTo>
                  <a:pt x="11457426" y="6265604"/>
                </a:lnTo>
                <a:lnTo>
                  <a:pt x="11458297" y="6265192"/>
                </a:lnTo>
                <a:lnTo>
                  <a:pt x="11458795" y="6264956"/>
                </a:lnTo>
                <a:lnTo>
                  <a:pt x="11459818" y="6263848"/>
                </a:lnTo>
                <a:lnTo>
                  <a:pt x="11460354" y="6262378"/>
                </a:lnTo>
                <a:lnTo>
                  <a:pt x="11463366" y="6242354"/>
                </a:lnTo>
                <a:lnTo>
                  <a:pt x="11465659" y="6227104"/>
                </a:lnTo>
                <a:lnTo>
                  <a:pt x="11465597" y="6225591"/>
                </a:lnTo>
                <a:lnTo>
                  <a:pt x="11459257" y="6222042"/>
                </a:lnTo>
                <a:lnTo>
                  <a:pt x="11452556" y="6221301"/>
                </a:lnTo>
                <a:close/>
                <a:moveTo>
                  <a:pt x="11213355" y="6219143"/>
                </a:moveTo>
                <a:lnTo>
                  <a:pt x="11206593" y="6219468"/>
                </a:lnTo>
                <a:lnTo>
                  <a:pt x="11200240" y="6220396"/>
                </a:lnTo>
                <a:lnTo>
                  <a:pt x="11194334" y="6221852"/>
                </a:lnTo>
                <a:lnTo>
                  <a:pt x="11188914" y="6223766"/>
                </a:lnTo>
                <a:lnTo>
                  <a:pt x="11184018" y="6226065"/>
                </a:lnTo>
                <a:lnTo>
                  <a:pt x="11179687" y="6228675"/>
                </a:lnTo>
                <a:lnTo>
                  <a:pt x="11175957" y="6231525"/>
                </a:lnTo>
                <a:lnTo>
                  <a:pt x="11170459" y="6237653"/>
                </a:lnTo>
                <a:lnTo>
                  <a:pt x="11170459" y="6226624"/>
                </a:lnTo>
                <a:lnTo>
                  <a:pt x="11170148" y="6225084"/>
                </a:lnTo>
                <a:lnTo>
                  <a:pt x="11169300" y="6223827"/>
                </a:lnTo>
                <a:lnTo>
                  <a:pt x="11168042" y="6222979"/>
                </a:lnTo>
                <a:lnTo>
                  <a:pt x="11166502" y="6222668"/>
                </a:lnTo>
                <a:lnTo>
                  <a:pt x="11131225" y="6222668"/>
                </a:lnTo>
                <a:lnTo>
                  <a:pt x="11129685" y="6222979"/>
                </a:lnTo>
                <a:lnTo>
                  <a:pt x="11128427" y="6223827"/>
                </a:lnTo>
                <a:lnTo>
                  <a:pt x="11127579" y="6225084"/>
                </a:lnTo>
                <a:lnTo>
                  <a:pt x="11127268" y="6226624"/>
                </a:lnTo>
                <a:lnTo>
                  <a:pt x="11127268" y="6420559"/>
                </a:lnTo>
                <a:lnTo>
                  <a:pt x="11127579" y="6422099"/>
                </a:lnTo>
                <a:lnTo>
                  <a:pt x="11128427" y="6423356"/>
                </a:lnTo>
                <a:lnTo>
                  <a:pt x="11129685" y="6424204"/>
                </a:lnTo>
                <a:lnTo>
                  <a:pt x="11131225" y="6424514"/>
                </a:lnTo>
                <a:lnTo>
                  <a:pt x="11167971" y="6424514"/>
                </a:lnTo>
                <a:lnTo>
                  <a:pt x="11169511" y="6424204"/>
                </a:lnTo>
                <a:lnTo>
                  <a:pt x="11170768" y="6423356"/>
                </a:lnTo>
                <a:lnTo>
                  <a:pt x="11171616" y="6422099"/>
                </a:lnTo>
                <a:lnTo>
                  <a:pt x="11171927" y="6420559"/>
                </a:lnTo>
                <a:lnTo>
                  <a:pt x="11171927" y="6357233"/>
                </a:lnTo>
                <a:lnTo>
                  <a:pt x="11174801" y="6360226"/>
                </a:lnTo>
                <a:lnTo>
                  <a:pt x="11178332" y="6362999"/>
                </a:lnTo>
                <a:lnTo>
                  <a:pt x="11182489" y="6365496"/>
                </a:lnTo>
                <a:lnTo>
                  <a:pt x="11187242" y="6367663"/>
                </a:lnTo>
                <a:lnTo>
                  <a:pt x="11192560" y="6369445"/>
                </a:lnTo>
                <a:lnTo>
                  <a:pt x="11198411" y="6370786"/>
                </a:lnTo>
                <a:lnTo>
                  <a:pt x="11204765" y="6371631"/>
                </a:lnTo>
                <a:lnTo>
                  <a:pt x="11211591" y="6371925"/>
                </a:lnTo>
                <a:lnTo>
                  <a:pt x="11217084" y="6371728"/>
                </a:lnTo>
                <a:lnTo>
                  <a:pt x="11222418" y="6371145"/>
                </a:lnTo>
                <a:lnTo>
                  <a:pt x="11227584" y="6370187"/>
                </a:lnTo>
                <a:lnTo>
                  <a:pt x="11232572" y="6368865"/>
                </a:lnTo>
                <a:lnTo>
                  <a:pt x="11237373" y="6367189"/>
                </a:lnTo>
                <a:lnTo>
                  <a:pt x="11241978" y="6365172"/>
                </a:lnTo>
                <a:lnTo>
                  <a:pt x="11246376" y="6362822"/>
                </a:lnTo>
                <a:lnTo>
                  <a:pt x="11250560" y="6360153"/>
                </a:lnTo>
                <a:lnTo>
                  <a:pt x="11254438" y="6357233"/>
                </a:lnTo>
                <a:lnTo>
                  <a:pt x="11258242" y="6353895"/>
                </a:lnTo>
                <a:lnTo>
                  <a:pt x="11261723" y="6350329"/>
                </a:lnTo>
                <a:lnTo>
                  <a:pt x="11264950" y="6346487"/>
                </a:lnTo>
                <a:lnTo>
                  <a:pt x="11267915" y="6342378"/>
                </a:lnTo>
                <a:lnTo>
                  <a:pt x="11270608" y="6338015"/>
                </a:lnTo>
                <a:lnTo>
                  <a:pt x="11273019" y="6333407"/>
                </a:lnTo>
                <a:lnTo>
                  <a:pt x="11273650" y="6331966"/>
                </a:lnTo>
                <a:lnTo>
                  <a:pt x="11276960" y="6323504"/>
                </a:lnTo>
                <a:lnTo>
                  <a:pt x="11278470" y="6318230"/>
                </a:lnTo>
                <a:lnTo>
                  <a:pt x="11279664" y="6312737"/>
                </a:lnTo>
                <a:lnTo>
                  <a:pt x="11280524" y="6307092"/>
                </a:lnTo>
                <a:lnTo>
                  <a:pt x="11281048" y="6301250"/>
                </a:lnTo>
                <a:lnTo>
                  <a:pt x="11281225" y="6295240"/>
                </a:lnTo>
                <a:lnTo>
                  <a:pt x="11281067" y="6289343"/>
                </a:lnTo>
                <a:lnTo>
                  <a:pt x="11280598" y="6283600"/>
                </a:lnTo>
                <a:lnTo>
                  <a:pt x="11279821" y="6278023"/>
                </a:lnTo>
                <a:lnTo>
                  <a:pt x="11278743" y="6272623"/>
                </a:lnTo>
                <a:lnTo>
                  <a:pt x="11277367" y="6267412"/>
                </a:lnTo>
                <a:lnTo>
                  <a:pt x="11275700" y="6262402"/>
                </a:lnTo>
                <a:lnTo>
                  <a:pt x="11274475" y="6259394"/>
                </a:lnTo>
                <a:lnTo>
                  <a:pt x="11273745" y="6257604"/>
                </a:lnTo>
                <a:lnTo>
                  <a:pt x="11271508" y="6253031"/>
                </a:lnTo>
                <a:lnTo>
                  <a:pt x="11268995" y="6248694"/>
                </a:lnTo>
                <a:lnTo>
                  <a:pt x="11266209" y="6244604"/>
                </a:lnTo>
                <a:lnTo>
                  <a:pt x="11263156" y="6240775"/>
                </a:lnTo>
                <a:lnTo>
                  <a:pt x="11260246" y="6237653"/>
                </a:lnTo>
                <a:lnTo>
                  <a:pt x="11256267" y="6233941"/>
                </a:lnTo>
                <a:lnTo>
                  <a:pt x="11252442" y="6230961"/>
                </a:lnTo>
                <a:lnTo>
                  <a:pt x="11248370" y="6228287"/>
                </a:lnTo>
                <a:lnTo>
                  <a:pt x="11244055" y="6225931"/>
                </a:lnTo>
                <a:lnTo>
                  <a:pt x="11239503" y="6223906"/>
                </a:lnTo>
                <a:lnTo>
                  <a:pt x="11234718" y="6222223"/>
                </a:lnTo>
                <a:lnTo>
                  <a:pt x="11229706" y="6220893"/>
                </a:lnTo>
                <a:lnTo>
                  <a:pt x="11224472" y="6219929"/>
                </a:lnTo>
                <a:lnTo>
                  <a:pt x="11219020" y="6219341"/>
                </a:lnTo>
                <a:close/>
                <a:moveTo>
                  <a:pt x="11711671" y="6218262"/>
                </a:moveTo>
                <a:lnTo>
                  <a:pt x="11706128" y="6218442"/>
                </a:lnTo>
                <a:lnTo>
                  <a:pt x="11700697" y="6218976"/>
                </a:lnTo>
                <a:lnTo>
                  <a:pt x="11695392" y="6219855"/>
                </a:lnTo>
                <a:lnTo>
                  <a:pt x="11690223" y="6221070"/>
                </a:lnTo>
                <a:lnTo>
                  <a:pt x="11685205" y="6222612"/>
                </a:lnTo>
                <a:lnTo>
                  <a:pt x="11680348" y="6224472"/>
                </a:lnTo>
                <a:lnTo>
                  <a:pt x="11675667" y="6226639"/>
                </a:lnTo>
                <a:lnTo>
                  <a:pt x="11671172" y="6229106"/>
                </a:lnTo>
                <a:lnTo>
                  <a:pt x="11666878" y="6231864"/>
                </a:lnTo>
                <a:lnTo>
                  <a:pt x="11662795" y="6234902"/>
                </a:lnTo>
                <a:lnTo>
                  <a:pt x="11658937" y="6238213"/>
                </a:lnTo>
                <a:lnTo>
                  <a:pt x="11655316" y="6241786"/>
                </a:lnTo>
                <a:lnTo>
                  <a:pt x="11651945" y="6245613"/>
                </a:lnTo>
                <a:lnTo>
                  <a:pt x="11648835" y="6249684"/>
                </a:lnTo>
                <a:lnTo>
                  <a:pt x="11646000" y="6253991"/>
                </a:lnTo>
                <a:lnTo>
                  <a:pt x="11643452" y="6258524"/>
                </a:lnTo>
                <a:lnTo>
                  <a:pt x="11641203" y="6263275"/>
                </a:lnTo>
                <a:lnTo>
                  <a:pt x="11639260" y="6268251"/>
                </a:lnTo>
                <a:lnTo>
                  <a:pt x="11637653" y="6273391"/>
                </a:lnTo>
                <a:lnTo>
                  <a:pt x="11636377" y="6278738"/>
                </a:lnTo>
                <a:lnTo>
                  <a:pt x="11635450" y="6284266"/>
                </a:lnTo>
                <a:lnTo>
                  <a:pt x="11634885" y="6289965"/>
                </a:lnTo>
                <a:lnTo>
                  <a:pt x="11634694" y="6295827"/>
                </a:lnTo>
                <a:lnTo>
                  <a:pt x="11634874" y="6301413"/>
                </a:lnTo>
                <a:lnTo>
                  <a:pt x="11635407" y="6306852"/>
                </a:lnTo>
                <a:lnTo>
                  <a:pt x="11636281" y="6312138"/>
                </a:lnTo>
                <a:lnTo>
                  <a:pt x="11637485" y="6317261"/>
                </a:lnTo>
                <a:lnTo>
                  <a:pt x="11639007" y="6322214"/>
                </a:lnTo>
                <a:lnTo>
                  <a:pt x="11640836" y="6326989"/>
                </a:lnTo>
                <a:lnTo>
                  <a:pt x="11642960" y="6331577"/>
                </a:lnTo>
                <a:lnTo>
                  <a:pt x="11645368" y="6335970"/>
                </a:lnTo>
                <a:lnTo>
                  <a:pt x="11648049" y="6340160"/>
                </a:lnTo>
                <a:lnTo>
                  <a:pt x="11650990" y="6344138"/>
                </a:lnTo>
                <a:lnTo>
                  <a:pt x="11654181" y="6347898"/>
                </a:lnTo>
                <a:lnTo>
                  <a:pt x="11657610" y="6351430"/>
                </a:lnTo>
                <a:lnTo>
                  <a:pt x="11661266" y="6354726"/>
                </a:lnTo>
                <a:lnTo>
                  <a:pt x="11665136" y="6357778"/>
                </a:lnTo>
                <a:lnTo>
                  <a:pt x="11669210" y="6360579"/>
                </a:lnTo>
                <a:lnTo>
                  <a:pt x="11673475" y="6363119"/>
                </a:lnTo>
                <a:lnTo>
                  <a:pt x="11677922" y="6365391"/>
                </a:lnTo>
                <a:lnTo>
                  <a:pt x="11682538" y="6367387"/>
                </a:lnTo>
                <a:lnTo>
                  <a:pt x="11687311" y="6369098"/>
                </a:lnTo>
                <a:lnTo>
                  <a:pt x="11692230" y="6370516"/>
                </a:lnTo>
                <a:lnTo>
                  <a:pt x="11697284" y="6371633"/>
                </a:lnTo>
                <a:lnTo>
                  <a:pt x="11702461" y="6372441"/>
                </a:lnTo>
                <a:lnTo>
                  <a:pt x="11707750" y="6372932"/>
                </a:lnTo>
                <a:lnTo>
                  <a:pt x="11713139" y="6373098"/>
                </a:lnTo>
                <a:lnTo>
                  <a:pt x="11719933" y="6372836"/>
                </a:lnTo>
                <a:lnTo>
                  <a:pt x="11726407" y="6372073"/>
                </a:lnTo>
                <a:lnTo>
                  <a:pt x="11732558" y="6370839"/>
                </a:lnTo>
                <a:lnTo>
                  <a:pt x="11738383" y="6369166"/>
                </a:lnTo>
                <a:lnTo>
                  <a:pt x="11743879" y="6367085"/>
                </a:lnTo>
                <a:lnTo>
                  <a:pt x="11749042" y="6364626"/>
                </a:lnTo>
                <a:lnTo>
                  <a:pt x="11753869" y="6361822"/>
                </a:lnTo>
                <a:lnTo>
                  <a:pt x="11758356" y="6358704"/>
                </a:lnTo>
                <a:lnTo>
                  <a:pt x="11762502" y="6355302"/>
                </a:lnTo>
                <a:lnTo>
                  <a:pt x="11766300" y="6351649"/>
                </a:lnTo>
                <a:lnTo>
                  <a:pt x="11769750" y="6347774"/>
                </a:lnTo>
                <a:lnTo>
                  <a:pt x="11772847" y="6343710"/>
                </a:lnTo>
                <a:lnTo>
                  <a:pt x="11775588" y="6339489"/>
                </a:lnTo>
                <a:lnTo>
                  <a:pt x="11777970" y="6335140"/>
                </a:lnTo>
                <a:lnTo>
                  <a:pt x="11779412" y="6331966"/>
                </a:lnTo>
                <a:lnTo>
                  <a:pt x="11779990" y="6330695"/>
                </a:lnTo>
                <a:lnTo>
                  <a:pt x="11781643" y="6326186"/>
                </a:lnTo>
                <a:lnTo>
                  <a:pt x="11781827" y="6324591"/>
                </a:lnTo>
                <a:lnTo>
                  <a:pt x="11781400" y="6323105"/>
                </a:lnTo>
                <a:lnTo>
                  <a:pt x="11780444" y="6321894"/>
                </a:lnTo>
                <a:lnTo>
                  <a:pt x="11779040" y="6321126"/>
                </a:lnTo>
                <a:lnTo>
                  <a:pt x="11746983" y="6311318"/>
                </a:lnTo>
                <a:lnTo>
                  <a:pt x="11745523" y="6311159"/>
                </a:lnTo>
                <a:lnTo>
                  <a:pt x="11744153" y="6311529"/>
                </a:lnTo>
                <a:lnTo>
                  <a:pt x="11743000" y="6312363"/>
                </a:lnTo>
                <a:lnTo>
                  <a:pt x="11742187" y="6313593"/>
                </a:lnTo>
                <a:lnTo>
                  <a:pt x="11740100" y="6317646"/>
                </a:lnTo>
                <a:lnTo>
                  <a:pt x="11737350" y="6321451"/>
                </a:lnTo>
                <a:lnTo>
                  <a:pt x="11733922" y="6324871"/>
                </a:lnTo>
                <a:lnTo>
                  <a:pt x="11729802" y="6327770"/>
                </a:lnTo>
                <a:lnTo>
                  <a:pt x="11724975" y="6330010"/>
                </a:lnTo>
                <a:lnTo>
                  <a:pt x="11719425" y="6331454"/>
                </a:lnTo>
                <a:lnTo>
                  <a:pt x="11713139" y="6331966"/>
                </a:lnTo>
                <a:lnTo>
                  <a:pt x="11708174" y="6331647"/>
                </a:lnTo>
                <a:lnTo>
                  <a:pt x="11703411" y="6330700"/>
                </a:lnTo>
                <a:lnTo>
                  <a:pt x="11698908" y="6329135"/>
                </a:lnTo>
                <a:lnTo>
                  <a:pt x="11694720" y="6326965"/>
                </a:lnTo>
                <a:lnTo>
                  <a:pt x="11690907" y="6324201"/>
                </a:lnTo>
                <a:lnTo>
                  <a:pt x="11687524" y="6320856"/>
                </a:lnTo>
                <a:lnTo>
                  <a:pt x="11684628" y="6316942"/>
                </a:lnTo>
                <a:lnTo>
                  <a:pt x="11682276" y="6312470"/>
                </a:lnTo>
                <a:lnTo>
                  <a:pt x="11680526" y="6307452"/>
                </a:lnTo>
                <a:lnTo>
                  <a:pt x="11679434" y="6301900"/>
                </a:lnTo>
                <a:lnTo>
                  <a:pt x="11679058" y="6295827"/>
                </a:lnTo>
                <a:lnTo>
                  <a:pt x="11679421" y="6289681"/>
                </a:lnTo>
                <a:lnTo>
                  <a:pt x="11680475" y="6284069"/>
                </a:lnTo>
                <a:lnTo>
                  <a:pt x="11682169" y="6279003"/>
                </a:lnTo>
                <a:lnTo>
                  <a:pt x="11684451" y="6274494"/>
                </a:lnTo>
                <a:lnTo>
                  <a:pt x="11687270" y="6270551"/>
                </a:lnTo>
                <a:lnTo>
                  <a:pt x="11690573" y="6267186"/>
                </a:lnTo>
                <a:lnTo>
                  <a:pt x="11694309" y="6264409"/>
                </a:lnTo>
                <a:lnTo>
                  <a:pt x="11698427" y="6262231"/>
                </a:lnTo>
                <a:lnTo>
                  <a:pt x="11702875" y="6260662"/>
                </a:lnTo>
                <a:lnTo>
                  <a:pt x="11707601" y="6259713"/>
                </a:lnTo>
                <a:lnTo>
                  <a:pt x="11712553" y="6259394"/>
                </a:lnTo>
                <a:lnTo>
                  <a:pt x="11718800" y="6259893"/>
                </a:lnTo>
                <a:lnTo>
                  <a:pt x="11724246" y="6261308"/>
                </a:lnTo>
                <a:lnTo>
                  <a:pt x="11728926" y="6263511"/>
                </a:lnTo>
                <a:lnTo>
                  <a:pt x="11732880" y="6266378"/>
                </a:lnTo>
                <a:lnTo>
                  <a:pt x="11736143" y="6269782"/>
                </a:lnTo>
                <a:lnTo>
                  <a:pt x="11738753" y="6273597"/>
                </a:lnTo>
                <a:lnTo>
                  <a:pt x="11740746" y="6277699"/>
                </a:lnTo>
                <a:lnTo>
                  <a:pt x="11741546" y="6278954"/>
                </a:lnTo>
                <a:lnTo>
                  <a:pt x="11742701" y="6279811"/>
                </a:lnTo>
                <a:lnTo>
                  <a:pt x="11744080" y="6280197"/>
                </a:lnTo>
                <a:lnTo>
                  <a:pt x="11745555" y="6280044"/>
                </a:lnTo>
                <a:lnTo>
                  <a:pt x="11778166" y="6270214"/>
                </a:lnTo>
                <a:lnTo>
                  <a:pt x="11779570" y="6269454"/>
                </a:lnTo>
                <a:lnTo>
                  <a:pt x="11780530" y="6268251"/>
                </a:lnTo>
                <a:lnTo>
                  <a:pt x="11780965" y="6266770"/>
                </a:lnTo>
                <a:lnTo>
                  <a:pt x="11780793" y="6265177"/>
                </a:lnTo>
                <a:lnTo>
                  <a:pt x="11779264" y="6260857"/>
                </a:lnTo>
                <a:lnTo>
                  <a:pt x="11778627" y="6259394"/>
                </a:lnTo>
                <a:lnTo>
                  <a:pt x="11777416" y="6256610"/>
                </a:lnTo>
                <a:lnTo>
                  <a:pt x="11775250" y="6252461"/>
                </a:lnTo>
                <a:lnTo>
                  <a:pt x="11772766" y="6248434"/>
                </a:lnTo>
                <a:lnTo>
                  <a:pt x="11769964" y="6244554"/>
                </a:lnTo>
                <a:lnTo>
                  <a:pt x="11766845" y="6240845"/>
                </a:lnTo>
                <a:lnTo>
                  <a:pt x="11763409" y="6237330"/>
                </a:lnTo>
                <a:lnTo>
                  <a:pt x="11759656" y="6234035"/>
                </a:lnTo>
                <a:lnTo>
                  <a:pt x="11755586" y="6230984"/>
                </a:lnTo>
                <a:lnTo>
                  <a:pt x="11751200" y="6228201"/>
                </a:lnTo>
                <a:lnTo>
                  <a:pt x="11746498" y="6225710"/>
                </a:lnTo>
                <a:lnTo>
                  <a:pt x="11741481" y="6223535"/>
                </a:lnTo>
                <a:lnTo>
                  <a:pt x="11736148" y="6221702"/>
                </a:lnTo>
                <a:lnTo>
                  <a:pt x="11730501" y="6220233"/>
                </a:lnTo>
                <a:lnTo>
                  <a:pt x="11724538" y="6219154"/>
                </a:lnTo>
                <a:lnTo>
                  <a:pt x="11718262" y="6218489"/>
                </a:lnTo>
                <a:close/>
                <a:moveTo>
                  <a:pt x="11544423" y="6218262"/>
                </a:moveTo>
                <a:lnTo>
                  <a:pt x="11538806" y="6218442"/>
                </a:lnTo>
                <a:lnTo>
                  <a:pt x="11533309" y="6218976"/>
                </a:lnTo>
                <a:lnTo>
                  <a:pt x="11527942" y="6219855"/>
                </a:lnTo>
                <a:lnTo>
                  <a:pt x="11522719" y="6221069"/>
                </a:lnTo>
                <a:lnTo>
                  <a:pt x="11517650" y="6222609"/>
                </a:lnTo>
                <a:lnTo>
                  <a:pt x="11512750" y="6224466"/>
                </a:lnTo>
                <a:lnTo>
                  <a:pt x="11508029" y="6226631"/>
                </a:lnTo>
                <a:lnTo>
                  <a:pt x="11503500" y="6229094"/>
                </a:lnTo>
                <a:lnTo>
                  <a:pt x="11499174" y="6231846"/>
                </a:lnTo>
                <a:lnTo>
                  <a:pt x="11495065" y="6234878"/>
                </a:lnTo>
                <a:lnTo>
                  <a:pt x="11491185" y="6238180"/>
                </a:lnTo>
                <a:lnTo>
                  <a:pt x="11487545" y="6241744"/>
                </a:lnTo>
                <a:lnTo>
                  <a:pt x="11484157" y="6245559"/>
                </a:lnTo>
                <a:lnTo>
                  <a:pt x="11481035" y="6249617"/>
                </a:lnTo>
                <a:lnTo>
                  <a:pt x="11478189" y="6253909"/>
                </a:lnTo>
                <a:lnTo>
                  <a:pt x="11475632" y="6258425"/>
                </a:lnTo>
                <a:lnTo>
                  <a:pt x="11473378" y="6263156"/>
                </a:lnTo>
                <a:lnTo>
                  <a:pt x="11471436" y="6268092"/>
                </a:lnTo>
                <a:lnTo>
                  <a:pt x="11469820" y="6273224"/>
                </a:lnTo>
                <a:lnTo>
                  <a:pt x="11468542" y="6278544"/>
                </a:lnTo>
                <a:lnTo>
                  <a:pt x="11467614" y="6284041"/>
                </a:lnTo>
                <a:lnTo>
                  <a:pt x="11467049" y="6289707"/>
                </a:lnTo>
                <a:lnTo>
                  <a:pt x="11466858" y="6295532"/>
                </a:lnTo>
                <a:lnTo>
                  <a:pt x="11467033" y="6301120"/>
                </a:lnTo>
                <a:lnTo>
                  <a:pt x="11467553" y="6306564"/>
                </a:lnTo>
                <a:lnTo>
                  <a:pt x="11468407" y="6311856"/>
                </a:lnTo>
                <a:lnTo>
                  <a:pt x="11469584" y="6316989"/>
                </a:lnTo>
                <a:lnTo>
                  <a:pt x="11471072" y="6321953"/>
                </a:lnTo>
                <a:lnTo>
                  <a:pt x="11472862" y="6326741"/>
                </a:lnTo>
                <a:lnTo>
                  <a:pt x="11474943" y="6331343"/>
                </a:lnTo>
                <a:lnTo>
                  <a:pt x="11477304" y="6335752"/>
                </a:lnTo>
                <a:lnTo>
                  <a:pt x="11479934" y="6339959"/>
                </a:lnTo>
                <a:lnTo>
                  <a:pt x="11482823" y="6343955"/>
                </a:lnTo>
                <a:lnTo>
                  <a:pt x="11485960" y="6347733"/>
                </a:lnTo>
                <a:lnTo>
                  <a:pt x="11489334" y="6351283"/>
                </a:lnTo>
                <a:lnTo>
                  <a:pt x="11492934" y="6354597"/>
                </a:lnTo>
                <a:lnTo>
                  <a:pt x="11496750" y="6357668"/>
                </a:lnTo>
                <a:lnTo>
                  <a:pt x="11500772" y="6360486"/>
                </a:lnTo>
                <a:lnTo>
                  <a:pt x="11504987" y="6363043"/>
                </a:lnTo>
                <a:lnTo>
                  <a:pt x="11509386" y="6365331"/>
                </a:lnTo>
                <a:lnTo>
                  <a:pt x="11513959" y="6367341"/>
                </a:lnTo>
                <a:lnTo>
                  <a:pt x="11518693" y="6369065"/>
                </a:lnTo>
                <a:lnTo>
                  <a:pt x="11523579" y="6370494"/>
                </a:lnTo>
                <a:lnTo>
                  <a:pt x="11528605" y="6371621"/>
                </a:lnTo>
                <a:lnTo>
                  <a:pt x="11533762" y="6372436"/>
                </a:lnTo>
                <a:lnTo>
                  <a:pt x="11539038" y="6372931"/>
                </a:lnTo>
                <a:lnTo>
                  <a:pt x="11544423" y="6373098"/>
                </a:lnTo>
                <a:lnTo>
                  <a:pt x="11549841" y="6372931"/>
                </a:lnTo>
                <a:lnTo>
                  <a:pt x="11555145" y="6372436"/>
                </a:lnTo>
                <a:lnTo>
                  <a:pt x="11560325" y="6371621"/>
                </a:lnTo>
                <a:lnTo>
                  <a:pt x="11565369" y="6370494"/>
                </a:lnTo>
                <a:lnTo>
                  <a:pt x="11570268" y="6369065"/>
                </a:lnTo>
                <a:lnTo>
                  <a:pt x="11575011" y="6367341"/>
                </a:lnTo>
                <a:lnTo>
                  <a:pt x="11579589" y="6365331"/>
                </a:lnTo>
                <a:lnTo>
                  <a:pt x="11583989" y="6363043"/>
                </a:lnTo>
                <a:lnTo>
                  <a:pt x="11588204" y="6360486"/>
                </a:lnTo>
                <a:lnTo>
                  <a:pt x="11592221" y="6357668"/>
                </a:lnTo>
                <a:lnTo>
                  <a:pt x="11596031" y="6354597"/>
                </a:lnTo>
                <a:lnTo>
                  <a:pt x="11599623" y="6351283"/>
                </a:lnTo>
                <a:lnTo>
                  <a:pt x="11602987" y="6347733"/>
                </a:lnTo>
                <a:lnTo>
                  <a:pt x="11606113" y="6343955"/>
                </a:lnTo>
                <a:lnTo>
                  <a:pt x="11608990" y="6339959"/>
                </a:lnTo>
                <a:lnTo>
                  <a:pt x="11611608" y="6335752"/>
                </a:lnTo>
                <a:lnTo>
                  <a:pt x="11613625" y="6331966"/>
                </a:lnTo>
                <a:lnTo>
                  <a:pt x="11616026" y="6326741"/>
                </a:lnTo>
                <a:lnTo>
                  <a:pt x="11617805" y="6321953"/>
                </a:lnTo>
                <a:lnTo>
                  <a:pt x="11619284" y="6316989"/>
                </a:lnTo>
                <a:lnTo>
                  <a:pt x="11620452" y="6311856"/>
                </a:lnTo>
                <a:lnTo>
                  <a:pt x="11621299" y="6306564"/>
                </a:lnTo>
                <a:lnTo>
                  <a:pt x="11621815" y="6301120"/>
                </a:lnTo>
                <a:lnTo>
                  <a:pt x="11621989" y="6295532"/>
                </a:lnTo>
                <a:lnTo>
                  <a:pt x="11621800" y="6289707"/>
                </a:lnTo>
                <a:lnTo>
                  <a:pt x="11621238" y="6284041"/>
                </a:lnTo>
                <a:lnTo>
                  <a:pt x="11620317" y="6278544"/>
                </a:lnTo>
                <a:lnTo>
                  <a:pt x="11619049" y="6273224"/>
                </a:lnTo>
                <a:lnTo>
                  <a:pt x="11617443" y="6268092"/>
                </a:lnTo>
                <a:lnTo>
                  <a:pt x="11615514" y="6263156"/>
                </a:lnTo>
                <a:lnTo>
                  <a:pt x="11613730" y="6259394"/>
                </a:lnTo>
                <a:lnTo>
                  <a:pt x="11613271" y="6258425"/>
                </a:lnTo>
                <a:lnTo>
                  <a:pt x="11610727" y="6253909"/>
                </a:lnTo>
                <a:lnTo>
                  <a:pt x="11607894" y="6249617"/>
                </a:lnTo>
                <a:lnTo>
                  <a:pt x="11604784" y="6245559"/>
                </a:lnTo>
                <a:lnTo>
                  <a:pt x="11601407" y="6241744"/>
                </a:lnTo>
                <a:lnTo>
                  <a:pt x="11597776" y="6238180"/>
                </a:lnTo>
                <a:lnTo>
                  <a:pt x="11593903" y="6234878"/>
                </a:lnTo>
                <a:lnTo>
                  <a:pt x="11589800" y="6231846"/>
                </a:lnTo>
                <a:lnTo>
                  <a:pt x="11585477" y="6229094"/>
                </a:lnTo>
                <a:lnTo>
                  <a:pt x="11580947" y="6226631"/>
                </a:lnTo>
                <a:lnTo>
                  <a:pt x="11576222" y="6224466"/>
                </a:lnTo>
                <a:lnTo>
                  <a:pt x="11571313" y="6222609"/>
                </a:lnTo>
                <a:lnTo>
                  <a:pt x="11566232" y="6221069"/>
                </a:lnTo>
                <a:lnTo>
                  <a:pt x="11560991" y="6219855"/>
                </a:lnTo>
                <a:lnTo>
                  <a:pt x="11555601" y="6218976"/>
                </a:lnTo>
                <a:lnTo>
                  <a:pt x="11550074" y="6218442"/>
                </a:lnTo>
                <a:close/>
                <a:moveTo>
                  <a:pt x="10979638" y="6160381"/>
                </a:moveTo>
                <a:lnTo>
                  <a:pt x="10978099" y="6160692"/>
                </a:lnTo>
                <a:lnTo>
                  <a:pt x="10976841" y="6161539"/>
                </a:lnTo>
                <a:lnTo>
                  <a:pt x="10975994" y="6162797"/>
                </a:lnTo>
                <a:lnTo>
                  <a:pt x="10975683" y="6164336"/>
                </a:lnTo>
                <a:lnTo>
                  <a:pt x="10975683" y="6364736"/>
                </a:lnTo>
                <a:lnTo>
                  <a:pt x="10975994" y="6366276"/>
                </a:lnTo>
                <a:lnTo>
                  <a:pt x="10976841" y="6367533"/>
                </a:lnTo>
                <a:lnTo>
                  <a:pt x="10978099" y="6368380"/>
                </a:lnTo>
                <a:lnTo>
                  <a:pt x="10979638" y="6368691"/>
                </a:lnTo>
                <a:lnTo>
                  <a:pt x="11103940" y="6368691"/>
                </a:lnTo>
                <a:lnTo>
                  <a:pt x="11105480" y="6368380"/>
                </a:lnTo>
                <a:lnTo>
                  <a:pt x="11106737" y="6367533"/>
                </a:lnTo>
                <a:lnTo>
                  <a:pt x="11107585" y="6366276"/>
                </a:lnTo>
                <a:lnTo>
                  <a:pt x="11107896" y="6364736"/>
                </a:lnTo>
                <a:lnTo>
                  <a:pt x="11107896" y="6328575"/>
                </a:lnTo>
                <a:lnTo>
                  <a:pt x="11105480" y="6324931"/>
                </a:lnTo>
                <a:lnTo>
                  <a:pt x="11026059" y="6324620"/>
                </a:lnTo>
                <a:lnTo>
                  <a:pt x="11024520" y="6324309"/>
                </a:lnTo>
                <a:lnTo>
                  <a:pt x="11023263" y="6323461"/>
                </a:lnTo>
                <a:lnTo>
                  <a:pt x="11022415" y="6322204"/>
                </a:lnTo>
                <a:lnTo>
                  <a:pt x="11022104" y="6320665"/>
                </a:lnTo>
                <a:lnTo>
                  <a:pt x="11022104" y="6288617"/>
                </a:lnTo>
                <a:lnTo>
                  <a:pt x="11022415" y="6287078"/>
                </a:lnTo>
                <a:lnTo>
                  <a:pt x="11023263" y="6285820"/>
                </a:lnTo>
                <a:lnTo>
                  <a:pt x="11024520" y="6284973"/>
                </a:lnTo>
                <a:lnTo>
                  <a:pt x="11026059" y="6284662"/>
                </a:lnTo>
                <a:lnTo>
                  <a:pt x="11095712" y="6284662"/>
                </a:lnTo>
                <a:lnTo>
                  <a:pt x="11097252" y="6284351"/>
                </a:lnTo>
                <a:lnTo>
                  <a:pt x="11098510" y="6283503"/>
                </a:lnTo>
                <a:lnTo>
                  <a:pt x="11099358" y="6282246"/>
                </a:lnTo>
                <a:lnTo>
                  <a:pt x="11099669" y="6280706"/>
                </a:lnTo>
                <a:lnTo>
                  <a:pt x="11099669" y="6247778"/>
                </a:lnTo>
                <a:lnTo>
                  <a:pt x="11099358" y="6246239"/>
                </a:lnTo>
                <a:lnTo>
                  <a:pt x="11098510" y="6244981"/>
                </a:lnTo>
                <a:lnTo>
                  <a:pt x="11097252" y="6244134"/>
                </a:lnTo>
                <a:lnTo>
                  <a:pt x="11095712" y="6243823"/>
                </a:lnTo>
                <a:lnTo>
                  <a:pt x="11026059" y="6243823"/>
                </a:lnTo>
                <a:lnTo>
                  <a:pt x="11024520" y="6243512"/>
                </a:lnTo>
                <a:lnTo>
                  <a:pt x="11023263" y="6242665"/>
                </a:lnTo>
                <a:lnTo>
                  <a:pt x="11022415" y="6241407"/>
                </a:lnTo>
                <a:lnTo>
                  <a:pt x="11022104" y="6239867"/>
                </a:lnTo>
                <a:lnTo>
                  <a:pt x="11022104" y="6208114"/>
                </a:lnTo>
                <a:lnTo>
                  <a:pt x="11022415" y="6206575"/>
                </a:lnTo>
                <a:lnTo>
                  <a:pt x="11023263" y="6205317"/>
                </a:lnTo>
                <a:lnTo>
                  <a:pt x="11024520" y="6204470"/>
                </a:lnTo>
                <a:lnTo>
                  <a:pt x="11026059" y="6204159"/>
                </a:lnTo>
                <a:lnTo>
                  <a:pt x="11103646" y="6204159"/>
                </a:lnTo>
                <a:lnTo>
                  <a:pt x="11105185" y="6203848"/>
                </a:lnTo>
                <a:lnTo>
                  <a:pt x="11106443" y="6203001"/>
                </a:lnTo>
                <a:lnTo>
                  <a:pt x="11107291" y="6201744"/>
                </a:lnTo>
                <a:lnTo>
                  <a:pt x="11107601" y="6200203"/>
                </a:lnTo>
                <a:lnTo>
                  <a:pt x="11107601" y="6164336"/>
                </a:lnTo>
                <a:lnTo>
                  <a:pt x="11107291" y="6162797"/>
                </a:lnTo>
                <a:lnTo>
                  <a:pt x="11106443" y="6161539"/>
                </a:lnTo>
                <a:lnTo>
                  <a:pt x="11105185" y="6160692"/>
                </a:lnTo>
                <a:lnTo>
                  <a:pt x="11103646" y="6160381"/>
                </a:lnTo>
                <a:close/>
                <a:moveTo>
                  <a:pt x="11320325" y="6151861"/>
                </a:moveTo>
                <a:lnTo>
                  <a:pt x="11315166" y="6152394"/>
                </a:lnTo>
                <a:lnTo>
                  <a:pt x="11310336" y="6153922"/>
                </a:lnTo>
                <a:lnTo>
                  <a:pt x="11305948" y="6156338"/>
                </a:lnTo>
                <a:lnTo>
                  <a:pt x="11302110" y="6159536"/>
                </a:lnTo>
                <a:lnTo>
                  <a:pt x="11298933" y="6163409"/>
                </a:lnTo>
                <a:lnTo>
                  <a:pt x="11296528" y="6167850"/>
                </a:lnTo>
                <a:lnTo>
                  <a:pt x="11295003" y="6172753"/>
                </a:lnTo>
                <a:lnTo>
                  <a:pt x="11294471" y="6178010"/>
                </a:lnTo>
                <a:lnTo>
                  <a:pt x="11295003" y="6183267"/>
                </a:lnTo>
                <a:lnTo>
                  <a:pt x="11296528" y="6188169"/>
                </a:lnTo>
                <a:lnTo>
                  <a:pt x="11298933" y="6192610"/>
                </a:lnTo>
                <a:lnTo>
                  <a:pt x="11302110" y="6196483"/>
                </a:lnTo>
                <a:lnTo>
                  <a:pt x="11305948" y="6199681"/>
                </a:lnTo>
                <a:lnTo>
                  <a:pt x="11310336" y="6202098"/>
                </a:lnTo>
                <a:lnTo>
                  <a:pt x="11315166" y="6203626"/>
                </a:lnTo>
                <a:lnTo>
                  <a:pt x="11320325" y="6204159"/>
                </a:lnTo>
                <a:lnTo>
                  <a:pt x="11325679" y="6203626"/>
                </a:lnTo>
                <a:lnTo>
                  <a:pt x="11330655" y="6202098"/>
                </a:lnTo>
                <a:lnTo>
                  <a:pt x="11335148" y="6199681"/>
                </a:lnTo>
                <a:lnTo>
                  <a:pt x="11339056" y="6196483"/>
                </a:lnTo>
                <a:lnTo>
                  <a:pt x="11342275" y="6192610"/>
                </a:lnTo>
                <a:lnTo>
                  <a:pt x="11344703" y="6188169"/>
                </a:lnTo>
                <a:lnTo>
                  <a:pt x="11346235" y="6183267"/>
                </a:lnTo>
                <a:lnTo>
                  <a:pt x="11346769" y="6178010"/>
                </a:lnTo>
                <a:lnTo>
                  <a:pt x="11346235" y="6172753"/>
                </a:lnTo>
                <a:lnTo>
                  <a:pt x="11344703" y="6167850"/>
                </a:lnTo>
                <a:lnTo>
                  <a:pt x="11342275" y="6163409"/>
                </a:lnTo>
                <a:lnTo>
                  <a:pt x="11339056" y="6159536"/>
                </a:lnTo>
                <a:lnTo>
                  <a:pt x="11335148" y="6156338"/>
                </a:lnTo>
                <a:lnTo>
                  <a:pt x="11330655" y="6153922"/>
                </a:lnTo>
                <a:lnTo>
                  <a:pt x="11325679" y="6152394"/>
                </a:lnTo>
                <a:close/>
                <a:moveTo>
                  <a:pt x="10773128" y="6124038"/>
                </a:moveTo>
                <a:lnTo>
                  <a:pt x="10767489" y="6124774"/>
                </a:lnTo>
                <a:lnTo>
                  <a:pt x="10762146" y="6126982"/>
                </a:lnTo>
                <a:lnTo>
                  <a:pt x="10655586" y="6188504"/>
                </a:lnTo>
                <a:lnTo>
                  <a:pt x="10651004" y="6192027"/>
                </a:lnTo>
                <a:lnTo>
                  <a:pt x="10647548" y="6196543"/>
                </a:lnTo>
                <a:lnTo>
                  <a:pt x="10645365" y="6201794"/>
                </a:lnTo>
                <a:lnTo>
                  <a:pt x="10644605" y="6207525"/>
                </a:lnTo>
                <a:lnTo>
                  <a:pt x="10644605" y="6330569"/>
                </a:lnTo>
                <a:lnTo>
                  <a:pt x="10645365" y="6336300"/>
                </a:lnTo>
                <a:lnTo>
                  <a:pt x="10647548" y="6341551"/>
                </a:lnTo>
                <a:lnTo>
                  <a:pt x="10651004" y="6346068"/>
                </a:lnTo>
                <a:lnTo>
                  <a:pt x="10655588" y="6349592"/>
                </a:lnTo>
                <a:lnTo>
                  <a:pt x="10762146" y="6411114"/>
                </a:lnTo>
                <a:lnTo>
                  <a:pt x="10767489" y="6413321"/>
                </a:lnTo>
                <a:lnTo>
                  <a:pt x="10773128" y="6414056"/>
                </a:lnTo>
                <a:lnTo>
                  <a:pt x="10778768" y="6413321"/>
                </a:lnTo>
                <a:lnTo>
                  <a:pt x="10784111" y="6411114"/>
                </a:lnTo>
                <a:lnTo>
                  <a:pt x="10883832" y="6353541"/>
                </a:lnTo>
                <a:lnTo>
                  <a:pt x="10890671" y="6349592"/>
                </a:lnTo>
                <a:lnTo>
                  <a:pt x="10895253" y="6346068"/>
                </a:lnTo>
                <a:lnTo>
                  <a:pt x="10898709" y="6341551"/>
                </a:lnTo>
                <a:lnTo>
                  <a:pt x="10900892" y="6336300"/>
                </a:lnTo>
                <a:lnTo>
                  <a:pt x="10901652" y="6330569"/>
                </a:lnTo>
                <a:lnTo>
                  <a:pt x="10901652" y="6279338"/>
                </a:lnTo>
                <a:lnTo>
                  <a:pt x="10773128" y="6353541"/>
                </a:lnTo>
                <a:lnTo>
                  <a:pt x="10701654" y="6312274"/>
                </a:lnTo>
                <a:lnTo>
                  <a:pt x="10701691" y="6227785"/>
                </a:lnTo>
                <a:lnTo>
                  <a:pt x="10767854" y="6189564"/>
                </a:lnTo>
                <a:lnTo>
                  <a:pt x="10770418" y="6188504"/>
                </a:lnTo>
                <a:lnTo>
                  <a:pt x="10773129" y="6188150"/>
                </a:lnTo>
                <a:lnTo>
                  <a:pt x="10775842" y="6188504"/>
                </a:lnTo>
                <a:lnTo>
                  <a:pt x="10778410" y="6189566"/>
                </a:lnTo>
                <a:lnTo>
                  <a:pt x="10844603" y="6227783"/>
                </a:lnTo>
                <a:lnTo>
                  <a:pt x="10782017" y="6263917"/>
                </a:lnTo>
                <a:lnTo>
                  <a:pt x="10777693" y="6265704"/>
                </a:lnTo>
                <a:lnTo>
                  <a:pt x="10773129" y="6266298"/>
                </a:lnTo>
                <a:lnTo>
                  <a:pt x="10768566" y="6265703"/>
                </a:lnTo>
                <a:lnTo>
                  <a:pt x="10764242" y="6263916"/>
                </a:lnTo>
                <a:lnTo>
                  <a:pt x="10719470" y="6238054"/>
                </a:lnTo>
                <a:lnTo>
                  <a:pt x="10719439" y="6301963"/>
                </a:lnTo>
                <a:lnTo>
                  <a:pt x="10773128" y="6332962"/>
                </a:lnTo>
                <a:lnTo>
                  <a:pt x="10888594" y="6266298"/>
                </a:lnTo>
                <a:lnTo>
                  <a:pt x="10901652" y="6258759"/>
                </a:lnTo>
                <a:lnTo>
                  <a:pt x="10901652" y="6207525"/>
                </a:lnTo>
                <a:lnTo>
                  <a:pt x="10900892" y="6201794"/>
                </a:lnTo>
                <a:lnTo>
                  <a:pt x="10898709" y="6196543"/>
                </a:lnTo>
                <a:lnTo>
                  <a:pt x="10895253" y="6192027"/>
                </a:lnTo>
                <a:lnTo>
                  <a:pt x="10890670" y="6188503"/>
                </a:lnTo>
                <a:lnTo>
                  <a:pt x="10890059" y="6188150"/>
                </a:lnTo>
                <a:lnTo>
                  <a:pt x="10784111" y="6126982"/>
                </a:lnTo>
                <a:lnTo>
                  <a:pt x="10778768" y="6124774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Picture</a:t>
            </a:r>
          </a:p>
        </p:txBody>
      </p:sp>
      <p:pic>
        <p:nvPicPr>
          <p:cNvPr id="5" name="Picture 4" descr="Epiroc Logo - NEW YELLOW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099" y="6116236"/>
            <a:ext cx="1139316" cy="31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3398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204246" y="6259394"/>
                </a:moveTo>
                <a:lnTo>
                  <a:pt x="11208993" y="6259686"/>
                </a:lnTo>
                <a:lnTo>
                  <a:pt x="11213576" y="6260565"/>
                </a:lnTo>
                <a:lnTo>
                  <a:pt x="11217936" y="6262035"/>
                </a:lnTo>
                <a:lnTo>
                  <a:pt x="11222012" y="6264099"/>
                </a:lnTo>
                <a:lnTo>
                  <a:pt x="11225741" y="6266762"/>
                </a:lnTo>
                <a:lnTo>
                  <a:pt x="11229064" y="6270028"/>
                </a:lnTo>
                <a:lnTo>
                  <a:pt x="11231919" y="6273900"/>
                </a:lnTo>
                <a:lnTo>
                  <a:pt x="11234246" y="6278382"/>
                </a:lnTo>
                <a:lnTo>
                  <a:pt x="11235984" y="6283480"/>
                </a:lnTo>
                <a:lnTo>
                  <a:pt x="11237071" y="6289195"/>
                </a:lnTo>
                <a:lnTo>
                  <a:pt x="11237447" y="6295533"/>
                </a:lnTo>
                <a:lnTo>
                  <a:pt x="11237071" y="6301878"/>
                </a:lnTo>
                <a:lnTo>
                  <a:pt x="11235984" y="6307612"/>
                </a:lnTo>
                <a:lnTo>
                  <a:pt x="11234246" y="6312737"/>
                </a:lnTo>
                <a:lnTo>
                  <a:pt x="11231919" y="6317255"/>
                </a:lnTo>
                <a:lnTo>
                  <a:pt x="11229064" y="6321166"/>
                </a:lnTo>
                <a:lnTo>
                  <a:pt x="11225741" y="6324471"/>
                </a:lnTo>
                <a:lnTo>
                  <a:pt x="11222012" y="6327173"/>
                </a:lnTo>
                <a:lnTo>
                  <a:pt x="11217936" y="6329272"/>
                </a:lnTo>
                <a:lnTo>
                  <a:pt x="11213576" y="6330770"/>
                </a:lnTo>
                <a:lnTo>
                  <a:pt x="11208993" y="6331667"/>
                </a:lnTo>
                <a:lnTo>
                  <a:pt x="11204246" y="6331966"/>
                </a:lnTo>
                <a:lnTo>
                  <a:pt x="11199572" y="6331661"/>
                </a:lnTo>
                <a:lnTo>
                  <a:pt x="11195049" y="6330746"/>
                </a:lnTo>
                <a:lnTo>
                  <a:pt x="11190737" y="6329224"/>
                </a:lnTo>
                <a:lnTo>
                  <a:pt x="11186699" y="6327099"/>
                </a:lnTo>
                <a:lnTo>
                  <a:pt x="11182998" y="6324372"/>
                </a:lnTo>
                <a:lnTo>
                  <a:pt x="11179695" y="6321047"/>
                </a:lnTo>
                <a:lnTo>
                  <a:pt x="11176854" y="6317125"/>
                </a:lnTo>
                <a:lnTo>
                  <a:pt x="11174535" y="6312611"/>
                </a:lnTo>
                <a:lnTo>
                  <a:pt x="11172802" y="6307505"/>
                </a:lnTo>
                <a:lnTo>
                  <a:pt x="11171716" y="6301812"/>
                </a:lnTo>
                <a:lnTo>
                  <a:pt x="11171341" y="6295533"/>
                </a:lnTo>
                <a:lnTo>
                  <a:pt x="11171716" y="6289195"/>
                </a:lnTo>
                <a:lnTo>
                  <a:pt x="11172802" y="6283480"/>
                </a:lnTo>
                <a:lnTo>
                  <a:pt x="11174535" y="6278382"/>
                </a:lnTo>
                <a:lnTo>
                  <a:pt x="11176854" y="6273900"/>
                </a:lnTo>
                <a:lnTo>
                  <a:pt x="11179695" y="6270028"/>
                </a:lnTo>
                <a:lnTo>
                  <a:pt x="11182998" y="6266762"/>
                </a:lnTo>
                <a:lnTo>
                  <a:pt x="11186699" y="6264099"/>
                </a:lnTo>
                <a:lnTo>
                  <a:pt x="11190737" y="6262035"/>
                </a:lnTo>
                <a:lnTo>
                  <a:pt x="11195049" y="6260565"/>
                </a:lnTo>
                <a:lnTo>
                  <a:pt x="11199572" y="6259686"/>
                </a:lnTo>
                <a:close/>
                <a:moveTo>
                  <a:pt x="11544423" y="6259394"/>
                </a:moveTo>
                <a:lnTo>
                  <a:pt x="11549030" y="6259679"/>
                </a:lnTo>
                <a:lnTo>
                  <a:pt x="11553513" y="6260541"/>
                </a:lnTo>
                <a:lnTo>
                  <a:pt x="11557805" y="6261987"/>
                </a:lnTo>
                <a:lnTo>
                  <a:pt x="11561840" y="6264024"/>
                </a:lnTo>
                <a:lnTo>
                  <a:pt x="11565552" y="6266662"/>
                </a:lnTo>
                <a:lnTo>
                  <a:pt x="11568875" y="6269908"/>
                </a:lnTo>
                <a:lnTo>
                  <a:pt x="11571742" y="6273769"/>
                </a:lnTo>
                <a:lnTo>
                  <a:pt x="11574087" y="6278255"/>
                </a:lnTo>
                <a:lnTo>
                  <a:pt x="11575844" y="6283371"/>
                </a:lnTo>
                <a:lnTo>
                  <a:pt x="11576947" y="6289128"/>
                </a:lnTo>
                <a:lnTo>
                  <a:pt x="11577329" y="6295532"/>
                </a:lnTo>
                <a:lnTo>
                  <a:pt x="11576947" y="6301944"/>
                </a:lnTo>
                <a:lnTo>
                  <a:pt x="11575844" y="6307720"/>
                </a:lnTo>
                <a:lnTo>
                  <a:pt x="11574087" y="6312865"/>
                </a:lnTo>
                <a:lnTo>
                  <a:pt x="11571742" y="6317385"/>
                </a:lnTo>
                <a:lnTo>
                  <a:pt x="11568875" y="6321285"/>
                </a:lnTo>
                <a:lnTo>
                  <a:pt x="11565552" y="6324571"/>
                </a:lnTo>
                <a:lnTo>
                  <a:pt x="11561840" y="6327247"/>
                </a:lnTo>
                <a:lnTo>
                  <a:pt x="11557805" y="6329319"/>
                </a:lnTo>
                <a:lnTo>
                  <a:pt x="11553513" y="6330793"/>
                </a:lnTo>
                <a:lnTo>
                  <a:pt x="11549030" y="6331673"/>
                </a:lnTo>
                <a:lnTo>
                  <a:pt x="11544423" y="6331966"/>
                </a:lnTo>
                <a:lnTo>
                  <a:pt x="11539882" y="6331667"/>
                </a:lnTo>
                <a:lnTo>
                  <a:pt x="11535440" y="6330769"/>
                </a:lnTo>
                <a:lnTo>
                  <a:pt x="11531168" y="6329272"/>
                </a:lnTo>
                <a:lnTo>
                  <a:pt x="11527135" y="6327173"/>
                </a:lnTo>
                <a:lnTo>
                  <a:pt x="11523413" y="6324471"/>
                </a:lnTo>
                <a:lnTo>
                  <a:pt x="11520070" y="6321166"/>
                </a:lnTo>
                <a:lnTo>
                  <a:pt x="11517178" y="6317255"/>
                </a:lnTo>
                <a:lnTo>
                  <a:pt x="11514806" y="6312737"/>
                </a:lnTo>
                <a:lnTo>
                  <a:pt x="11513025" y="6307612"/>
                </a:lnTo>
                <a:lnTo>
                  <a:pt x="11511905" y="6301878"/>
                </a:lnTo>
                <a:lnTo>
                  <a:pt x="11511516" y="6295532"/>
                </a:lnTo>
                <a:lnTo>
                  <a:pt x="11511905" y="6289128"/>
                </a:lnTo>
                <a:lnTo>
                  <a:pt x="11513025" y="6283371"/>
                </a:lnTo>
                <a:lnTo>
                  <a:pt x="11514806" y="6278255"/>
                </a:lnTo>
                <a:lnTo>
                  <a:pt x="11517178" y="6273769"/>
                </a:lnTo>
                <a:lnTo>
                  <a:pt x="11520070" y="6269908"/>
                </a:lnTo>
                <a:lnTo>
                  <a:pt x="11523413" y="6266662"/>
                </a:lnTo>
                <a:lnTo>
                  <a:pt x="11527135" y="6264024"/>
                </a:lnTo>
                <a:lnTo>
                  <a:pt x="11531168" y="6261987"/>
                </a:lnTo>
                <a:lnTo>
                  <a:pt x="11535440" y="6260541"/>
                </a:lnTo>
                <a:lnTo>
                  <a:pt x="11539882" y="6259679"/>
                </a:lnTo>
                <a:close/>
                <a:moveTo>
                  <a:pt x="11302246" y="6222669"/>
                </a:moveTo>
                <a:lnTo>
                  <a:pt x="11300707" y="6222979"/>
                </a:lnTo>
                <a:lnTo>
                  <a:pt x="11299449" y="6223827"/>
                </a:lnTo>
                <a:lnTo>
                  <a:pt x="11298602" y="6225084"/>
                </a:lnTo>
                <a:lnTo>
                  <a:pt x="11298291" y="6226624"/>
                </a:lnTo>
                <a:lnTo>
                  <a:pt x="11298291" y="6364736"/>
                </a:lnTo>
                <a:lnTo>
                  <a:pt x="11298602" y="6366276"/>
                </a:lnTo>
                <a:lnTo>
                  <a:pt x="11299449" y="6367533"/>
                </a:lnTo>
                <a:lnTo>
                  <a:pt x="11300707" y="6368380"/>
                </a:lnTo>
                <a:lnTo>
                  <a:pt x="11302246" y="6368691"/>
                </a:lnTo>
                <a:lnTo>
                  <a:pt x="11338992" y="6368691"/>
                </a:lnTo>
                <a:lnTo>
                  <a:pt x="11340533" y="6368380"/>
                </a:lnTo>
                <a:lnTo>
                  <a:pt x="11341790" y="6367533"/>
                </a:lnTo>
                <a:lnTo>
                  <a:pt x="11342638" y="6366276"/>
                </a:lnTo>
                <a:lnTo>
                  <a:pt x="11342949" y="6364736"/>
                </a:lnTo>
                <a:lnTo>
                  <a:pt x="11342949" y="6226624"/>
                </a:lnTo>
                <a:lnTo>
                  <a:pt x="11342638" y="6225084"/>
                </a:lnTo>
                <a:lnTo>
                  <a:pt x="11341790" y="6223827"/>
                </a:lnTo>
                <a:lnTo>
                  <a:pt x="11340533" y="6222979"/>
                </a:lnTo>
                <a:lnTo>
                  <a:pt x="11338992" y="6222669"/>
                </a:lnTo>
                <a:close/>
                <a:moveTo>
                  <a:pt x="11449736" y="6221200"/>
                </a:moveTo>
                <a:lnTo>
                  <a:pt x="11445047" y="6221434"/>
                </a:lnTo>
                <a:lnTo>
                  <a:pt x="11439931" y="6222191"/>
                </a:lnTo>
                <a:lnTo>
                  <a:pt x="11434594" y="6223555"/>
                </a:lnTo>
                <a:lnTo>
                  <a:pt x="11429243" y="6225607"/>
                </a:lnTo>
                <a:lnTo>
                  <a:pt x="11424086" y="6228430"/>
                </a:lnTo>
                <a:lnTo>
                  <a:pt x="11419327" y="6232107"/>
                </a:lnTo>
                <a:lnTo>
                  <a:pt x="11415175" y="6236721"/>
                </a:lnTo>
                <a:lnTo>
                  <a:pt x="11411835" y="6242354"/>
                </a:lnTo>
                <a:lnTo>
                  <a:pt x="11411835" y="6226623"/>
                </a:lnTo>
                <a:lnTo>
                  <a:pt x="11411524" y="6225084"/>
                </a:lnTo>
                <a:lnTo>
                  <a:pt x="11410676" y="6223827"/>
                </a:lnTo>
                <a:lnTo>
                  <a:pt x="11409418" y="6222979"/>
                </a:lnTo>
                <a:lnTo>
                  <a:pt x="11407878" y="6222668"/>
                </a:lnTo>
                <a:lnTo>
                  <a:pt x="11372602" y="6222668"/>
                </a:lnTo>
                <a:lnTo>
                  <a:pt x="11371061" y="6222979"/>
                </a:lnTo>
                <a:lnTo>
                  <a:pt x="11369804" y="6223827"/>
                </a:lnTo>
                <a:lnTo>
                  <a:pt x="11368957" y="6225084"/>
                </a:lnTo>
                <a:lnTo>
                  <a:pt x="11368646" y="6226623"/>
                </a:lnTo>
                <a:lnTo>
                  <a:pt x="11368646" y="6364735"/>
                </a:lnTo>
                <a:lnTo>
                  <a:pt x="11368957" y="6366276"/>
                </a:lnTo>
                <a:lnTo>
                  <a:pt x="11369804" y="6367533"/>
                </a:lnTo>
                <a:lnTo>
                  <a:pt x="11371061" y="6368381"/>
                </a:lnTo>
                <a:lnTo>
                  <a:pt x="11372602" y="6368692"/>
                </a:lnTo>
                <a:lnTo>
                  <a:pt x="11409348" y="6368692"/>
                </a:lnTo>
                <a:lnTo>
                  <a:pt x="11410888" y="6368381"/>
                </a:lnTo>
                <a:lnTo>
                  <a:pt x="11412145" y="6367533"/>
                </a:lnTo>
                <a:lnTo>
                  <a:pt x="11412993" y="6366276"/>
                </a:lnTo>
                <a:lnTo>
                  <a:pt x="11413303" y="6364735"/>
                </a:lnTo>
                <a:lnTo>
                  <a:pt x="11413303" y="6304933"/>
                </a:lnTo>
                <a:lnTo>
                  <a:pt x="11413693" y="6297452"/>
                </a:lnTo>
                <a:lnTo>
                  <a:pt x="11414819" y="6290850"/>
                </a:lnTo>
                <a:lnTo>
                  <a:pt x="11416617" y="6285091"/>
                </a:lnTo>
                <a:lnTo>
                  <a:pt x="11419022" y="6280141"/>
                </a:lnTo>
                <a:lnTo>
                  <a:pt x="11421968" y="6275965"/>
                </a:lnTo>
                <a:lnTo>
                  <a:pt x="11425391" y="6272527"/>
                </a:lnTo>
                <a:lnTo>
                  <a:pt x="11429226" y="6269793"/>
                </a:lnTo>
                <a:lnTo>
                  <a:pt x="11433408" y="6267727"/>
                </a:lnTo>
                <a:lnTo>
                  <a:pt x="11437872" y="6266295"/>
                </a:lnTo>
                <a:lnTo>
                  <a:pt x="11442553" y="6265462"/>
                </a:lnTo>
                <a:lnTo>
                  <a:pt x="11447386" y="6265192"/>
                </a:lnTo>
                <a:lnTo>
                  <a:pt x="11449597" y="6265218"/>
                </a:lnTo>
                <a:lnTo>
                  <a:pt x="11451716" y="6265305"/>
                </a:lnTo>
                <a:lnTo>
                  <a:pt x="11453796" y="6265462"/>
                </a:lnTo>
                <a:lnTo>
                  <a:pt x="11455857" y="6265697"/>
                </a:lnTo>
                <a:lnTo>
                  <a:pt x="11457426" y="6265604"/>
                </a:lnTo>
                <a:lnTo>
                  <a:pt x="11458297" y="6265192"/>
                </a:lnTo>
                <a:lnTo>
                  <a:pt x="11458795" y="6264956"/>
                </a:lnTo>
                <a:lnTo>
                  <a:pt x="11459818" y="6263848"/>
                </a:lnTo>
                <a:lnTo>
                  <a:pt x="11460354" y="6262378"/>
                </a:lnTo>
                <a:lnTo>
                  <a:pt x="11463366" y="6242354"/>
                </a:lnTo>
                <a:lnTo>
                  <a:pt x="11465659" y="6227104"/>
                </a:lnTo>
                <a:lnTo>
                  <a:pt x="11465597" y="6225591"/>
                </a:lnTo>
                <a:lnTo>
                  <a:pt x="11459257" y="6222042"/>
                </a:lnTo>
                <a:lnTo>
                  <a:pt x="11452556" y="6221301"/>
                </a:lnTo>
                <a:close/>
                <a:moveTo>
                  <a:pt x="11213355" y="6219143"/>
                </a:moveTo>
                <a:lnTo>
                  <a:pt x="11206593" y="6219468"/>
                </a:lnTo>
                <a:lnTo>
                  <a:pt x="11200240" y="6220396"/>
                </a:lnTo>
                <a:lnTo>
                  <a:pt x="11194334" y="6221852"/>
                </a:lnTo>
                <a:lnTo>
                  <a:pt x="11188914" y="6223766"/>
                </a:lnTo>
                <a:lnTo>
                  <a:pt x="11184018" y="6226065"/>
                </a:lnTo>
                <a:lnTo>
                  <a:pt x="11179687" y="6228675"/>
                </a:lnTo>
                <a:lnTo>
                  <a:pt x="11175957" y="6231525"/>
                </a:lnTo>
                <a:lnTo>
                  <a:pt x="11170459" y="6237653"/>
                </a:lnTo>
                <a:lnTo>
                  <a:pt x="11170459" y="6226624"/>
                </a:lnTo>
                <a:lnTo>
                  <a:pt x="11170148" y="6225084"/>
                </a:lnTo>
                <a:lnTo>
                  <a:pt x="11169300" y="6223827"/>
                </a:lnTo>
                <a:lnTo>
                  <a:pt x="11168042" y="6222979"/>
                </a:lnTo>
                <a:lnTo>
                  <a:pt x="11166502" y="6222668"/>
                </a:lnTo>
                <a:lnTo>
                  <a:pt x="11131225" y="6222668"/>
                </a:lnTo>
                <a:lnTo>
                  <a:pt x="11129685" y="6222979"/>
                </a:lnTo>
                <a:lnTo>
                  <a:pt x="11128427" y="6223827"/>
                </a:lnTo>
                <a:lnTo>
                  <a:pt x="11127579" y="6225084"/>
                </a:lnTo>
                <a:lnTo>
                  <a:pt x="11127268" y="6226624"/>
                </a:lnTo>
                <a:lnTo>
                  <a:pt x="11127268" y="6420559"/>
                </a:lnTo>
                <a:lnTo>
                  <a:pt x="11127579" y="6422099"/>
                </a:lnTo>
                <a:lnTo>
                  <a:pt x="11128427" y="6423356"/>
                </a:lnTo>
                <a:lnTo>
                  <a:pt x="11129685" y="6424204"/>
                </a:lnTo>
                <a:lnTo>
                  <a:pt x="11131225" y="6424514"/>
                </a:lnTo>
                <a:lnTo>
                  <a:pt x="11167971" y="6424514"/>
                </a:lnTo>
                <a:lnTo>
                  <a:pt x="11169511" y="6424204"/>
                </a:lnTo>
                <a:lnTo>
                  <a:pt x="11170768" y="6423356"/>
                </a:lnTo>
                <a:lnTo>
                  <a:pt x="11171616" y="6422099"/>
                </a:lnTo>
                <a:lnTo>
                  <a:pt x="11171927" y="6420559"/>
                </a:lnTo>
                <a:lnTo>
                  <a:pt x="11171927" y="6357233"/>
                </a:lnTo>
                <a:lnTo>
                  <a:pt x="11174801" y="6360226"/>
                </a:lnTo>
                <a:lnTo>
                  <a:pt x="11178332" y="6362999"/>
                </a:lnTo>
                <a:lnTo>
                  <a:pt x="11182489" y="6365496"/>
                </a:lnTo>
                <a:lnTo>
                  <a:pt x="11187242" y="6367663"/>
                </a:lnTo>
                <a:lnTo>
                  <a:pt x="11192560" y="6369445"/>
                </a:lnTo>
                <a:lnTo>
                  <a:pt x="11198411" y="6370786"/>
                </a:lnTo>
                <a:lnTo>
                  <a:pt x="11204765" y="6371631"/>
                </a:lnTo>
                <a:lnTo>
                  <a:pt x="11211591" y="6371925"/>
                </a:lnTo>
                <a:lnTo>
                  <a:pt x="11217084" y="6371728"/>
                </a:lnTo>
                <a:lnTo>
                  <a:pt x="11222418" y="6371145"/>
                </a:lnTo>
                <a:lnTo>
                  <a:pt x="11227584" y="6370187"/>
                </a:lnTo>
                <a:lnTo>
                  <a:pt x="11232572" y="6368865"/>
                </a:lnTo>
                <a:lnTo>
                  <a:pt x="11237373" y="6367189"/>
                </a:lnTo>
                <a:lnTo>
                  <a:pt x="11241978" y="6365172"/>
                </a:lnTo>
                <a:lnTo>
                  <a:pt x="11246376" y="6362822"/>
                </a:lnTo>
                <a:lnTo>
                  <a:pt x="11250560" y="6360153"/>
                </a:lnTo>
                <a:lnTo>
                  <a:pt x="11254438" y="6357233"/>
                </a:lnTo>
                <a:lnTo>
                  <a:pt x="11258242" y="6353895"/>
                </a:lnTo>
                <a:lnTo>
                  <a:pt x="11261723" y="6350329"/>
                </a:lnTo>
                <a:lnTo>
                  <a:pt x="11264950" y="6346487"/>
                </a:lnTo>
                <a:lnTo>
                  <a:pt x="11267915" y="6342378"/>
                </a:lnTo>
                <a:lnTo>
                  <a:pt x="11270608" y="6338015"/>
                </a:lnTo>
                <a:lnTo>
                  <a:pt x="11273019" y="6333407"/>
                </a:lnTo>
                <a:lnTo>
                  <a:pt x="11273650" y="6331966"/>
                </a:lnTo>
                <a:lnTo>
                  <a:pt x="11276960" y="6323504"/>
                </a:lnTo>
                <a:lnTo>
                  <a:pt x="11278470" y="6318230"/>
                </a:lnTo>
                <a:lnTo>
                  <a:pt x="11279664" y="6312737"/>
                </a:lnTo>
                <a:lnTo>
                  <a:pt x="11280524" y="6307092"/>
                </a:lnTo>
                <a:lnTo>
                  <a:pt x="11281048" y="6301250"/>
                </a:lnTo>
                <a:lnTo>
                  <a:pt x="11281225" y="6295240"/>
                </a:lnTo>
                <a:lnTo>
                  <a:pt x="11281067" y="6289343"/>
                </a:lnTo>
                <a:lnTo>
                  <a:pt x="11280598" y="6283600"/>
                </a:lnTo>
                <a:lnTo>
                  <a:pt x="11279821" y="6278023"/>
                </a:lnTo>
                <a:lnTo>
                  <a:pt x="11278743" y="6272623"/>
                </a:lnTo>
                <a:lnTo>
                  <a:pt x="11277367" y="6267412"/>
                </a:lnTo>
                <a:lnTo>
                  <a:pt x="11275700" y="6262402"/>
                </a:lnTo>
                <a:lnTo>
                  <a:pt x="11274475" y="6259394"/>
                </a:lnTo>
                <a:lnTo>
                  <a:pt x="11273745" y="6257604"/>
                </a:lnTo>
                <a:lnTo>
                  <a:pt x="11271508" y="6253031"/>
                </a:lnTo>
                <a:lnTo>
                  <a:pt x="11268995" y="6248694"/>
                </a:lnTo>
                <a:lnTo>
                  <a:pt x="11266209" y="6244604"/>
                </a:lnTo>
                <a:lnTo>
                  <a:pt x="11263156" y="6240775"/>
                </a:lnTo>
                <a:lnTo>
                  <a:pt x="11260246" y="6237653"/>
                </a:lnTo>
                <a:lnTo>
                  <a:pt x="11256267" y="6233941"/>
                </a:lnTo>
                <a:lnTo>
                  <a:pt x="11252442" y="6230961"/>
                </a:lnTo>
                <a:lnTo>
                  <a:pt x="11248370" y="6228287"/>
                </a:lnTo>
                <a:lnTo>
                  <a:pt x="11244055" y="6225931"/>
                </a:lnTo>
                <a:lnTo>
                  <a:pt x="11239503" y="6223906"/>
                </a:lnTo>
                <a:lnTo>
                  <a:pt x="11234718" y="6222223"/>
                </a:lnTo>
                <a:lnTo>
                  <a:pt x="11229706" y="6220893"/>
                </a:lnTo>
                <a:lnTo>
                  <a:pt x="11224472" y="6219929"/>
                </a:lnTo>
                <a:lnTo>
                  <a:pt x="11219020" y="6219341"/>
                </a:lnTo>
                <a:close/>
                <a:moveTo>
                  <a:pt x="11711671" y="6218262"/>
                </a:moveTo>
                <a:lnTo>
                  <a:pt x="11706128" y="6218442"/>
                </a:lnTo>
                <a:lnTo>
                  <a:pt x="11700697" y="6218976"/>
                </a:lnTo>
                <a:lnTo>
                  <a:pt x="11695392" y="6219855"/>
                </a:lnTo>
                <a:lnTo>
                  <a:pt x="11690223" y="6221070"/>
                </a:lnTo>
                <a:lnTo>
                  <a:pt x="11685205" y="6222612"/>
                </a:lnTo>
                <a:lnTo>
                  <a:pt x="11680348" y="6224472"/>
                </a:lnTo>
                <a:lnTo>
                  <a:pt x="11675667" y="6226639"/>
                </a:lnTo>
                <a:lnTo>
                  <a:pt x="11671172" y="6229106"/>
                </a:lnTo>
                <a:lnTo>
                  <a:pt x="11666878" y="6231864"/>
                </a:lnTo>
                <a:lnTo>
                  <a:pt x="11662795" y="6234902"/>
                </a:lnTo>
                <a:lnTo>
                  <a:pt x="11658937" y="6238213"/>
                </a:lnTo>
                <a:lnTo>
                  <a:pt x="11655316" y="6241786"/>
                </a:lnTo>
                <a:lnTo>
                  <a:pt x="11651945" y="6245613"/>
                </a:lnTo>
                <a:lnTo>
                  <a:pt x="11648835" y="6249684"/>
                </a:lnTo>
                <a:lnTo>
                  <a:pt x="11646000" y="6253991"/>
                </a:lnTo>
                <a:lnTo>
                  <a:pt x="11643452" y="6258524"/>
                </a:lnTo>
                <a:lnTo>
                  <a:pt x="11641203" y="6263275"/>
                </a:lnTo>
                <a:lnTo>
                  <a:pt x="11639260" y="6268251"/>
                </a:lnTo>
                <a:lnTo>
                  <a:pt x="11637653" y="6273391"/>
                </a:lnTo>
                <a:lnTo>
                  <a:pt x="11636377" y="6278738"/>
                </a:lnTo>
                <a:lnTo>
                  <a:pt x="11635450" y="6284266"/>
                </a:lnTo>
                <a:lnTo>
                  <a:pt x="11634885" y="6289965"/>
                </a:lnTo>
                <a:lnTo>
                  <a:pt x="11634694" y="6295827"/>
                </a:lnTo>
                <a:lnTo>
                  <a:pt x="11634874" y="6301413"/>
                </a:lnTo>
                <a:lnTo>
                  <a:pt x="11635407" y="6306852"/>
                </a:lnTo>
                <a:lnTo>
                  <a:pt x="11636281" y="6312138"/>
                </a:lnTo>
                <a:lnTo>
                  <a:pt x="11637485" y="6317261"/>
                </a:lnTo>
                <a:lnTo>
                  <a:pt x="11639007" y="6322214"/>
                </a:lnTo>
                <a:lnTo>
                  <a:pt x="11640836" y="6326989"/>
                </a:lnTo>
                <a:lnTo>
                  <a:pt x="11642960" y="6331577"/>
                </a:lnTo>
                <a:lnTo>
                  <a:pt x="11645368" y="6335970"/>
                </a:lnTo>
                <a:lnTo>
                  <a:pt x="11648049" y="6340160"/>
                </a:lnTo>
                <a:lnTo>
                  <a:pt x="11650990" y="6344138"/>
                </a:lnTo>
                <a:lnTo>
                  <a:pt x="11654181" y="6347898"/>
                </a:lnTo>
                <a:lnTo>
                  <a:pt x="11657610" y="6351430"/>
                </a:lnTo>
                <a:lnTo>
                  <a:pt x="11661266" y="6354726"/>
                </a:lnTo>
                <a:lnTo>
                  <a:pt x="11665136" y="6357778"/>
                </a:lnTo>
                <a:lnTo>
                  <a:pt x="11669210" y="6360579"/>
                </a:lnTo>
                <a:lnTo>
                  <a:pt x="11673475" y="6363119"/>
                </a:lnTo>
                <a:lnTo>
                  <a:pt x="11677922" y="6365391"/>
                </a:lnTo>
                <a:lnTo>
                  <a:pt x="11682538" y="6367387"/>
                </a:lnTo>
                <a:lnTo>
                  <a:pt x="11687311" y="6369098"/>
                </a:lnTo>
                <a:lnTo>
                  <a:pt x="11692230" y="6370516"/>
                </a:lnTo>
                <a:lnTo>
                  <a:pt x="11697284" y="6371633"/>
                </a:lnTo>
                <a:lnTo>
                  <a:pt x="11702461" y="6372441"/>
                </a:lnTo>
                <a:lnTo>
                  <a:pt x="11707750" y="6372932"/>
                </a:lnTo>
                <a:lnTo>
                  <a:pt x="11713139" y="6373098"/>
                </a:lnTo>
                <a:lnTo>
                  <a:pt x="11719933" y="6372836"/>
                </a:lnTo>
                <a:lnTo>
                  <a:pt x="11726407" y="6372073"/>
                </a:lnTo>
                <a:lnTo>
                  <a:pt x="11732558" y="6370839"/>
                </a:lnTo>
                <a:lnTo>
                  <a:pt x="11738383" y="6369166"/>
                </a:lnTo>
                <a:lnTo>
                  <a:pt x="11743879" y="6367085"/>
                </a:lnTo>
                <a:lnTo>
                  <a:pt x="11749042" y="6364626"/>
                </a:lnTo>
                <a:lnTo>
                  <a:pt x="11753869" y="6361822"/>
                </a:lnTo>
                <a:lnTo>
                  <a:pt x="11758356" y="6358704"/>
                </a:lnTo>
                <a:lnTo>
                  <a:pt x="11762502" y="6355302"/>
                </a:lnTo>
                <a:lnTo>
                  <a:pt x="11766300" y="6351649"/>
                </a:lnTo>
                <a:lnTo>
                  <a:pt x="11769750" y="6347774"/>
                </a:lnTo>
                <a:lnTo>
                  <a:pt x="11772847" y="6343710"/>
                </a:lnTo>
                <a:lnTo>
                  <a:pt x="11775588" y="6339489"/>
                </a:lnTo>
                <a:lnTo>
                  <a:pt x="11777970" y="6335140"/>
                </a:lnTo>
                <a:lnTo>
                  <a:pt x="11779412" y="6331966"/>
                </a:lnTo>
                <a:lnTo>
                  <a:pt x="11779990" y="6330695"/>
                </a:lnTo>
                <a:lnTo>
                  <a:pt x="11781643" y="6326186"/>
                </a:lnTo>
                <a:lnTo>
                  <a:pt x="11781827" y="6324591"/>
                </a:lnTo>
                <a:lnTo>
                  <a:pt x="11781400" y="6323105"/>
                </a:lnTo>
                <a:lnTo>
                  <a:pt x="11780444" y="6321894"/>
                </a:lnTo>
                <a:lnTo>
                  <a:pt x="11779040" y="6321126"/>
                </a:lnTo>
                <a:lnTo>
                  <a:pt x="11746983" y="6311318"/>
                </a:lnTo>
                <a:lnTo>
                  <a:pt x="11745523" y="6311159"/>
                </a:lnTo>
                <a:lnTo>
                  <a:pt x="11744153" y="6311529"/>
                </a:lnTo>
                <a:lnTo>
                  <a:pt x="11743000" y="6312363"/>
                </a:lnTo>
                <a:lnTo>
                  <a:pt x="11742187" y="6313593"/>
                </a:lnTo>
                <a:lnTo>
                  <a:pt x="11740100" y="6317646"/>
                </a:lnTo>
                <a:lnTo>
                  <a:pt x="11737350" y="6321451"/>
                </a:lnTo>
                <a:lnTo>
                  <a:pt x="11733922" y="6324871"/>
                </a:lnTo>
                <a:lnTo>
                  <a:pt x="11729802" y="6327770"/>
                </a:lnTo>
                <a:lnTo>
                  <a:pt x="11724975" y="6330010"/>
                </a:lnTo>
                <a:lnTo>
                  <a:pt x="11719425" y="6331454"/>
                </a:lnTo>
                <a:lnTo>
                  <a:pt x="11713139" y="6331966"/>
                </a:lnTo>
                <a:lnTo>
                  <a:pt x="11708174" y="6331647"/>
                </a:lnTo>
                <a:lnTo>
                  <a:pt x="11703411" y="6330700"/>
                </a:lnTo>
                <a:lnTo>
                  <a:pt x="11698908" y="6329135"/>
                </a:lnTo>
                <a:lnTo>
                  <a:pt x="11694720" y="6326965"/>
                </a:lnTo>
                <a:lnTo>
                  <a:pt x="11690907" y="6324201"/>
                </a:lnTo>
                <a:lnTo>
                  <a:pt x="11687524" y="6320856"/>
                </a:lnTo>
                <a:lnTo>
                  <a:pt x="11684628" y="6316942"/>
                </a:lnTo>
                <a:lnTo>
                  <a:pt x="11682276" y="6312470"/>
                </a:lnTo>
                <a:lnTo>
                  <a:pt x="11680526" y="6307452"/>
                </a:lnTo>
                <a:lnTo>
                  <a:pt x="11679434" y="6301900"/>
                </a:lnTo>
                <a:lnTo>
                  <a:pt x="11679058" y="6295827"/>
                </a:lnTo>
                <a:lnTo>
                  <a:pt x="11679421" y="6289681"/>
                </a:lnTo>
                <a:lnTo>
                  <a:pt x="11680475" y="6284069"/>
                </a:lnTo>
                <a:lnTo>
                  <a:pt x="11682169" y="6279003"/>
                </a:lnTo>
                <a:lnTo>
                  <a:pt x="11684451" y="6274494"/>
                </a:lnTo>
                <a:lnTo>
                  <a:pt x="11687270" y="6270551"/>
                </a:lnTo>
                <a:lnTo>
                  <a:pt x="11690573" y="6267186"/>
                </a:lnTo>
                <a:lnTo>
                  <a:pt x="11694309" y="6264409"/>
                </a:lnTo>
                <a:lnTo>
                  <a:pt x="11698427" y="6262231"/>
                </a:lnTo>
                <a:lnTo>
                  <a:pt x="11702875" y="6260662"/>
                </a:lnTo>
                <a:lnTo>
                  <a:pt x="11707601" y="6259713"/>
                </a:lnTo>
                <a:lnTo>
                  <a:pt x="11712553" y="6259394"/>
                </a:lnTo>
                <a:lnTo>
                  <a:pt x="11718800" y="6259893"/>
                </a:lnTo>
                <a:lnTo>
                  <a:pt x="11724246" y="6261308"/>
                </a:lnTo>
                <a:lnTo>
                  <a:pt x="11728926" y="6263511"/>
                </a:lnTo>
                <a:lnTo>
                  <a:pt x="11732880" y="6266378"/>
                </a:lnTo>
                <a:lnTo>
                  <a:pt x="11736143" y="6269782"/>
                </a:lnTo>
                <a:lnTo>
                  <a:pt x="11738753" y="6273597"/>
                </a:lnTo>
                <a:lnTo>
                  <a:pt x="11740746" y="6277699"/>
                </a:lnTo>
                <a:lnTo>
                  <a:pt x="11741546" y="6278954"/>
                </a:lnTo>
                <a:lnTo>
                  <a:pt x="11742701" y="6279811"/>
                </a:lnTo>
                <a:lnTo>
                  <a:pt x="11744080" y="6280197"/>
                </a:lnTo>
                <a:lnTo>
                  <a:pt x="11745555" y="6280044"/>
                </a:lnTo>
                <a:lnTo>
                  <a:pt x="11778166" y="6270214"/>
                </a:lnTo>
                <a:lnTo>
                  <a:pt x="11779570" y="6269454"/>
                </a:lnTo>
                <a:lnTo>
                  <a:pt x="11780530" y="6268251"/>
                </a:lnTo>
                <a:lnTo>
                  <a:pt x="11780965" y="6266770"/>
                </a:lnTo>
                <a:lnTo>
                  <a:pt x="11780793" y="6265177"/>
                </a:lnTo>
                <a:lnTo>
                  <a:pt x="11779264" y="6260857"/>
                </a:lnTo>
                <a:lnTo>
                  <a:pt x="11778627" y="6259394"/>
                </a:lnTo>
                <a:lnTo>
                  <a:pt x="11777416" y="6256610"/>
                </a:lnTo>
                <a:lnTo>
                  <a:pt x="11775250" y="6252461"/>
                </a:lnTo>
                <a:lnTo>
                  <a:pt x="11772766" y="6248434"/>
                </a:lnTo>
                <a:lnTo>
                  <a:pt x="11769964" y="6244554"/>
                </a:lnTo>
                <a:lnTo>
                  <a:pt x="11766845" y="6240845"/>
                </a:lnTo>
                <a:lnTo>
                  <a:pt x="11763409" y="6237330"/>
                </a:lnTo>
                <a:lnTo>
                  <a:pt x="11759656" y="6234035"/>
                </a:lnTo>
                <a:lnTo>
                  <a:pt x="11755586" y="6230984"/>
                </a:lnTo>
                <a:lnTo>
                  <a:pt x="11751200" y="6228201"/>
                </a:lnTo>
                <a:lnTo>
                  <a:pt x="11746498" y="6225710"/>
                </a:lnTo>
                <a:lnTo>
                  <a:pt x="11741481" y="6223535"/>
                </a:lnTo>
                <a:lnTo>
                  <a:pt x="11736148" y="6221702"/>
                </a:lnTo>
                <a:lnTo>
                  <a:pt x="11730501" y="6220233"/>
                </a:lnTo>
                <a:lnTo>
                  <a:pt x="11724538" y="6219154"/>
                </a:lnTo>
                <a:lnTo>
                  <a:pt x="11718262" y="6218489"/>
                </a:lnTo>
                <a:close/>
                <a:moveTo>
                  <a:pt x="11544423" y="6218262"/>
                </a:moveTo>
                <a:lnTo>
                  <a:pt x="11538806" y="6218442"/>
                </a:lnTo>
                <a:lnTo>
                  <a:pt x="11533309" y="6218976"/>
                </a:lnTo>
                <a:lnTo>
                  <a:pt x="11527942" y="6219855"/>
                </a:lnTo>
                <a:lnTo>
                  <a:pt x="11522719" y="6221069"/>
                </a:lnTo>
                <a:lnTo>
                  <a:pt x="11517650" y="6222609"/>
                </a:lnTo>
                <a:lnTo>
                  <a:pt x="11512750" y="6224466"/>
                </a:lnTo>
                <a:lnTo>
                  <a:pt x="11508029" y="6226631"/>
                </a:lnTo>
                <a:lnTo>
                  <a:pt x="11503500" y="6229094"/>
                </a:lnTo>
                <a:lnTo>
                  <a:pt x="11499174" y="6231846"/>
                </a:lnTo>
                <a:lnTo>
                  <a:pt x="11495065" y="6234878"/>
                </a:lnTo>
                <a:lnTo>
                  <a:pt x="11491185" y="6238180"/>
                </a:lnTo>
                <a:lnTo>
                  <a:pt x="11487545" y="6241744"/>
                </a:lnTo>
                <a:lnTo>
                  <a:pt x="11484157" y="6245559"/>
                </a:lnTo>
                <a:lnTo>
                  <a:pt x="11481035" y="6249617"/>
                </a:lnTo>
                <a:lnTo>
                  <a:pt x="11478189" y="6253909"/>
                </a:lnTo>
                <a:lnTo>
                  <a:pt x="11475632" y="6258425"/>
                </a:lnTo>
                <a:lnTo>
                  <a:pt x="11473378" y="6263156"/>
                </a:lnTo>
                <a:lnTo>
                  <a:pt x="11471436" y="6268092"/>
                </a:lnTo>
                <a:lnTo>
                  <a:pt x="11469820" y="6273224"/>
                </a:lnTo>
                <a:lnTo>
                  <a:pt x="11468542" y="6278544"/>
                </a:lnTo>
                <a:lnTo>
                  <a:pt x="11467614" y="6284041"/>
                </a:lnTo>
                <a:lnTo>
                  <a:pt x="11467049" y="6289707"/>
                </a:lnTo>
                <a:lnTo>
                  <a:pt x="11466858" y="6295532"/>
                </a:lnTo>
                <a:lnTo>
                  <a:pt x="11467033" y="6301120"/>
                </a:lnTo>
                <a:lnTo>
                  <a:pt x="11467553" y="6306564"/>
                </a:lnTo>
                <a:lnTo>
                  <a:pt x="11468407" y="6311856"/>
                </a:lnTo>
                <a:lnTo>
                  <a:pt x="11469584" y="6316989"/>
                </a:lnTo>
                <a:lnTo>
                  <a:pt x="11471072" y="6321953"/>
                </a:lnTo>
                <a:lnTo>
                  <a:pt x="11472862" y="6326741"/>
                </a:lnTo>
                <a:lnTo>
                  <a:pt x="11474943" y="6331343"/>
                </a:lnTo>
                <a:lnTo>
                  <a:pt x="11477304" y="6335752"/>
                </a:lnTo>
                <a:lnTo>
                  <a:pt x="11479934" y="6339959"/>
                </a:lnTo>
                <a:lnTo>
                  <a:pt x="11482823" y="6343955"/>
                </a:lnTo>
                <a:lnTo>
                  <a:pt x="11485960" y="6347733"/>
                </a:lnTo>
                <a:lnTo>
                  <a:pt x="11489334" y="6351283"/>
                </a:lnTo>
                <a:lnTo>
                  <a:pt x="11492934" y="6354597"/>
                </a:lnTo>
                <a:lnTo>
                  <a:pt x="11496750" y="6357668"/>
                </a:lnTo>
                <a:lnTo>
                  <a:pt x="11500772" y="6360486"/>
                </a:lnTo>
                <a:lnTo>
                  <a:pt x="11504987" y="6363043"/>
                </a:lnTo>
                <a:lnTo>
                  <a:pt x="11509386" y="6365331"/>
                </a:lnTo>
                <a:lnTo>
                  <a:pt x="11513959" y="6367341"/>
                </a:lnTo>
                <a:lnTo>
                  <a:pt x="11518693" y="6369065"/>
                </a:lnTo>
                <a:lnTo>
                  <a:pt x="11523579" y="6370494"/>
                </a:lnTo>
                <a:lnTo>
                  <a:pt x="11528605" y="6371621"/>
                </a:lnTo>
                <a:lnTo>
                  <a:pt x="11533762" y="6372436"/>
                </a:lnTo>
                <a:lnTo>
                  <a:pt x="11539038" y="6372931"/>
                </a:lnTo>
                <a:lnTo>
                  <a:pt x="11544423" y="6373098"/>
                </a:lnTo>
                <a:lnTo>
                  <a:pt x="11549841" y="6372931"/>
                </a:lnTo>
                <a:lnTo>
                  <a:pt x="11555145" y="6372436"/>
                </a:lnTo>
                <a:lnTo>
                  <a:pt x="11560325" y="6371621"/>
                </a:lnTo>
                <a:lnTo>
                  <a:pt x="11565369" y="6370494"/>
                </a:lnTo>
                <a:lnTo>
                  <a:pt x="11570268" y="6369065"/>
                </a:lnTo>
                <a:lnTo>
                  <a:pt x="11575011" y="6367341"/>
                </a:lnTo>
                <a:lnTo>
                  <a:pt x="11579589" y="6365331"/>
                </a:lnTo>
                <a:lnTo>
                  <a:pt x="11583989" y="6363043"/>
                </a:lnTo>
                <a:lnTo>
                  <a:pt x="11588204" y="6360486"/>
                </a:lnTo>
                <a:lnTo>
                  <a:pt x="11592221" y="6357668"/>
                </a:lnTo>
                <a:lnTo>
                  <a:pt x="11596031" y="6354597"/>
                </a:lnTo>
                <a:lnTo>
                  <a:pt x="11599623" y="6351283"/>
                </a:lnTo>
                <a:lnTo>
                  <a:pt x="11602987" y="6347733"/>
                </a:lnTo>
                <a:lnTo>
                  <a:pt x="11606113" y="6343955"/>
                </a:lnTo>
                <a:lnTo>
                  <a:pt x="11608990" y="6339959"/>
                </a:lnTo>
                <a:lnTo>
                  <a:pt x="11611608" y="6335752"/>
                </a:lnTo>
                <a:lnTo>
                  <a:pt x="11613625" y="6331966"/>
                </a:lnTo>
                <a:lnTo>
                  <a:pt x="11616026" y="6326741"/>
                </a:lnTo>
                <a:lnTo>
                  <a:pt x="11617805" y="6321953"/>
                </a:lnTo>
                <a:lnTo>
                  <a:pt x="11619284" y="6316989"/>
                </a:lnTo>
                <a:lnTo>
                  <a:pt x="11620452" y="6311856"/>
                </a:lnTo>
                <a:lnTo>
                  <a:pt x="11621299" y="6306564"/>
                </a:lnTo>
                <a:lnTo>
                  <a:pt x="11621815" y="6301120"/>
                </a:lnTo>
                <a:lnTo>
                  <a:pt x="11621989" y="6295532"/>
                </a:lnTo>
                <a:lnTo>
                  <a:pt x="11621800" y="6289707"/>
                </a:lnTo>
                <a:lnTo>
                  <a:pt x="11621238" y="6284041"/>
                </a:lnTo>
                <a:lnTo>
                  <a:pt x="11620317" y="6278544"/>
                </a:lnTo>
                <a:lnTo>
                  <a:pt x="11619049" y="6273224"/>
                </a:lnTo>
                <a:lnTo>
                  <a:pt x="11617443" y="6268092"/>
                </a:lnTo>
                <a:lnTo>
                  <a:pt x="11615514" y="6263156"/>
                </a:lnTo>
                <a:lnTo>
                  <a:pt x="11613730" y="6259394"/>
                </a:lnTo>
                <a:lnTo>
                  <a:pt x="11613271" y="6258425"/>
                </a:lnTo>
                <a:lnTo>
                  <a:pt x="11610727" y="6253909"/>
                </a:lnTo>
                <a:lnTo>
                  <a:pt x="11607894" y="6249617"/>
                </a:lnTo>
                <a:lnTo>
                  <a:pt x="11604784" y="6245559"/>
                </a:lnTo>
                <a:lnTo>
                  <a:pt x="11601407" y="6241744"/>
                </a:lnTo>
                <a:lnTo>
                  <a:pt x="11597776" y="6238180"/>
                </a:lnTo>
                <a:lnTo>
                  <a:pt x="11593903" y="6234878"/>
                </a:lnTo>
                <a:lnTo>
                  <a:pt x="11589800" y="6231846"/>
                </a:lnTo>
                <a:lnTo>
                  <a:pt x="11585477" y="6229094"/>
                </a:lnTo>
                <a:lnTo>
                  <a:pt x="11580947" y="6226631"/>
                </a:lnTo>
                <a:lnTo>
                  <a:pt x="11576222" y="6224466"/>
                </a:lnTo>
                <a:lnTo>
                  <a:pt x="11571313" y="6222609"/>
                </a:lnTo>
                <a:lnTo>
                  <a:pt x="11566232" y="6221069"/>
                </a:lnTo>
                <a:lnTo>
                  <a:pt x="11560991" y="6219855"/>
                </a:lnTo>
                <a:lnTo>
                  <a:pt x="11555601" y="6218976"/>
                </a:lnTo>
                <a:lnTo>
                  <a:pt x="11550074" y="6218442"/>
                </a:lnTo>
                <a:close/>
                <a:moveTo>
                  <a:pt x="10979638" y="6160381"/>
                </a:moveTo>
                <a:lnTo>
                  <a:pt x="10978099" y="6160692"/>
                </a:lnTo>
                <a:lnTo>
                  <a:pt x="10976841" y="6161539"/>
                </a:lnTo>
                <a:lnTo>
                  <a:pt x="10975994" y="6162797"/>
                </a:lnTo>
                <a:lnTo>
                  <a:pt x="10975683" y="6164336"/>
                </a:lnTo>
                <a:lnTo>
                  <a:pt x="10975683" y="6364736"/>
                </a:lnTo>
                <a:lnTo>
                  <a:pt x="10975994" y="6366276"/>
                </a:lnTo>
                <a:lnTo>
                  <a:pt x="10976841" y="6367533"/>
                </a:lnTo>
                <a:lnTo>
                  <a:pt x="10978099" y="6368380"/>
                </a:lnTo>
                <a:lnTo>
                  <a:pt x="10979638" y="6368691"/>
                </a:lnTo>
                <a:lnTo>
                  <a:pt x="11103940" y="6368691"/>
                </a:lnTo>
                <a:lnTo>
                  <a:pt x="11105480" y="6368380"/>
                </a:lnTo>
                <a:lnTo>
                  <a:pt x="11106737" y="6367533"/>
                </a:lnTo>
                <a:lnTo>
                  <a:pt x="11107585" y="6366276"/>
                </a:lnTo>
                <a:lnTo>
                  <a:pt x="11107896" y="6364736"/>
                </a:lnTo>
                <a:lnTo>
                  <a:pt x="11107896" y="6328575"/>
                </a:lnTo>
                <a:lnTo>
                  <a:pt x="11105480" y="6324931"/>
                </a:lnTo>
                <a:lnTo>
                  <a:pt x="11026059" y="6324620"/>
                </a:lnTo>
                <a:lnTo>
                  <a:pt x="11024520" y="6324309"/>
                </a:lnTo>
                <a:lnTo>
                  <a:pt x="11023263" y="6323461"/>
                </a:lnTo>
                <a:lnTo>
                  <a:pt x="11022415" y="6322204"/>
                </a:lnTo>
                <a:lnTo>
                  <a:pt x="11022104" y="6320665"/>
                </a:lnTo>
                <a:lnTo>
                  <a:pt x="11022104" y="6288617"/>
                </a:lnTo>
                <a:lnTo>
                  <a:pt x="11022415" y="6287078"/>
                </a:lnTo>
                <a:lnTo>
                  <a:pt x="11023263" y="6285820"/>
                </a:lnTo>
                <a:lnTo>
                  <a:pt x="11024520" y="6284973"/>
                </a:lnTo>
                <a:lnTo>
                  <a:pt x="11026059" y="6284662"/>
                </a:lnTo>
                <a:lnTo>
                  <a:pt x="11095712" y="6284662"/>
                </a:lnTo>
                <a:lnTo>
                  <a:pt x="11097252" y="6284351"/>
                </a:lnTo>
                <a:lnTo>
                  <a:pt x="11098510" y="6283503"/>
                </a:lnTo>
                <a:lnTo>
                  <a:pt x="11099358" y="6282246"/>
                </a:lnTo>
                <a:lnTo>
                  <a:pt x="11099669" y="6280706"/>
                </a:lnTo>
                <a:lnTo>
                  <a:pt x="11099669" y="6247778"/>
                </a:lnTo>
                <a:lnTo>
                  <a:pt x="11099358" y="6246239"/>
                </a:lnTo>
                <a:lnTo>
                  <a:pt x="11098510" y="6244981"/>
                </a:lnTo>
                <a:lnTo>
                  <a:pt x="11097252" y="6244134"/>
                </a:lnTo>
                <a:lnTo>
                  <a:pt x="11095712" y="6243823"/>
                </a:lnTo>
                <a:lnTo>
                  <a:pt x="11026059" y="6243823"/>
                </a:lnTo>
                <a:lnTo>
                  <a:pt x="11024520" y="6243512"/>
                </a:lnTo>
                <a:lnTo>
                  <a:pt x="11023263" y="6242665"/>
                </a:lnTo>
                <a:lnTo>
                  <a:pt x="11022415" y="6241407"/>
                </a:lnTo>
                <a:lnTo>
                  <a:pt x="11022104" y="6239867"/>
                </a:lnTo>
                <a:lnTo>
                  <a:pt x="11022104" y="6208114"/>
                </a:lnTo>
                <a:lnTo>
                  <a:pt x="11022415" y="6206575"/>
                </a:lnTo>
                <a:lnTo>
                  <a:pt x="11023263" y="6205317"/>
                </a:lnTo>
                <a:lnTo>
                  <a:pt x="11024520" y="6204470"/>
                </a:lnTo>
                <a:lnTo>
                  <a:pt x="11026059" y="6204159"/>
                </a:lnTo>
                <a:lnTo>
                  <a:pt x="11103646" y="6204159"/>
                </a:lnTo>
                <a:lnTo>
                  <a:pt x="11105185" y="6203848"/>
                </a:lnTo>
                <a:lnTo>
                  <a:pt x="11106443" y="6203001"/>
                </a:lnTo>
                <a:lnTo>
                  <a:pt x="11107291" y="6201744"/>
                </a:lnTo>
                <a:lnTo>
                  <a:pt x="11107601" y="6200203"/>
                </a:lnTo>
                <a:lnTo>
                  <a:pt x="11107601" y="6164336"/>
                </a:lnTo>
                <a:lnTo>
                  <a:pt x="11107291" y="6162797"/>
                </a:lnTo>
                <a:lnTo>
                  <a:pt x="11106443" y="6161539"/>
                </a:lnTo>
                <a:lnTo>
                  <a:pt x="11105185" y="6160692"/>
                </a:lnTo>
                <a:lnTo>
                  <a:pt x="11103646" y="6160381"/>
                </a:lnTo>
                <a:close/>
                <a:moveTo>
                  <a:pt x="11320325" y="6151861"/>
                </a:moveTo>
                <a:lnTo>
                  <a:pt x="11315166" y="6152394"/>
                </a:lnTo>
                <a:lnTo>
                  <a:pt x="11310336" y="6153922"/>
                </a:lnTo>
                <a:lnTo>
                  <a:pt x="11305948" y="6156338"/>
                </a:lnTo>
                <a:lnTo>
                  <a:pt x="11302110" y="6159536"/>
                </a:lnTo>
                <a:lnTo>
                  <a:pt x="11298933" y="6163409"/>
                </a:lnTo>
                <a:lnTo>
                  <a:pt x="11296528" y="6167850"/>
                </a:lnTo>
                <a:lnTo>
                  <a:pt x="11295003" y="6172753"/>
                </a:lnTo>
                <a:lnTo>
                  <a:pt x="11294471" y="6178010"/>
                </a:lnTo>
                <a:lnTo>
                  <a:pt x="11295003" y="6183267"/>
                </a:lnTo>
                <a:lnTo>
                  <a:pt x="11296528" y="6188169"/>
                </a:lnTo>
                <a:lnTo>
                  <a:pt x="11298933" y="6192610"/>
                </a:lnTo>
                <a:lnTo>
                  <a:pt x="11302110" y="6196483"/>
                </a:lnTo>
                <a:lnTo>
                  <a:pt x="11305948" y="6199681"/>
                </a:lnTo>
                <a:lnTo>
                  <a:pt x="11310336" y="6202098"/>
                </a:lnTo>
                <a:lnTo>
                  <a:pt x="11315166" y="6203626"/>
                </a:lnTo>
                <a:lnTo>
                  <a:pt x="11320325" y="6204159"/>
                </a:lnTo>
                <a:lnTo>
                  <a:pt x="11325679" y="6203626"/>
                </a:lnTo>
                <a:lnTo>
                  <a:pt x="11330655" y="6202098"/>
                </a:lnTo>
                <a:lnTo>
                  <a:pt x="11335148" y="6199681"/>
                </a:lnTo>
                <a:lnTo>
                  <a:pt x="11339056" y="6196483"/>
                </a:lnTo>
                <a:lnTo>
                  <a:pt x="11342275" y="6192610"/>
                </a:lnTo>
                <a:lnTo>
                  <a:pt x="11344703" y="6188169"/>
                </a:lnTo>
                <a:lnTo>
                  <a:pt x="11346235" y="6183267"/>
                </a:lnTo>
                <a:lnTo>
                  <a:pt x="11346769" y="6178010"/>
                </a:lnTo>
                <a:lnTo>
                  <a:pt x="11346235" y="6172753"/>
                </a:lnTo>
                <a:lnTo>
                  <a:pt x="11344703" y="6167850"/>
                </a:lnTo>
                <a:lnTo>
                  <a:pt x="11342275" y="6163409"/>
                </a:lnTo>
                <a:lnTo>
                  <a:pt x="11339056" y="6159536"/>
                </a:lnTo>
                <a:lnTo>
                  <a:pt x="11335148" y="6156338"/>
                </a:lnTo>
                <a:lnTo>
                  <a:pt x="11330655" y="6153922"/>
                </a:lnTo>
                <a:lnTo>
                  <a:pt x="11325679" y="6152394"/>
                </a:lnTo>
                <a:close/>
                <a:moveTo>
                  <a:pt x="10773128" y="6124038"/>
                </a:moveTo>
                <a:lnTo>
                  <a:pt x="10767489" y="6124774"/>
                </a:lnTo>
                <a:lnTo>
                  <a:pt x="10762146" y="6126982"/>
                </a:lnTo>
                <a:lnTo>
                  <a:pt x="10655586" y="6188504"/>
                </a:lnTo>
                <a:lnTo>
                  <a:pt x="10651004" y="6192027"/>
                </a:lnTo>
                <a:lnTo>
                  <a:pt x="10647548" y="6196543"/>
                </a:lnTo>
                <a:lnTo>
                  <a:pt x="10645365" y="6201794"/>
                </a:lnTo>
                <a:lnTo>
                  <a:pt x="10644605" y="6207525"/>
                </a:lnTo>
                <a:lnTo>
                  <a:pt x="10644605" y="6330569"/>
                </a:lnTo>
                <a:lnTo>
                  <a:pt x="10645365" y="6336300"/>
                </a:lnTo>
                <a:lnTo>
                  <a:pt x="10647548" y="6341551"/>
                </a:lnTo>
                <a:lnTo>
                  <a:pt x="10651004" y="6346068"/>
                </a:lnTo>
                <a:lnTo>
                  <a:pt x="10655588" y="6349592"/>
                </a:lnTo>
                <a:lnTo>
                  <a:pt x="10762146" y="6411114"/>
                </a:lnTo>
                <a:lnTo>
                  <a:pt x="10767489" y="6413321"/>
                </a:lnTo>
                <a:lnTo>
                  <a:pt x="10773128" y="6414056"/>
                </a:lnTo>
                <a:lnTo>
                  <a:pt x="10778768" y="6413321"/>
                </a:lnTo>
                <a:lnTo>
                  <a:pt x="10784111" y="6411114"/>
                </a:lnTo>
                <a:lnTo>
                  <a:pt x="10883832" y="6353541"/>
                </a:lnTo>
                <a:lnTo>
                  <a:pt x="10890671" y="6349592"/>
                </a:lnTo>
                <a:lnTo>
                  <a:pt x="10895253" y="6346068"/>
                </a:lnTo>
                <a:lnTo>
                  <a:pt x="10898709" y="6341551"/>
                </a:lnTo>
                <a:lnTo>
                  <a:pt x="10900892" y="6336300"/>
                </a:lnTo>
                <a:lnTo>
                  <a:pt x="10901652" y="6330569"/>
                </a:lnTo>
                <a:lnTo>
                  <a:pt x="10901652" y="6279338"/>
                </a:lnTo>
                <a:lnTo>
                  <a:pt x="10773128" y="6353541"/>
                </a:lnTo>
                <a:lnTo>
                  <a:pt x="10701654" y="6312274"/>
                </a:lnTo>
                <a:lnTo>
                  <a:pt x="10701691" y="6227785"/>
                </a:lnTo>
                <a:lnTo>
                  <a:pt x="10767854" y="6189564"/>
                </a:lnTo>
                <a:lnTo>
                  <a:pt x="10770418" y="6188504"/>
                </a:lnTo>
                <a:lnTo>
                  <a:pt x="10773129" y="6188150"/>
                </a:lnTo>
                <a:lnTo>
                  <a:pt x="10775842" y="6188504"/>
                </a:lnTo>
                <a:lnTo>
                  <a:pt x="10778410" y="6189566"/>
                </a:lnTo>
                <a:lnTo>
                  <a:pt x="10844603" y="6227783"/>
                </a:lnTo>
                <a:lnTo>
                  <a:pt x="10782017" y="6263917"/>
                </a:lnTo>
                <a:lnTo>
                  <a:pt x="10777693" y="6265704"/>
                </a:lnTo>
                <a:lnTo>
                  <a:pt x="10773129" y="6266298"/>
                </a:lnTo>
                <a:lnTo>
                  <a:pt x="10768566" y="6265703"/>
                </a:lnTo>
                <a:lnTo>
                  <a:pt x="10764242" y="6263916"/>
                </a:lnTo>
                <a:lnTo>
                  <a:pt x="10719470" y="6238054"/>
                </a:lnTo>
                <a:lnTo>
                  <a:pt x="10719439" y="6301963"/>
                </a:lnTo>
                <a:lnTo>
                  <a:pt x="10773128" y="6332962"/>
                </a:lnTo>
                <a:lnTo>
                  <a:pt x="10888594" y="6266298"/>
                </a:lnTo>
                <a:lnTo>
                  <a:pt x="10901652" y="6258759"/>
                </a:lnTo>
                <a:lnTo>
                  <a:pt x="10901652" y="6207525"/>
                </a:lnTo>
                <a:lnTo>
                  <a:pt x="10900892" y="6201794"/>
                </a:lnTo>
                <a:lnTo>
                  <a:pt x="10898709" y="6196543"/>
                </a:lnTo>
                <a:lnTo>
                  <a:pt x="10895253" y="6192027"/>
                </a:lnTo>
                <a:lnTo>
                  <a:pt x="10890670" y="6188503"/>
                </a:lnTo>
                <a:lnTo>
                  <a:pt x="10890059" y="6188150"/>
                </a:lnTo>
                <a:lnTo>
                  <a:pt x="10784111" y="6126982"/>
                </a:lnTo>
                <a:lnTo>
                  <a:pt x="10778768" y="6124774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Picture</a:t>
            </a:r>
          </a:p>
        </p:txBody>
      </p:sp>
      <p:pic>
        <p:nvPicPr>
          <p:cNvPr id="4" name="Picture 3" descr="epiroc_log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669" y="6131964"/>
            <a:ext cx="1136926" cy="30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37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Lef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7090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Epiroc Logo - 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44029" y="6128910"/>
            <a:ext cx="1147565" cy="31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204246" y="6259394"/>
                </a:moveTo>
                <a:lnTo>
                  <a:pt x="11208993" y="6259686"/>
                </a:lnTo>
                <a:lnTo>
                  <a:pt x="11213576" y="6260565"/>
                </a:lnTo>
                <a:lnTo>
                  <a:pt x="11217936" y="6262035"/>
                </a:lnTo>
                <a:lnTo>
                  <a:pt x="11222012" y="6264099"/>
                </a:lnTo>
                <a:lnTo>
                  <a:pt x="11225741" y="6266762"/>
                </a:lnTo>
                <a:lnTo>
                  <a:pt x="11229064" y="6270028"/>
                </a:lnTo>
                <a:lnTo>
                  <a:pt x="11231919" y="6273900"/>
                </a:lnTo>
                <a:lnTo>
                  <a:pt x="11234246" y="6278382"/>
                </a:lnTo>
                <a:lnTo>
                  <a:pt x="11235984" y="6283480"/>
                </a:lnTo>
                <a:lnTo>
                  <a:pt x="11237071" y="6289195"/>
                </a:lnTo>
                <a:lnTo>
                  <a:pt x="11237447" y="6295533"/>
                </a:lnTo>
                <a:lnTo>
                  <a:pt x="11237071" y="6301878"/>
                </a:lnTo>
                <a:lnTo>
                  <a:pt x="11235984" y="6307612"/>
                </a:lnTo>
                <a:lnTo>
                  <a:pt x="11234246" y="6312737"/>
                </a:lnTo>
                <a:lnTo>
                  <a:pt x="11231919" y="6317255"/>
                </a:lnTo>
                <a:lnTo>
                  <a:pt x="11229064" y="6321166"/>
                </a:lnTo>
                <a:lnTo>
                  <a:pt x="11225741" y="6324471"/>
                </a:lnTo>
                <a:lnTo>
                  <a:pt x="11222012" y="6327173"/>
                </a:lnTo>
                <a:lnTo>
                  <a:pt x="11217936" y="6329272"/>
                </a:lnTo>
                <a:lnTo>
                  <a:pt x="11213576" y="6330770"/>
                </a:lnTo>
                <a:lnTo>
                  <a:pt x="11208993" y="6331667"/>
                </a:lnTo>
                <a:lnTo>
                  <a:pt x="11204246" y="6331966"/>
                </a:lnTo>
                <a:lnTo>
                  <a:pt x="11199572" y="6331661"/>
                </a:lnTo>
                <a:lnTo>
                  <a:pt x="11195049" y="6330746"/>
                </a:lnTo>
                <a:lnTo>
                  <a:pt x="11190737" y="6329224"/>
                </a:lnTo>
                <a:lnTo>
                  <a:pt x="11186699" y="6327099"/>
                </a:lnTo>
                <a:lnTo>
                  <a:pt x="11182998" y="6324372"/>
                </a:lnTo>
                <a:lnTo>
                  <a:pt x="11179695" y="6321047"/>
                </a:lnTo>
                <a:lnTo>
                  <a:pt x="11176854" y="6317125"/>
                </a:lnTo>
                <a:lnTo>
                  <a:pt x="11174535" y="6312611"/>
                </a:lnTo>
                <a:lnTo>
                  <a:pt x="11172802" y="6307505"/>
                </a:lnTo>
                <a:lnTo>
                  <a:pt x="11171716" y="6301812"/>
                </a:lnTo>
                <a:lnTo>
                  <a:pt x="11171341" y="6295533"/>
                </a:lnTo>
                <a:lnTo>
                  <a:pt x="11171716" y="6289195"/>
                </a:lnTo>
                <a:lnTo>
                  <a:pt x="11172802" y="6283480"/>
                </a:lnTo>
                <a:lnTo>
                  <a:pt x="11174535" y="6278382"/>
                </a:lnTo>
                <a:lnTo>
                  <a:pt x="11176854" y="6273900"/>
                </a:lnTo>
                <a:lnTo>
                  <a:pt x="11179695" y="6270028"/>
                </a:lnTo>
                <a:lnTo>
                  <a:pt x="11182998" y="6266762"/>
                </a:lnTo>
                <a:lnTo>
                  <a:pt x="11186699" y="6264099"/>
                </a:lnTo>
                <a:lnTo>
                  <a:pt x="11190737" y="6262035"/>
                </a:lnTo>
                <a:lnTo>
                  <a:pt x="11195049" y="6260565"/>
                </a:lnTo>
                <a:lnTo>
                  <a:pt x="11199572" y="6259686"/>
                </a:lnTo>
                <a:close/>
                <a:moveTo>
                  <a:pt x="11544423" y="6259394"/>
                </a:moveTo>
                <a:lnTo>
                  <a:pt x="11549030" y="6259679"/>
                </a:lnTo>
                <a:lnTo>
                  <a:pt x="11553513" y="6260541"/>
                </a:lnTo>
                <a:lnTo>
                  <a:pt x="11557805" y="6261987"/>
                </a:lnTo>
                <a:lnTo>
                  <a:pt x="11561840" y="6264024"/>
                </a:lnTo>
                <a:lnTo>
                  <a:pt x="11565552" y="6266662"/>
                </a:lnTo>
                <a:lnTo>
                  <a:pt x="11568875" y="6269908"/>
                </a:lnTo>
                <a:lnTo>
                  <a:pt x="11571742" y="6273769"/>
                </a:lnTo>
                <a:lnTo>
                  <a:pt x="11574087" y="6278255"/>
                </a:lnTo>
                <a:lnTo>
                  <a:pt x="11575844" y="6283371"/>
                </a:lnTo>
                <a:lnTo>
                  <a:pt x="11576947" y="6289128"/>
                </a:lnTo>
                <a:lnTo>
                  <a:pt x="11577329" y="6295532"/>
                </a:lnTo>
                <a:lnTo>
                  <a:pt x="11576947" y="6301944"/>
                </a:lnTo>
                <a:lnTo>
                  <a:pt x="11575844" y="6307720"/>
                </a:lnTo>
                <a:lnTo>
                  <a:pt x="11574087" y="6312865"/>
                </a:lnTo>
                <a:lnTo>
                  <a:pt x="11571742" y="6317385"/>
                </a:lnTo>
                <a:lnTo>
                  <a:pt x="11568875" y="6321285"/>
                </a:lnTo>
                <a:lnTo>
                  <a:pt x="11565552" y="6324571"/>
                </a:lnTo>
                <a:lnTo>
                  <a:pt x="11561840" y="6327247"/>
                </a:lnTo>
                <a:lnTo>
                  <a:pt x="11557805" y="6329319"/>
                </a:lnTo>
                <a:lnTo>
                  <a:pt x="11553513" y="6330793"/>
                </a:lnTo>
                <a:lnTo>
                  <a:pt x="11549030" y="6331673"/>
                </a:lnTo>
                <a:lnTo>
                  <a:pt x="11544423" y="6331966"/>
                </a:lnTo>
                <a:lnTo>
                  <a:pt x="11539882" y="6331667"/>
                </a:lnTo>
                <a:lnTo>
                  <a:pt x="11535440" y="6330769"/>
                </a:lnTo>
                <a:lnTo>
                  <a:pt x="11531168" y="6329272"/>
                </a:lnTo>
                <a:lnTo>
                  <a:pt x="11527135" y="6327173"/>
                </a:lnTo>
                <a:lnTo>
                  <a:pt x="11523413" y="6324471"/>
                </a:lnTo>
                <a:lnTo>
                  <a:pt x="11520070" y="6321166"/>
                </a:lnTo>
                <a:lnTo>
                  <a:pt x="11517178" y="6317255"/>
                </a:lnTo>
                <a:lnTo>
                  <a:pt x="11514806" y="6312737"/>
                </a:lnTo>
                <a:lnTo>
                  <a:pt x="11513025" y="6307612"/>
                </a:lnTo>
                <a:lnTo>
                  <a:pt x="11511905" y="6301878"/>
                </a:lnTo>
                <a:lnTo>
                  <a:pt x="11511516" y="6295532"/>
                </a:lnTo>
                <a:lnTo>
                  <a:pt x="11511905" y="6289128"/>
                </a:lnTo>
                <a:lnTo>
                  <a:pt x="11513025" y="6283371"/>
                </a:lnTo>
                <a:lnTo>
                  <a:pt x="11514806" y="6278255"/>
                </a:lnTo>
                <a:lnTo>
                  <a:pt x="11517178" y="6273769"/>
                </a:lnTo>
                <a:lnTo>
                  <a:pt x="11520070" y="6269908"/>
                </a:lnTo>
                <a:lnTo>
                  <a:pt x="11523413" y="6266662"/>
                </a:lnTo>
                <a:lnTo>
                  <a:pt x="11527135" y="6264024"/>
                </a:lnTo>
                <a:lnTo>
                  <a:pt x="11531168" y="6261987"/>
                </a:lnTo>
                <a:lnTo>
                  <a:pt x="11535440" y="6260541"/>
                </a:lnTo>
                <a:lnTo>
                  <a:pt x="11539882" y="6259679"/>
                </a:lnTo>
                <a:close/>
                <a:moveTo>
                  <a:pt x="11302246" y="6222669"/>
                </a:moveTo>
                <a:lnTo>
                  <a:pt x="11300707" y="6222979"/>
                </a:lnTo>
                <a:lnTo>
                  <a:pt x="11299449" y="6223827"/>
                </a:lnTo>
                <a:lnTo>
                  <a:pt x="11298602" y="6225084"/>
                </a:lnTo>
                <a:lnTo>
                  <a:pt x="11298291" y="6226624"/>
                </a:lnTo>
                <a:lnTo>
                  <a:pt x="11298291" y="6364736"/>
                </a:lnTo>
                <a:lnTo>
                  <a:pt x="11298602" y="6366276"/>
                </a:lnTo>
                <a:lnTo>
                  <a:pt x="11299449" y="6367533"/>
                </a:lnTo>
                <a:lnTo>
                  <a:pt x="11300707" y="6368380"/>
                </a:lnTo>
                <a:lnTo>
                  <a:pt x="11302246" y="6368691"/>
                </a:lnTo>
                <a:lnTo>
                  <a:pt x="11338992" y="6368691"/>
                </a:lnTo>
                <a:lnTo>
                  <a:pt x="11340533" y="6368380"/>
                </a:lnTo>
                <a:lnTo>
                  <a:pt x="11341790" y="6367533"/>
                </a:lnTo>
                <a:lnTo>
                  <a:pt x="11342638" y="6366276"/>
                </a:lnTo>
                <a:lnTo>
                  <a:pt x="11342949" y="6364736"/>
                </a:lnTo>
                <a:lnTo>
                  <a:pt x="11342949" y="6226624"/>
                </a:lnTo>
                <a:lnTo>
                  <a:pt x="11342638" y="6225084"/>
                </a:lnTo>
                <a:lnTo>
                  <a:pt x="11341790" y="6223827"/>
                </a:lnTo>
                <a:lnTo>
                  <a:pt x="11340533" y="6222979"/>
                </a:lnTo>
                <a:lnTo>
                  <a:pt x="11338992" y="6222669"/>
                </a:lnTo>
                <a:close/>
                <a:moveTo>
                  <a:pt x="11449736" y="6221200"/>
                </a:moveTo>
                <a:lnTo>
                  <a:pt x="11445047" y="6221434"/>
                </a:lnTo>
                <a:lnTo>
                  <a:pt x="11439931" y="6222191"/>
                </a:lnTo>
                <a:lnTo>
                  <a:pt x="11434594" y="6223555"/>
                </a:lnTo>
                <a:lnTo>
                  <a:pt x="11429243" y="6225607"/>
                </a:lnTo>
                <a:lnTo>
                  <a:pt x="11424086" y="6228430"/>
                </a:lnTo>
                <a:lnTo>
                  <a:pt x="11419327" y="6232107"/>
                </a:lnTo>
                <a:lnTo>
                  <a:pt x="11415175" y="6236721"/>
                </a:lnTo>
                <a:lnTo>
                  <a:pt x="11411835" y="6242354"/>
                </a:lnTo>
                <a:lnTo>
                  <a:pt x="11411835" y="6226623"/>
                </a:lnTo>
                <a:lnTo>
                  <a:pt x="11411524" y="6225084"/>
                </a:lnTo>
                <a:lnTo>
                  <a:pt x="11410676" y="6223827"/>
                </a:lnTo>
                <a:lnTo>
                  <a:pt x="11409418" y="6222979"/>
                </a:lnTo>
                <a:lnTo>
                  <a:pt x="11407878" y="6222668"/>
                </a:lnTo>
                <a:lnTo>
                  <a:pt x="11372602" y="6222668"/>
                </a:lnTo>
                <a:lnTo>
                  <a:pt x="11371061" y="6222979"/>
                </a:lnTo>
                <a:lnTo>
                  <a:pt x="11369804" y="6223827"/>
                </a:lnTo>
                <a:lnTo>
                  <a:pt x="11368957" y="6225084"/>
                </a:lnTo>
                <a:lnTo>
                  <a:pt x="11368646" y="6226623"/>
                </a:lnTo>
                <a:lnTo>
                  <a:pt x="11368646" y="6364735"/>
                </a:lnTo>
                <a:lnTo>
                  <a:pt x="11368957" y="6366276"/>
                </a:lnTo>
                <a:lnTo>
                  <a:pt x="11369804" y="6367533"/>
                </a:lnTo>
                <a:lnTo>
                  <a:pt x="11371061" y="6368381"/>
                </a:lnTo>
                <a:lnTo>
                  <a:pt x="11372602" y="6368692"/>
                </a:lnTo>
                <a:lnTo>
                  <a:pt x="11409348" y="6368692"/>
                </a:lnTo>
                <a:lnTo>
                  <a:pt x="11410888" y="6368381"/>
                </a:lnTo>
                <a:lnTo>
                  <a:pt x="11412145" y="6367533"/>
                </a:lnTo>
                <a:lnTo>
                  <a:pt x="11412993" y="6366276"/>
                </a:lnTo>
                <a:lnTo>
                  <a:pt x="11413303" y="6364735"/>
                </a:lnTo>
                <a:lnTo>
                  <a:pt x="11413303" y="6304933"/>
                </a:lnTo>
                <a:lnTo>
                  <a:pt x="11413693" y="6297452"/>
                </a:lnTo>
                <a:lnTo>
                  <a:pt x="11414819" y="6290850"/>
                </a:lnTo>
                <a:lnTo>
                  <a:pt x="11416617" y="6285091"/>
                </a:lnTo>
                <a:lnTo>
                  <a:pt x="11419022" y="6280141"/>
                </a:lnTo>
                <a:lnTo>
                  <a:pt x="11421968" y="6275965"/>
                </a:lnTo>
                <a:lnTo>
                  <a:pt x="11425391" y="6272527"/>
                </a:lnTo>
                <a:lnTo>
                  <a:pt x="11429226" y="6269793"/>
                </a:lnTo>
                <a:lnTo>
                  <a:pt x="11433408" y="6267727"/>
                </a:lnTo>
                <a:lnTo>
                  <a:pt x="11437872" y="6266295"/>
                </a:lnTo>
                <a:lnTo>
                  <a:pt x="11442553" y="6265462"/>
                </a:lnTo>
                <a:lnTo>
                  <a:pt x="11447386" y="6265192"/>
                </a:lnTo>
                <a:lnTo>
                  <a:pt x="11449597" y="6265218"/>
                </a:lnTo>
                <a:lnTo>
                  <a:pt x="11451716" y="6265305"/>
                </a:lnTo>
                <a:lnTo>
                  <a:pt x="11453796" y="6265462"/>
                </a:lnTo>
                <a:lnTo>
                  <a:pt x="11455857" y="6265697"/>
                </a:lnTo>
                <a:lnTo>
                  <a:pt x="11457426" y="6265604"/>
                </a:lnTo>
                <a:lnTo>
                  <a:pt x="11458297" y="6265192"/>
                </a:lnTo>
                <a:lnTo>
                  <a:pt x="11458795" y="6264956"/>
                </a:lnTo>
                <a:lnTo>
                  <a:pt x="11459818" y="6263848"/>
                </a:lnTo>
                <a:lnTo>
                  <a:pt x="11460354" y="6262378"/>
                </a:lnTo>
                <a:lnTo>
                  <a:pt x="11463366" y="6242354"/>
                </a:lnTo>
                <a:lnTo>
                  <a:pt x="11465659" y="6227104"/>
                </a:lnTo>
                <a:lnTo>
                  <a:pt x="11465597" y="6225591"/>
                </a:lnTo>
                <a:lnTo>
                  <a:pt x="11459257" y="6222042"/>
                </a:lnTo>
                <a:lnTo>
                  <a:pt x="11452556" y="6221301"/>
                </a:lnTo>
                <a:close/>
                <a:moveTo>
                  <a:pt x="11213355" y="6219143"/>
                </a:moveTo>
                <a:lnTo>
                  <a:pt x="11206593" y="6219468"/>
                </a:lnTo>
                <a:lnTo>
                  <a:pt x="11200240" y="6220396"/>
                </a:lnTo>
                <a:lnTo>
                  <a:pt x="11194334" y="6221852"/>
                </a:lnTo>
                <a:lnTo>
                  <a:pt x="11188914" y="6223766"/>
                </a:lnTo>
                <a:lnTo>
                  <a:pt x="11184018" y="6226065"/>
                </a:lnTo>
                <a:lnTo>
                  <a:pt x="11179687" y="6228675"/>
                </a:lnTo>
                <a:lnTo>
                  <a:pt x="11175957" y="6231525"/>
                </a:lnTo>
                <a:lnTo>
                  <a:pt x="11170459" y="6237653"/>
                </a:lnTo>
                <a:lnTo>
                  <a:pt x="11170459" y="6226624"/>
                </a:lnTo>
                <a:lnTo>
                  <a:pt x="11170148" y="6225084"/>
                </a:lnTo>
                <a:lnTo>
                  <a:pt x="11169300" y="6223827"/>
                </a:lnTo>
                <a:lnTo>
                  <a:pt x="11168042" y="6222979"/>
                </a:lnTo>
                <a:lnTo>
                  <a:pt x="11166502" y="6222668"/>
                </a:lnTo>
                <a:lnTo>
                  <a:pt x="11131225" y="6222668"/>
                </a:lnTo>
                <a:lnTo>
                  <a:pt x="11129685" y="6222979"/>
                </a:lnTo>
                <a:lnTo>
                  <a:pt x="11128427" y="6223827"/>
                </a:lnTo>
                <a:lnTo>
                  <a:pt x="11127579" y="6225084"/>
                </a:lnTo>
                <a:lnTo>
                  <a:pt x="11127268" y="6226624"/>
                </a:lnTo>
                <a:lnTo>
                  <a:pt x="11127268" y="6420559"/>
                </a:lnTo>
                <a:lnTo>
                  <a:pt x="11127579" y="6422099"/>
                </a:lnTo>
                <a:lnTo>
                  <a:pt x="11128427" y="6423356"/>
                </a:lnTo>
                <a:lnTo>
                  <a:pt x="11129685" y="6424204"/>
                </a:lnTo>
                <a:lnTo>
                  <a:pt x="11131225" y="6424514"/>
                </a:lnTo>
                <a:lnTo>
                  <a:pt x="11167971" y="6424514"/>
                </a:lnTo>
                <a:lnTo>
                  <a:pt x="11169511" y="6424204"/>
                </a:lnTo>
                <a:lnTo>
                  <a:pt x="11170768" y="6423356"/>
                </a:lnTo>
                <a:lnTo>
                  <a:pt x="11171616" y="6422099"/>
                </a:lnTo>
                <a:lnTo>
                  <a:pt x="11171927" y="6420559"/>
                </a:lnTo>
                <a:lnTo>
                  <a:pt x="11171927" y="6357233"/>
                </a:lnTo>
                <a:lnTo>
                  <a:pt x="11174801" y="6360226"/>
                </a:lnTo>
                <a:lnTo>
                  <a:pt x="11178332" y="6362999"/>
                </a:lnTo>
                <a:lnTo>
                  <a:pt x="11182489" y="6365496"/>
                </a:lnTo>
                <a:lnTo>
                  <a:pt x="11187242" y="6367663"/>
                </a:lnTo>
                <a:lnTo>
                  <a:pt x="11192560" y="6369445"/>
                </a:lnTo>
                <a:lnTo>
                  <a:pt x="11198411" y="6370786"/>
                </a:lnTo>
                <a:lnTo>
                  <a:pt x="11204765" y="6371631"/>
                </a:lnTo>
                <a:lnTo>
                  <a:pt x="11211591" y="6371925"/>
                </a:lnTo>
                <a:lnTo>
                  <a:pt x="11217084" y="6371728"/>
                </a:lnTo>
                <a:lnTo>
                  <a:pt x="11222418" y="6371145"/>
                </a:lnTo>
                <a:lnTo>
                  <a:pt x="11227584" y="6370187"/>
                </a:lnTo>
                <a:lnTo>
                  <a:pt x="11232572" y="6368865"/>
                </a:lnTo>
                <a:lnTo>
                  <a:pt x="11237373" y="6367189"/>
                </a:lnTo>
                <a:lnTo>
                  <a:pt x="11241978" y="6365172"/>
                </a:lnTo>
                <a:lnTo>
                  <a:pt x="11246376" y="6362822"/>
                </a:lnTo>
                <a:lnTo>
                  <a:pt x="11250560" y="6360153"/>
                </a:lnTo>
                <a:lnTo>
                  <a:pt x="11254438" y="6357233"/>
                </a:lnTo>
                <a:lnTo>
                  <a:pt x="11258242" y="6353895"/>
                </a:lnTo>
                <a:lnTo>
                  <a:pt x="11261723" y="6350329"/>
                </a:lnTo>
                <a:lnTo>
                  <a:pt x="11264950" y="6346487"/>
                </a:lnTo>
                <a:lnTo>
                  <a:pt x="11267915" y="6342378"/>
                </a:lnTo>
                <a:lnTo>
                  <a:pt x="11270608" y="6338015"/>
                </a:lnTo>
                <a:lnTo>
                  <a:pt x="11273019" y="6333407"/>
                </a:lnTo>
                <a:lnTo>
                  <a:pt x="11273650" y="6331966"/>
                </a:lnTo>
                <a:lnTo>
                  <a:pt x="11276960" y="6323504"/>
                </a:lnTo>
                <a:lnTo>
                  <a:pt x="11278470" y="6318230"/>
                </a:lnTo>
                <a:lnTo>
                  <a:pt x="11279664" y="6312737"/>
                </a:lnTo>
                <a:lnTo>
                  <a:pt x="11280524" y="6307092"/>
                </a:lnTo>
                <a:lnTo>
                  <a:pt x="11281048" y="6301250"/>
                </a:lnTo>
                <a:lnTo>
                  <a:pt x="11281225" y="6295240"/>
                </a:lnTo>
                <a:lnTo>
                  <a:pt x="11281067" y="6289343"/>
                </a:lnTo>
                <a:lnTo>
                  <a:pt x="11280598" y="6283600"/>
                </a:lnTo>
                <a:lnTo>
                  <a:pt x="11279821" y="6278023"/>
                </a:lnTo>
                <a:lnTo>
                  <a:pt x="11278743" y="6272623"/>
                </a:lnTo>
                <a:lnTo>
                  <a:pt x="11277367" y="6267412"/>
                </a:lnTo>
                <a:lnTo>
                  <a:pt x="11275700" y="6262402"/>
                </a:lnTo>
                <a:lnTo>
                  <a:pt x="11274475" y="6259394"/>
                </a:lnTo>
                <a:lnTo>
                  <a:pt x="11273745" y="6257604"/>
                </a:lnTo>
                <a:lnTo>
                  <a:pt x="11271508" y="6253031"/>
                </a:lnTo>
                <a:lnTo>
                  <a:pt x="11268995" y="6248694"/>
                </a:lnTo>
                <a:lnTo>
                  <a:pt x="11266209" y="6244604"/>
                </a:lnTo>
                <a:lnTo>
                  <a:pt x="11263156" y="6240775"/>
                </a:lnTo>
                <a:lnTo>
                  <a:pt x="11260246" y="6237653"/>
                </a:lnTo>
                <a:lnTo>
                  <a:pt x="11256267" y="6233941"/>
                </a:lnTo>
                <a:lnTo>
                  <a:pt x="11252442" y="6230961"/>
                </a:lnTo>
                <a:lnTo>
                  <a:pt x="11248370" y="6228287"/>
                </a:lnTo>
                <a:lnTo>
                  <a:pt x="11244055" y="6225931"/>
                </a:lnTo>
                <a:lnTo>
                  <a:pt x="11239503" y="6223906"/>
                </a:lnTo>
                <a:lnTo>
                  <a:pt x="11234718" y="6222223"/>
                </a:lnTo>
                <a:lnTo>
                  <a:pt x="11229706" y="6220893"/>
                </a:lnTo>
                <a:lnTo>
                  <a:pt x="11224472" y="6219929"/>
                </a:lnTo>
                <a:lnTo>
                  <a:pt x="11219020" y="6219341"/>
                </a:lnTo>
                <a:close/>
                <a:moveTo>
                  <a:pt x="11711671" y="6218262"/>
                </a:moveTo>
                <a:lnTo>
                  <a:pt x="11706128" y="6218442"/>
                </a:lnTo>
                <a:lnTo>
                  <a:pt x="11700697" y="6218976"/>
                </a:lnTo>
                <a:lnTo>
                  <a:pt x="11695392" y="6219855"/>
                </a:lnTo>
                <a:lnTo>
                  <a:pt x="11690223" y="6221070"/>
                </a:lnTo>
                <a:lnTo>
                  <a:pt x="11685205" y="6222612"/>
                </a:lnTo>
                <a:lnTo>
                  <a:pt x="11680348" y="6224472"/>
                </a:lnTo>
                <a:lnTo>
                  <a:pt x="11675667" y="6226639"/>
                </a:lnTo>
                <a:lnTo>
                  <a:pt x="11671172" y="6229106"/>
                </a:lnTo>
                <a:lnTo>
                  <a:pt x="11666878" y="6231864"/>
                </a:lnTo>
                <a:lnTo>
                  <a:pt x="11662795" y="6234902"/>
                </a:lnTo>
                <a:lnTo>
                  <a:pt x="11658937" y="6238213"/>
                </a:lnTo>
                <a:lnTo>
                  <a:pt x="11655316" y="6241786"/>
                </a:lnTo>
                <a:lnTo>
                  <a:pt x="11651945" y="6245613"/>
                </a:lnTo>
                <a:lnTo>
                  <a:pt x="11648835" y="6249684"/>
                </a:lnTo>
                <a:lnTo>
                  <a:pt x="11646000" y="6253991"/>
                </a:lnTo>
                <a:lnTo>
                  <a:pt x="11643452" y="6258524"/>
                </a:lnTo>
                <a:lnTo>
                  <a:pt x="11641203" y="6263275"/>
                </a:lnTo>
                <a:lnTo>
                  <a:pt x="11639260" y="6268251"/>
                </a:lnTo>
                <a:lnTo>
                  <a:pt x="11637653" y="6273391"/>
                </a:lnTo>
                <a:lnTo>
                  <a:pt x="11636377" y="6278738"/>
                </a:lnTo>
                <a:lnTo>
                  <a:pt x="11635450" y="6284266"/>
                </a:lnTo>
                <a:lnTo>
                  <a:pt x="11634885" y="6289965"/>
                </a:lnTo>
                <a:lnTo>
                  <a:pt x="11634694" y="6295827"/>
                </a:lnTo>
                <a:lnTo>
                  <a:pt x="11634874" y="6301413"/>
                </a:lnTo>
                <a:lnTo>
                  <a:pt x="11635407" y="6306852"/>
                </a:lnTo>
                <a:lnTo>
                  <a:pt x="11636281" y="6312138"/>
                </a:lnTo>
                <a:lnTo>
                  <a:pt x="11637485" y="6317261"/>
                </a:lnTo>
                <a:lnTo>
                  <a:pt x="11639007" y="6322214"/>
                </a:lnTo>
                <a:lnTo>
                  <a:pt x="11640836" y="6326989"/>
                </a:lnTo>
                <a:lnTo>
                  <a:pt x="11642960" y="6331577"/>
                </a:lnTo>
                <a:lnTo>
                  <a:pt x="11645368" y="6335970"/>
                </a:lnTo>
                <a:lnTo>
                  <a:pt x="11648049" y="6340160"/>
                </a:lnTo>
                <a:lnTo>
                  <a:pt x="11650990" y="6344138"/>
                </a:lnTo>
                <a:lnTo>
                  <a:pt x="11654181" y="6347898"/>
                </a:lnTo>
                <a:lnTo>
                  <a:pt x="11657610" y="6351430"/>
                </a:lnTo>
                <a:lnTo>
                  <a:pt x="11661266" y="6354726"/>
                </a:lnTo>
                <a:lnTo>
                  <a:pt x="11665136" y="6357778"/>
                </a:lnTo>
                <a:lnTo>
                  <a:pt x="11669210" y="6360579"/>
                </a:lnTo>
                <a:lnTo>
                  <a:pt x="11673475" y="6363119"/>
                </a:lnTo>
                <a:lnTo>
                  <a:pt x="11677922" y="6365391"/>
                </a:lnTo>
                <a:lnTo>
                  <a:pt x="11682538" y="6367387"/>
                </a:lnTo>
                <a:lnTo>
                  <a:pt x="11687311" y="6369098"/>
                </a:lnTo>
                <a:lnTo>
                  <a:pt x="11692230" y="6370516"/>
                </a:lnTo>
                <a:lnTo>
                  <a:pt x="11697284" y="6371633"/>
                </a:lnTo>
                <a:lnTo>
                  <a:pt x="11702461" y="6372441"/>
                </a:lnTo>
                <a:lnTo>
                  <a:pt x="11707750" y="6372932"/>
                </a:lnTo>
                <a:lnTo>
                  <a:pt x="11713139" y="6373098"/>
                </a:lnTo>
                <a:lnTo>
                  <a:pt x="11719933" y="6372836"/>
                </a:lnTo>
                <a:lnTo>
                  <a:pt x="11726407" y="6372073"/>
                </a:lnTo>
                <a:lnTo>
                  <a:pt x="11732558" y="6370839"/>
                </a:lnTo>
                <a:lnTo>
                  <a:pt x="11738383" y="6369166"/>
                </a:lnTo>
                <a:lnTo>
                  <a:pt x="11743879" y="6367085"/>
                </a:lnTo>
                <a:lnTo>
                  <a:pt x="11749042" y="6364626"/>
                </a:lnTo>
                <a:lnTo>
                  <a:pt x="11753869" y="6361822"/>
                </a:lnTo>
                <a:lnTo>
                  <a:pt x="11758356" y="6358704"/>
                </a:lnTo>
                <a:lnTo>
                  <a:pt x="11762502" y="6355302"/>
                </a:lnTo>
                <a:lnTo>
                  <a:pt x="11766300" y="6351649"/>
                </a:lnTo>
                <a:lnTo>
                  <a:pt x="11769750" y="6347774"/>
                </a:lnTo>
                <a:lnTo>
                  <a:pt x="11772847" y="6343710"/>
                </a:lnTo>
                <a:lnTo>
                  <a:pt x="11775588" y="6339489"/>
                </a:lnTo>
                <a:lnTo>
                  <a:pt x="11777970" y="6335140"/>
                </a:lnTo>
                <a:lnTo>
                  <a:pt x="11779412" y="6331966"/>
                </a:lnTo>
                <a:lnTo>
                  <a:pt x="11779990" y="6330695"/>
                </a:lnTo>
                <a:lnTo>
                  <a:pt x="11781643" y="6326186"/>
                </a:lnTo>
                <a:lnTo>
                  <a:pt x="11781827" y="6324591"/>
                </a:lnTo>
                <a:lnTo>
                  <a:pt x="11781400" y="6323105"/>
                </a:lnTo>
                <a:lnTo>
                  <a:pt x="11780444" y="6321894"/>
                </a:lnTo>
                <a:lnTo>
                  <a:pt x="11779040" y="6321126"/>
                </a:lnTo>
                <a:lnTo>
                  <a:pt x="11746983" y="6311318"/>
                </a:lnTo>
                <a:lnTo>
                  <a:pt x="11745523" y="6311159"/>
                </a:lnTo>
                <a:lnTo>
                  <a:pt x="11744153" y="6311529"/>
                </a:lnTo>
                <a:lnTo>
                  <a:pt x="11743000" y="6312363"/>
                </a:lnTo>
                <a:lnTo>
                  <a:pt x="11742187" y="6313593"/>
                </a:lnTo>
                <a:lnTo>
                  <a:pt x="11740100" y="6317646"/>
                </a:lnTo>
                <a:lnTo>
                  <a:pt x="11737350" y="6321451"/>
                </a:lnTo>
                <a:lnTo>
                  <a:pt x="11733922" y="6324871"/>
                </a:lnTo>
                <a:lnTo>
                  <a:pt x="11729802" y="6327770"/>
                </a:lnTo>
                <a:lnTo>
                  <a:pt x="11724975" y="6330010"/>
                </a:lnTo>
                <a:lnTo>
                  <a:pt x="11719425" y="6331454"/>
                </a:lnTo>
                <a:lnTo>
                  <a:pt x="11713139" y="6331966"/>
                </a:lnTo>
                <a:lnTo>
                  <a:pt x="11708174" y="6331647"/>
                </a:lnTo>
                <a:lnTo>
                  <a:pt x="11703411" y="6330700"/>
                </a:lnTo>
                <a:lnTo>
                  <a:pt x="11698908" y="6329135"/>
                </a:lnTo>
                <a:lnTo>
                  <a:pt x="11694720" y="6326965"/>
                </a:lnTo>
                <a:lnTo>
                  <a:pt x="11690907" y="6324201"/>
                </a:lnTo>
                <a:lnTo>
                  <a:pt x="11687524" y="6320856"/>
                </a:lnTo>
                <a:lnTo>
                  <a:pt x="11684628" y="6316942"/>
                </a:lnTo>
                <a:lnTo>
                  <a:pt x="11682276" y="6312470"/>
                </a:lnTo>
                <a:lnTo>
                  <a:pt x="11680526" y="6307452"/>
                </a:lnTo>
                <a:lnTo>
                  <a:pt x="11679434" y="6301900"/>
                </a:lnTo>
                <a:lnTo>
                  <a:pt x="11679058" y="6295827"/>
                </a:lnTo>
                <a:lnTo>
                  <a:pt x="11679421" y="6289681"/>
                </a:lnTo>
                <a:lnTo>
                  <a:pt x="11680475" y="6284069"/>
                </a:lnTo>
                <a:lnTo>
                  <a:pt x="11682169" y="6279003"/>
                </a:lnTo>
                <a:lnTo>
                  <a:pt x="11684451" y="6274494"/>
                </a:lnTo>
                <a:lnTo>
                  <a:pt x="11687270" y="6270551"/>
                </a:lnTo>
                <a:lnTo>
                  <a:pt x="11690573" y="6267186"/>
                </a:lnTo>
                <a:lnTo>
                  <a:pt x="11694309" y="6264409"/>
                </a:lnTo>
                <a:lnTo>
                  <a:pt x="11698427" y="6262231"/>
                </a:lnTo>
                <a:lnTo>
                  <a:pt x="11702875" y="6260662"/>
                </a:lnTo>
                <a:lnTo>
                  <a:pt x="11707601" y="6259713"/>
                </a:lnTo>
                <a:lnTo>
                  <a:pt x="11712553" y="6259394"/>
                </a:lnTo>
                <a:lnTo>
                  <a:pt x="11718800" y="6259893"/>
                </a:lnTo>
                <a:lnTo>
                  <a:pt x="11724246" y="6261308"/>
                </a:lnTo>
                <a:lnTo>
                  <a:pt x="11728926" y="6263511"/>
                </a:lnTo>
                <a:lnTo>
                  <a:pt x="11732880" y="6266378"/>
                </a:lnTo>
                <a:lnTo>
                  <a:pt x="11736143" y="6269782"/>
                </a:lnTo>
                <a:lnTo>
                  <a:pt x="11738753" y="6273597"/>
                </a:lnTo>
                <a:lnTo>
                  <a:pt x="11740746" y="6277699"/>
                </a:lnTo>
                <a:lnTo>
                  <a:pt x="11741546" y="6278954"/>
                </a:lnTo>
                <a:lnTo>
                  <a:pt x="11742701" y="6279811"/>
                </a:lnTo>
                <a:lnTo>
                  <a:pt x="11744080" y="6280197"/>
                </a:lnTo>
                <a:lnTo>
                  <a:pt x="11745555" y="6280044"/>
                </a:lnTo>
                <a:lnTo>
                  <a:pt x="11778166" y="6270214"/>
                </a:lnTo>
                <a:lnTo>
                  <a:pt x="11779570" y="6269454"/>
                </a:lnTo>
                <a:lnTo>
                  <a:pt x="11780530" y="6268251"/>
                </a:lnTo>
                <a:lnTo>
                  <a:pt x="11780965" y="6266770"/>
                </a:lnTo>
                <a:lnTo>
                  <a:pt x="11780793" y="6265177"/>
                </a:lnTo>
                <a:lnTo>
                  <a:pt x="11779264" y="6260857"/>
                </a:lnTo>
                <a:lnTo>
                  <a:pt x="11778627" y="6259394"/>
                </a:lnTo>
                <a:lnTo>
                  <a:pt x="11777416" y="6256610"/>
                </a:lnTo>
                <a:lnTo>
                  <a:pt x="11775250" y="6252461"/>
                </a:lnTo>
                <a:lnTo>
                  <a:pt x="11772766" y="6248434"/>
                </a:lnTo>
                <a:lnTo>
                  <a:pt x="11769964" y="6244554"/>
                </a:lnTo>
                <a:lnTo>
                  <a:pt x="11766845" y="6240845"/>
                </a:lnTo>
                <a:lnTo>
                  <a:pt x="11763409" y="6237330"/>
                </a:lnTo>
                <a:lnTo>
                  <a:pt x="11759656" y="6234035"/>
                </a:lnTo>
                <a:lnTo>
                  <a:pt x="11755586" y="6230984"/>
                </a:lnTo>
                <a:lnTo>
                  <a:pt x="11751200" y="6228201"/>
                </a:lnTo>
                <a:lnTo>
                  <a:pt x="11746498" y="6225710"/>
                </a:lnTo>
                <a:lnTo>
                  <a:pt x="11741481" y="6223535"/>
                </a:lnTo>
                <a:lnTo>
                  <a:pt x="11736148" y="6221702"/>
                </a:lnTo>
                <a:lnTo>
                  <a:pt x="11730501" y="6220233"/>
                </a:lnTo>
                <a:lnTo>
                  <a:pt x="11724538" y="6219154"/>
                </a:lnTo>
                <a:lnTo>
                  <a:pt x="11718262" y="6218489"/>
                </a:lnTo>
                <a:close/>
                <a:moveTo>
                  <a:pt x="11544423" y="6218262"/>
                </a:moveTo>
                <a:lnTo>
                  <a:pt x="11538806" y="6218442"/>
                </a:lnTo>
                <a:lnTo>
                  <a:pt x="11533309" y="6218976"/>
                </a:lnTo>
                <a:lnTo>
                  <a:pt x="11527942" y="6219855"/>
                </a:lnTo>
                <a:lnTo>
                  <a:pt x="11522719" y="6221069"/>
                </a:lnTo>
                <a:lnTo>
                  <a:pt x="11517650" y="6222609"/>
                </a:lnTo>
                <a:lnTo>
                  <a:pt x="11512750" y="6224466"/>
                </a:lnTo>
                <a:lnTo>
                  <a:pt x="11508029" y="6226631"/>
                </a:lnTo>
                <a:lnTo>
                  <a:pt x="11503500" y="6229094"/>
                </a:lnTo>
                <a:lnTo>
                  <a:pt x="11499174" y="6231846"/>
                </a:lnTo>
                <a:lnTo>
                  <a:pt x="11495065" y="6234878"/>
                </a:lnTo>
                <a:lnTo>
                  <a:pt x="11491185" y="6238180"/>
                </a:lnTo>
                <a:lnTo>
                  <a:pt x="11487545" y="6241744"/>
                </a:lnTo>
                <a:lnTo>
                  <a:pt x="11484157" y="6245559"/>
                </a:lnTo>
                <a:lnTo>
                  <a:pt x="11481035" y="6249617"/>
                </a:lnTo>
                <a:lnTo>
                  <a:pt x="11478189" y="6253909"/>
                </a:lnTo>
                <a:lnTo>
                  <a:pt x="11475632" y="6258425"/>
                </a:lnTo>
                <a:lnTo>
                  <a:pt x="11473378" y="6263156"/>
                </a:lnTo>
                <a:lnTo>
                  <a:pt x="11471436" y="6268092"/>
                </a:lnTo>
                <a:lnTo>
                  <a:pt x="11469820" y="6273224"/>
                </a:lnTo>
                <a:lnTo>
                  <a:pt x="11468542" y="6278544"/>
                </a:lnTo>
                <a:lnTo>
                  <a:pt x="11467614" y="6284041"/>
                </a:lnTo>
                <a:lnTo>
                  <a:pt x="11467049" y="6289707"/>
                </a:lnTo>
                <a:lnTo>
                  <a:pt x="11466858" y="6295532"/>
                </a:lnTo>
                <a:lnTo>
                  <a:pt x="11467033" y="6301120"/>
                </a:lnTo>
                <a:lnTo>
                  <a:pt x="11467553" y="6306564"/>
                </a:lnTo>
                <a:lnTo>
                  <a:pt x="11468407" y="6311856"/>
                </a:lnTo>
                <a:lnTo>
                  <a:pt x="11469584" y="6316989"/>
                </a:lnTo>
                <a:lnTo>
                  <a:pt x="11471072" y="6321953"/>
                </a:lnTo>
                <a:lnTo>
                  <a:pt x="11472862" y="6326741"/>
                </a:lnTo>
                <a:lnTo>
                  <a:pt x="11474943" y="6331343"/>
                </a:lnTo>
                <a:lnTo>
                  <a:pt x="11477304" y="6335752"/>
                </a:lnTo>
                <a:lnTo>
                  <a:pt x="11479934" y="6339959"/>
                </a:lnTo>
                <a:lnTo>
                  <a:pt x="11482823" y="6343955"/>
                </a:lnTo>
                <a:lnTo>
                  <a:pt x="11485960" y="6347733"/>
                </a:lnTo>
                <a:lnTo>
                  <a:pt x="11489334" y="6351283"/>
                </a:lnTo>
                <a:lnTo>
                  <a:pt x="11492934" y="6354597"/>
                </a:lnTo>
                <a:lnTo>
                  <a:pt x="11496750" y="6357668"/>
                </a:lnTo>
                <a:lnTo>
                  <a:pt x="11500772" y="6360486"/>
                </a:lnTo>
                <a:lnTo>
                  <a:pt x="11504987" y="6363043"/>
                </a:lnTo>
                <a:lnTo>
                  <a:pt x="11509386" y="6365331"/>
                </a:lnTo>
                <a:lnTo>
                  <a:pt x="11513959" y="6367341"/>
                </a:lnTo>
                <a:lnTo>
                  <a:pt x="11518693" y="6369065"/>
                </a:lnTo>
                <a:lnTo>
                  <a:pt x="11523579" y="6370494"/>
                </a:lnTo>
                <a:lnTo>
                  <a:pt x="11528605" y="6371621"/>
                </a:lnTo>
                <a:lnTo>
                  <a:pt x="11533762" y="6372436"/>
                </a:lnTo>
                <a:lnTo>
                  <a:pt x="11539038" y="6372931"/>
                </a:lnTo>
                <a:lnTo>
                  <a:pt x="11544423" y="6373098"/>
                </a:lnTo>
                <a:lnTo>
                  <a:pt x="11549841" y="6372931"/>
                </a:lnTo>
                <a:lnTo>
                  <a:pt x="11555145" y="6372436"/>
                </a:lnTo>
                <a:lnTo>
                  <a:pt x="11560325" y="6371621"/>
                </a:lnTo>
                <a:lnTo>
                  <a:pt x="11565369" y="6370494"/>
                </a:lnTo>
                <a:lnTo>
                  <a:pt x="11570268" y="6369065"/>
                </a:lnTo>
                <a:lnTo>
                  <a:pt x="11575011" y="6367341"/>
                </a:lnTo>
                <a:lnTo>
                  <a:pt x="11579589" y="6365331"/>
                </a:lnTo>
                <a:lnTo>
                  <a:pt x="11583989" y="6363043"/>
                </a:lnTo>
                <a:lnTo>
                  <a:pt x="11588204" y="6360486"/>
                </a:lnTo>
                <a:lnTo>
                  <a:pt x="11592221" y="6357668"/>
                </a:lnTo>
                <a:lnTo>
                  <a:pt x="11596031" y="6354597"/>
                </a:lnTo>
                <a:lnTo>
                  <a:pt x="11599623" y="6351283"/>
                </a:lnTo>
                <a:lnTo>
                  <a:pt x="11602987" y="6347733"/>
                </a:lnTo>
                <a:lnTo>
                  <a:pt x="11606113" y="6343955"/>
                </a:lnTo>
                <a:lnTo>
                  <a:pt x="11608990" y="6339959"/>
                </a:lnTo>
                <a:lnTo>
                  <a:pt x="11611608" y="6335752"/>
                </a:lnTo>
                <a:lnTo>
                  <a:pt x="11613625" y="6331966"/>
                </a:lnTo>
                <a:lnTo>
                  <a:pt x="11616026" y="6326741"/>
                </a:lnTo>
                <a:lnTo>
                  <a:pt x="11617805" y="6321953"/>
                </a:lnTo>
                <a:lnTo>
                  <a:pt x="11619284" y="6316989"/>
                </a:lnTo>
                <a:lnTo>
                  <a:pt x="11620452" y="6311856"/>
                </a:lnTo>
                <a:lnTo>
                  <a:pt x="11621299" y="6306564"/>
                </a:lnTo>
                <a:lnTo>
                  <a:pt x="11621815" y="6301120"/>
                </a:lnTo>
                <a:lnTo>
                  <a:pt x="11621989" y="6295532"/>
                </a:lnTo>
                <a:lnTo>
                  <a:pt x="11621800" y="6289707"/>
                </a:lnTo>
                <a:lnTo>
                  <a:pt x="11621238" y="6284041"/>
                </a:lnTo>
                <a:lnTo>
                  <a:pt x="11620317" y="6278544"/>
                </a:lnTo>
                <a:lnTo>
                  <a:pt x="11619049" y="6273224"/>
                </a:lnTo>
                <a:lnTo>
                  <a:pt x="11617443" y="6268092"/>
                </a:lnTo>
                <a:lnTo>
                  <a:pt x="11615514" y="6263156"/>
                </a:lnTo>
                <a:lnTo>
                  <a:pt x="11613730" y="6259394"/>
                </a:lnTo>
                <a:lnTo>
                  <a:pt x="11613271" y="6258425"/>
                </a:lnTo>
                <a:lnTo>
                  <a:pt x="11610727" y="6253909"/>
                </a:lnTo>
                <a:lnTo>
                  <a:pt x="11607894" y="6249617"/>
                </a:lnTo>
                <a:lnTo>
                  <a:pt x="11604784" y="6245559"/>
                </a:lnTo>
                <a:lnTo>
                  <a:pt x="11601407" y="6241744"/>
                </a:lnTo>
                <a:lnTo>
                  <a:pt x="11597776" y="6238180"/>
                </a:lnTo>
                <a:lnTo>
                  <a:pt x="11593903" y="6234878"/>
                </a:lnTo>
                <a:lnTo>
                  <a:pt x="11589800" y="6231846"/>
                </a:lnTo>
                <a:lnTo>
                  <a:pt x="11585477" y="6229094"/>
                </a:lnTo>
                <a:lnTo>
                  <a:pt x="11580947" y="6226631"/>
                </a:lnTo>
                <a:lnTo>
                  <a:pt x="11576222" y="6224466"/>
                </a:lnTo>
                <a:lnTo>
                  <a:pt x="11571313" y="6222609"/>
                </a:lnTo>
                <a:lnTo>
                  <a:pt x="11566232" y="6221069"/>
                </a:lnTo>
                <a:lnTo>
                  <a:pt x="11560991" y="6219855"/>
                </a:lnTo>
                <a:lnTo>
                  <a:pt x="11555601" y="6218976"/>
                </a:lnTo>
                <a:lnTo>
                  <a:pt x="11550074" y="6218442"/>
                </a:lnTo>
                <a:close/>
                <a:moveTo>
                  <a:pt x="10979638" y="6160381"/>
                </a:moveTo>
                <a:lnTo>
                  <a:pt x="10978099" y="6160692"/>
                </a:lnTo>
                <a:lnTo>
                  <a:pt x="10976841" y="6161539"/>
                </a:lnTo>
                <a:lnTo>
                  <a:pt x="10975994" y="6162797"/>
                </a:lnTo>
                <a:lnTo>
                  <a:pt x="10975683" y="6164336"/>
                </a:lnTo>
                <a:lnTo>
                  <a:pt x="10975683" y="6364736"/>
                </a:lnTo>
                <a:lnTo>
                  <a:pt x="10975994" y="6366276"/>
                </a:lnTo>
                <a:lnTo>
                  <a:pt x="10976841" y="6367533"/>
                </a:lnTo>
                <a:lnTo>
                  <a:pt x="10978099" y="6368380"/>
                </a:lnTo>
                <a:lnTo>
                  <a:pt x="10979638" y="6368691"/>
                </a:lnTo>
                <a:lnTo>
                  <a:pt x="11103940" y="6368691"/>
                </a:lnTo>
                <a:lnTo>
                  <a:pt x="11105480" y="6368380"/>
                </a:lnTo>
                <a:lnTo>
                  <a:pt x="11106737" y="6367533"/>
                </a:lnTo>
                <a:lnTo>
                  <a:pt x="11107585" y="6366276"/>
                </a:lnTo>
                <a:lnTo>
                  <a:pt x="11107896" y="6364736"/>
                </a:lnTo>
                <a:lnTo>
                  <a:pt x="11107896" y="6328575"/>
                </a:lnTo>
                <a:lnTo>
                  <a:pt x="11105480" y="6324931"/>
                </a:lnTo>
                <a:lnTo>
                  <a:pt x="11026059" y="6324620"/>
                </a:lnTo>
                <a:lnTo>
                  <a:pt x="11024520" y="6324309"/>
                </a:lnTo>
                <a:lnTo>
                  <a:pt x="11023263" y="6323461"/>
                </a:lnTo>
                <a:lnTo>
                  <a:pt x="11022415" y="6322204"/>
                </a:lnTo>
                <a:lnTo>
                  <a:pt x="11022104" y="6320665"/>
                </a:lnTo>
                <a:lnTo>
                  <a:pt x="11022104" y="6288617"/>
                </a:lnTo>
                <a:lnTo>
                  <a:pt x="11022415" y="6287078"/>
                </a:lnTo>
                <a:lnTo>
                  <a:pt x="11023263" y="6285820"/>
                </a:lnTo>
                <a:lnTo>
                  <a:pt x="11024520" y="6284973"/>
                </a:lnTo>
                <a:lnTo>
                  <a:pt x="11026059" y="6284662"/>
                </a:lnTo>
                <a:lnTo>
                  <a:pt x="11095712" y="6284662"/>
                </a:lnTo>
                <a:lnTo>
                  <a:pt x="11097252" y="6284351"/>
                </a:lnTo>
                <a:lnTo>
                  <a:pt x="11098510" y="6283503"/>
                </a:lnTo>
                <a:lnTo>
                  <a:pt x="11099358" y="6282246"/>
                </a:lnTo>
                <a:lnTo>
                  <a:pt x="11099669" y="6280706"/>
                </a:lnTo>
                <a:lnTo>
                  <a:pt x="11099669" y="6247778"/>
                </a:lnTo>
                <a:lnTo>
                  <a:pt x="11099358" y="6246239"/>
                </a:lnTo>
                <a:lnTo>
                  <a:pt x="11098510" y="6244981"/>
                </a:lnTo>
                <a:lnTo>
                  <a:pt x="11097252" y="6244134"/>
                </a:lnTo>
                <a:lnTo>
                  <a:pt x="11095712" y="6243823"/>
                </a:lnTo>
                <a:lnTo>
                  <a:pt x="11026059" y="6243823"/>
                </a:lnTo>
                <a:lnTo>
                  <a:pt x="11024520" y="6243512"/>
                </a:lnTo>
                <a:lnTo>
                  <a:pt x="11023263" y="6242665"/>
                </a:lnTo>
                <a:lnTo>
                  <a:pt x="11022415" y="6241407"/>
                </a:lnTo>
                <a:lnTo>
                  <a:pt x="11022104" y="6239867"/>
                </a:lnTo>
                <a:lnTo>
                  <a:pt x="11022104" y="6208114"/>
                </a:lnTo>
                <a:lnTo>
                  <a:pt x="11022415" y="6206575"/>
                </a:lnTo>
                <a:lnTo>
                  <a:pt x="11023263" y="6205317"/>
                </a:lnTo>
                <a:lnTo>
                  <a:pt x="11024520" y="6204470"/>
                </a:lnTo>
                <a:lnTo>
                  <a:pt x="11026059" y="6204159"/>
                </a:lnTo>
                <a:lnTo>
                  <a:pt x="11103646" y="6204159"/>
                </a:lnTo>
                <a:lnTo>
                  <a:pt x="11105185" y="6203848"/>
                </a:lnTo>
                <a:lnTo>
                  <a:pt x="11106443" y="6203001"/>
                </a:lnTo>
                <a:lnTo>
                  <a:pt x="11107291" y="6201744"/>
                </a:lnTo>
                <a:lnTo>
                  <a:pt x="11107601" y="6200203"/>
                </a:lnTo>
                <a:lnTo>
                  <a:pt x="11107601" y="6164336"/>
                </a:lnTo>
                <a:lnTo>
                  <a:pt x="11107291" y="6162797"/>
                </a:lnTo>
                <a:lnTo>
                  <a:pt x="11106443" y="6161539"/>
                </a:lnTo>
                <a:lnTo>
                  <a:pt x="11105185" y="6160692"/>
                </a:lnTo>
                <a:lnTo>
                  <a:pt x="11103646" y="6160381"/>
                </a:lnTo>
                <a:close/>
                <a:moveTo>
                  <a:pt x="11320325" y="6151861"/>
                </a:moveTo>
                <a:lnTo>
                  <a:pt x="11315166" y="6152394"/>
                </a:lnTo>
                <a:lnTo>
                  <a:pt x="11310336" y="6153922"/>
                </a:lnTo>
                <a:lnTo>
                  <a:pt x="11305948" y="6156338"/>
                </a:lnTo>
                <a:lnTo>
                  <a:pt x="11302110" y="6159536"/>
                </a:lnTo>
                <a:lnTo>
                  <a:pt x="11298933" y="6163409"/>
                </a:lnTo>
                <a:lnTo>
                  <a:pt x="11296528" y="6167850"/>
                </a:lnTo>
                <a:lnTo>
                  <a:pt x="11295003" y="6172753"/>
                </a:lnTo>
                <a:lnTo>
                  <a:pt x="11294471" y="6178010"/>
                </a:lnTo>
                <a:lnTo>
                  <a:pt x="11295003" y="6183267"/>
                </a:lnTo>
                <a:lnTo>
                  <a:pt x="11296528" y="6188169"/>
                </a:lnTo>
                <a:lnTo>
                  <a:pt x="11298933" y="6192610"/>
                </a:lnTo>
                <a:lnTo>
                  <a:pt x="11302110" y="6196483"/>
                </a:lnTo>
                <a:lnTo>
                  <a:pt x="11305948" y="6199681"/>
                </a:lnTo>
                <a:lnTo>
                  <a:pt x="11310336" y="6202098"/>
                </a:lnTo>
                <a:lnTo>
                  <a:pt x="11315166" y="6203626"/>
                </a:lnTo>
                <a:lnTo>
                  <a:pt x="11320325" y="6204159"/>
                </a:lnTo>
                <a:lnTo>
                  <a:pt x="11325679" y="6203626"/>
                </a:lnTo>
                <a:lnTo>
                  <a:pt x="11330655" y="6202098"/>
                </a:lnTo>
                <a:lnTo>
                  <a:pt x="11335148" y="6199681"/>
                </a:lnTo>
                <a:lnTo>
                  <a:pt x="11339056" y="6196483"/>
                </a:lnTo>
                <a:lnTo>
                  <a:pt x="11342275" y="6192610"/>
                </a:lnTo>
                <a:lnTo>
                  <a:pt x="11344703" y="6188169"/>
                </a:lnTo>
                <a:lnTo>
                  <a:pt x="11346235" y="6183267"/>
                </a:lnTo>
                <a:lnTo>
                  <a:pt x="11346769" y="6178010"/>
                </a:lnTo>
                <a:lnTo>
                  <a:pt x="11346235" y="6172753"/>
                </a:lnTo>
                <a:lnTo>
                  <a:pt x="11344703" y="6167850"/>
                </a:lnTo>
                <a:lnTo>
                  <a:pt x="11342275" y="6163409"/>
                </a:lnTo>
                <a:lnTo>
                  <a:pt x="11339056" y="6159536"/>
                </a:lnTo>
                <a:lnTo>
                  <a:pt x="11335148" y="6156338"/>
                </a:lnTo>
                <a:lnTo>
                  <a:pt x="11330655" y="6153922"/>
                </a:lnTo>
                <a:lnTo>
                  <a:pt x="11325679" y="6152394"/>
                </a:lnTo>
                <a:close/>
                <a:moveTo>
                  <a:pt x="10773128" y="6124038"/>
                </a:moveTo>
                <a:lnTo>
                  <a:pt x="10767489" y="6124774"/>
                </a:lnTo>
                <a:lnTo>
                  <a:pt x="10762146" y="6126982"/>
                </a:lnTo>
                <a:lnTo>
                  <a:pt x="10655586" y="6188504"/>
                </a:lnTo>
                <a:lnTo>
                  <a:pt x="10651004" y="6192027"/>
                </a:lnTo>
                <a:lnTo>
                  <a:pt x="10647548" y="6196543"/>
                </a:lnTo>
                <a:lnTo>
                  <a:pt x="10645365" y="6201794"/>
                </a:lnTo>
                <a:lnTo>
                  <a:pt x="10644605" y="6207525"/>
                </a:lnTo>
                <a:lnTo>
                  <a:pt x="10644605" y="6330569"/>
                </a:lnTo>
                <a:lnTo>
                  <a:pt x="10645365" y="6336300"/>
                </a:lnTo>
                <a:lnTo>
                  <a:pt x="10647548" y="6341551"/>
                </a:lnTo>
                <a:lnTo>
                  <a:pt x="10651004" y="6346068"/>
                </a:lnTo>
                <a:lnTo>
                  <a:pt x="10655588" y="6349592"/>
                </a:lnTo>
                <a:lnTo>
                  <a:pt x="10762146" y="6411114"/>
                </a:lnTo>
                <a:lnTo>
                  <a:pt x="10767489" y="6413321"/>
                </a:lnTo>
                <a:lnTo>
                  <a:pt x="10773128" y="6414056"/>
                </a:lnTo>
                <a:lnTo>
                  <a:pt x="10778768" y="6413321"/>
                </a:lnTo>
                <a:lnTo>
                  <a:pt x="10784111" y="6411114"/>
                </a:lnTo>
                <a:lnTo>
                  <a:pt x="10883832" y="6353541"/>
                </a:lnTo>
                <a:lnTo>
                  <a:pt x="10890671" y="6349592"/>
                </a:lnTo>
                <a:lnTo>
                  <a:pt x="10895253" y="6346068"/>
                </a:lnTo>
                <a:lnTo>
                  <a:pt x="10898709" y="6341551"/>
                </a:lnTo>
                <a:lnTo>
                  <a:pt x="10900892" y="6336300"/>
                </a:lnTo>
                <a:lnTo>
                  <a:pt x="10901652" y="6330569"/>
                </a:lnTo>
                <a:lnTo>
                  <a:pt x="10901652" y="6279338"/>
                </a:lnTo>
                <a:lnTo>
                  <a:pt x="10773128" y="6353541"/>
                </a:lnTo>
                <a:lnTo>
                  <a:pt x="10701654" y="6312274"/>
                </a:lnTo>
                <a:lnTo>
                  <a:pt x="10701691" y="6227785"/>
                </a:lnTo>
                <a:lnTo>
                  <a:pt x="10767854" y="6189564"/>
                </a:lnTo>
                <a:lnTo>
                  <a:pt x="10770418" y="6188504"/>
                </a:lnTo>
                <a:lnTo>
                  <a:pt x="10773129" y="6188150"/>
                </a:lnTo>
                <a:lnTo>
                  <a:pt x="10775842" y="6188504"/>
                </a:lnTo>
                <a:lnTo>
                  <a:pt x="10778410" y="6189566"/>
                </a:lnTo>
                <a:lnTo>
                  <a:pt x="10844603" y="6227783"/>
                </a:lnTo>
                <a:lnTo>
                  <a:pt x="10782017" y="6263917"/>
                </a:lnTo>
                <a:lnTo>
                  <a:pt x="10777693" y="6265704"/>
                </a:lnTo>
                <a:lnTo>
                  <a:pt x="10773129" y="6266298"/>
                </a:lnTo>
                <a:lnTo>
                  <a:pt x="10768566" y="6265703"/>
                </a:lnTo>
                <a:lnTo>
                  <a:pt x="10764242" y="6263916"/>
                </a:lnTo>
                <a:lnTo>
                  <a:pt x="10719470" y="6238054"/>
                </a:lnTo>
                <a:lnTo>
                  <a:pt x="10719439" y="6301963"/>
                </a:lnTo>
                <a:lnTo>
                  <a:pt x="10773128" y="6332962"/>
                </a:lnTo>
                <a:lnTo>
                  <a:pt x="10888594" y="6266298"/>
                </a:lnTo>
                <a:lnTo>
                  <a:pt x="10901652" y="6258759"/>
                </a:lnTo>
                <a:lnTo>
                  <a:pt x="10901652" y="6207525"/>
                </a:lnTo>
                <a:lnTo>
                  <a:pt x="10900892" y="6201794"/>
                </a:lnTo>
                <a:lnTo>
                  <a:pt x="10898709" y="6196543"/>
                </a:lnTo>
                <a:lnTo>
                  <a:pt x="10895253" y="6192027"/>
                </a:lnTo>
                <a:lnTo>
                  <a:pt x="10890670" y="6188503"/>
                </a:lnTo>
                <a:lnTo>
                  <a:pt x="10890059" y="6188150"/>
                </a:lnTo>
                <a:lnTo>
                  <a:pt x="10784111" y="6126982"/>
                </a:lnTo>
                <a:lnTo>
                  <a:pt x="10778768" y="6124774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9184089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28233"/>
            <a:ext cx="10363200" cy="831600"/>
          </a:xfrm>
        </p:spPr>
        <p:txBody>
          <a:bodyPr anchor="ctr" anchorCtr="0">
            <a:noAutofit/>
          </a:bodyPr>
          <a:lstStyle>
            <a:lvl1pPr algn="ctr">
              <a:defRPr sz="48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164" y="3279334"/>
            <a:ext cx="10363675" cy="517065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2569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and Prom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220127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 Box 2"/>
          <p:cNvSpPr txBox="1">
            <a:spLocks noChangeArrowheads="1"/>
          </p:cNvSpPr>
          <p:nvPr/>
        </p:nvSpPr>
        <p:spPr bwMode="auto">
          <a:xfrm>
            <a:off x="-1" y="2276161"/>
            <a:ext cx="12192000" cy="1619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7163" tIns="107163" rIns="108878" bIns="54439" anchor="ctr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</a:pPr>
            <a:r>
              <a:rPr lang="en-GB" sz="4800" b="1" i="0">
                <a:solidFill>
                  <a:schemeClr val="tx1"/>
                </a:solidFill>
              </a:rPr>
              <a:t>United in performance.</a:t>
            </a:r>
          </a:p>
          <a:p>
            <a:pPr algn="ctr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</a:pPr>
            <a:r>
              <a:rPr lang="en-GB" sz="4800" b="1" i="0">
                <a:solidFill>
                  <a:schemeClr val="tx1"/>
                </a:solidFill>
              </a:rPr>
              <a:t>Inspired by innovation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1098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and Promise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1" y="0"/>
            <a:ext cx="1218565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06146" y="4746735"/>
            <a:ext cx="1737698" cy="471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bject 4"/>
          <p:cNvSpPr txBox="1">
            <a:spLocks/>
          </p:cNvSpPr>
          <p:nvPr userDrawn="1"/>
        </p:nvSpPr>
        <p:spPr>
          <a:xfrm>
            <a:off x="2695200" y="1664565"/>
            <a:ext cx="5176750" cy="551433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 fontAlgn="auto">
              <a:spcBef>
                <a:spcPts val="100"/>
              </a:spcBef>
              <a:spcAft>
                <a:spcPts val="0"/>
              </a:spcAft>
              <a:defRPr/>
            </a:pP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United.</a:t>
            </a:r>
            <a:r>
              <a:rPr lang="en-US" sz="3500" b="1" spc="1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Inspired.</a:t>
            </a:r>
            <a:endParaRPr lang="en-US" sz="3500">
              <a:latin typeface="Arial"/>
              <a:cs typeface="Arial"/>
            </a:endParaRPr>
          </a:p>
        </p:txBody>
      </p:sp>
      <p:sp>
        <p:nvSpPr>
          <p:cNvPr id="21" name="object 5"/>
          <p:cNvSpPr txBox="1"/>
          <p:nvPr userDrawn="1"/>
        </p:nvSpPr>
        <p:spPr>
          <a:xfrm>
            <a:off x="2717091" y="2152536"/>
            <a:ext cx="8481393" cy="2301091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9pPr>
          </a:lstStyle>
          <a:p>
            <a:pPr>
              <a:lnSpc>
                <a:spcPct val="131000"/>
              </a:lnSpc>
              <a:spcBef>
                <a:spcPts val="100"/>
              </a:spcBef>
            </a:pP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Performance unites us, innovation inspires us,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and </a:t>
            </a:r>
            <a:r>
              <a:rPr lang="en-US" sz="2200" noProof="0">
                <a:solidFill>
                  <a:schemeClr val="tx1"/>
                </a:solidFill>
                <a:latin typeface="Arial" charset="0"/>
                <a:cs typeface="Arial" charset="0"/>
              </a:rPr>
              <a:t>commitment</a:t>
            </a: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 drives us to keep moving forward.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Count on </a:t>
            </a:r>
            <a:r>
              <a:rPr lang="en-US" sz="2200" err="1">
                <a:solidFill>
                  <a:schemeClr val="tx1"/>
                </a:solidFill>
                <a:latin typeface="Arial" charset="0"/>
                <a:cs typeface="Arial" charset="0"/>
              </a:rPr>
              <a:t>Epiroc</a:t>
            </a: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 to deliver the solutions you need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to succeed today and the technology to lead tomorrow.</a:t>
            </a:r>
          </a:p>
          <a:p>
            <a:pPr>
              <a:spcBef>
                <a:spcPts val="50"/>
              </a:spcBef>
            </a:pPr>
            <a:endParaRPr lang="en-US" sz="1200">
              <a:latin typeface="Times New Roman" charset="0"/>
              <a:cs typeface="Times New Roman" charset="0"/>
            </a:endParaRPr>
          </a:p>
          <a:p>
            <a:r>
              <a:rPr lang="en-US" sz="2100" b="1" err="1">
                <a:solidFill>
                  <a:srgbClr val="FFFFFF"/>
                </a:solidFill>
                <a:latin typeface="Arial Black" charset="0"/>
                <a:cs typeface="Arial Black" charset="0"/>
              </a:rPr>
              <a:t>epiroc.com</a:t>
            </a:r>
            <a:endParaRPr lang="en-US" sz="2100">
              <a:latin typeface="Arial Black" charset="0"/>
              <a:cs typeface="Arial Black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8475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2103" y="2259356"/>
            <a:ext cx="6816625" cy="1848184"/>
          </a:xfrm>
          <a:prstGeom prst="rect">
            <a:avLst/>
          </a:prstGeom>
          <a:noFill/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940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20" y="369888"/>
            <a:ext cx="11273366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9319" y="1554163"/>
            <a:ext cx="5535082" cy="2062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9319" y="3768728"/>
            <a:ext cx="5535082" cy="2062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6197602" y="1554166"/>
            <a:ext cx="5535084" cy="4276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F0589E-41E6-4958-A99A-234F52187D1F}" type="slidenum">
              <a:rPr lang="sv-SE" altLang="en-US"/>
              <a:pPr>
                <a:defRPr/>
              </a:pPr>
              <a:t>‹N°›</a:t>
            </a:fld>
            <a:endParaRPr lang="sv-SE" altLang="en-US"/>
          </a:p>
        </p:txBody>
      </p:sp>
    </p:spTree>
    <p:extLst>
      <p:ext uri="{BB962C8B-B14F-4D97-AF65-F5344CB8AC3E}">
        <p14:creationId xmlns:p14="http://schemas.microsoft.com/office/powerpoint/2010/main" val="4076243518"/>
      </p:ext>
    </p:extLst>
  </p:cSld>
  <p:clrMapOvr>
    <a:masterClrMapping/>
  </p:clrMapOvr>
  <p:transition spd="med">
    <p:zoom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852" y="1077918"/>
            <a:ext cx="11125478" cy="525401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914" y="2184400"/>
            <a:ext cx="11125413" cy="3759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latshållare för text 6"/>
          <p:cNvSpPr>
            <a:spLocks noGrp="1"/>
          </p:cNvSpPr>
          <p:nvPr>
            <p:ph type="body" sz="quarter" idx="14"/>
          </p:nvPr>
        </p:nvSpPr>
        <p:spPr>
          <a:xfrm>
            <a:off x="542256" y="322267"/>
            <a:ext cx="2056334" cy="169863"/>
          </a:xfrm>
        </p:spPr>
        <p:txBody>
          <a:bodyPr tIns="0" bIns="0"/>
          <a:lstStyle>
            <a:lvl1pPr marL="0" indent="0">
              <a:buNone/>
              <a:defRPr sz="1100">
                <a:solidFill>
                  <a:srgbClr val="000000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6B77008-D861-FC40-85F5-455B6C76D4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6287" y="6184900"/>
            <a:ext cx="377923" cy="349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5F626D-BDE0-463A-94F1-2692A3E0E084}" type="slidenum">
              <a:rPr/>
              <a:pPr>
                <a:defRPr/>
              </a:pPr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04923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325000" y="6281928"/>
            <a:ext cx="615867" cy="19202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F0589E-41E6-4958-A99A-234F52187D1F}" type="slidenum">
              <a:rPr lang="sv-SE" altLang="en-US"/>
              <a:pPr>
                <a:defRPr/>
              </a:pPr>
              <a:t>‹N°›</a:t>
            </a:fld>
            <a:endParaRPr lang="sv-SE" altLang="en-US"/>
          </a:p>
        </p:txBody>
      </p:sp>
    </p:spTree>
    <p:extLst>
      <p:ext uri="{BB962C8B-B14F-4D97-AF65-F5344CB8AC3E}">
        <p14:creationId xmlns:p14="http://schemas.microsoft.com/office/powerpoint/2010/main" val="30670449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Fact box to the righ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1587" y="1517904"/>
            <a:ext cx="6695152" cy="4903534"/>
          </a:xfrm>
        </p:spPr>
        <p:txBody>
          <a:bodyPr>
            <a:noAutofit/>
          </a:bodyPr>
          <a:lstStyle>
            <a:lvl1pPr marL="255523" indent="-255523">
              <a:spcBef>
                <a:spcPts val="800"/>
              </a:spcBef>
              <a:buFont typeface="Arial" panose="020B0604020202020204" pitchFamily="34" charset="0"/>
              <a:buChar char="•"/>
              <a:defRPr sz="1999">
                <a:solidFill>
                  <a:srgbClr val="425563"/>
                </a:solidFill>
              </a:defRPr>
            </a:lvl1pPr>
            <a:lvl2pPr marL="533240" indent="-276142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799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2pPr>
            <a:lvl3pPr marL="752249" indent="-209487">
              <a:buClr>
                <a:srgbClr val="425559"/>
              </a:buClr>
              <a:buSzPct val="75000"/>
              <a:defRPr lang="en-US" sz="16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3pPr>
            <a:lvl4pPr marL="980781" indent="-228531">
              <a:defRPr lang="en-US" sz="1400" kern="1200" noProof="0" dirty="0" smtClean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4pPr>
            <a:lvl5pPr marL="1209312" indent="-219009">
              <a:defRPr lang="en-US" sz="1200" kern="1200" noProof="0" dirty="0">
                <a:solidFill>
                  <a:srgbClr val="425563"/>
                </a:solidFill>
                <a:latin typeface="+mn-lt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7469801" y="1517904"/>
            <a:ext cx="4364238" cy="4903534"/>
          </a:xfrm>
          <a:solidFill>
            <a:srgbClr val="FFCD00"/>
          </a:solidFill>
        </p:spPr>
        <p:txBody>
          <a:bodyPr lIns="432000" tIns="360000" rIns="432000" bIns="360000">
            <a:noAutofit/>
          </a:bodyPr>
          <a:lstStyle>
            <a:lvl1pPr marL="255523" indent="-255523">
              <a:buFont typeface="Arial" panose="020B0604020202020204" pitchFamily="34" charset="0"/>
              <a:buChar char="•"/>
              <a:defRPr sz="1799">
                <a:solidFill>
                  <a:srgbClr val="425559"/>
                </a:solidFill>
              </a:defRPr>
            </a:lvl1pPr>
            <a:lvl2pPr marL="228531" indent="-217423">
              <a:lnSpc>
                <a:spcPct val="100000"/>
              </a:lnSpc>
              <a:buClr>
                <a:srgbClr val="435363"/>
              </a:buClr>
              <a:buFont typeface="Arial"/>
              <a:buChar char="•"/>
              <a:defRPr sz="1600">
                <a:solidFill>
                  <a:srgbClr val="425559"/>
                </a:solidFill>
              </a:defRPr>
            </a:lvl2pPr>
            <a:lvl3pPr marL="539838" indent="-228531">
              <a:lnSpc>
                <a:spcPct val="100000"/>
              </a:lnSpc>
              <a:buClr>
                <a:srgbClr val="435363"/>
              </a:buClr>
              <a:buFont typeface="Arial" panose="020B0604020202020204" pitchFamily="34" charset="0"/>
              <a:buChar char="‒"/>
              <a:defRPr sz="1400" baseline="0">
                <a:solidFill>
                  <a:srgbClr val="425559"/>
                </a:solidFill>
              </a:defRPr>
            </a:lvl3pPr>
            <a:lvl4pPr marL="737779" indent="-179946">
              <a:lnSpc>
                <a:spcPct val="100000"/>
              </a:lnSpc>
              <a:buFont typeface="Courier New" panose="02070309020205020404" pitchFamily="49" charset="0"/>
              <a:buChar char="o"/>
              <a:defRPr sz="1200">
                <a:solidFill>
                  <a:srgbClr val="425563"/>
                </a:solidFill>
              </a:defRPr>
            </a:lvl4pPr>
            <a:lvl5pPr marL="990303" indent="0">
              <a:buNone/>
              <a:defRPr sz="1200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noProof="0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11588" y="932688"/>
            <a:ext cx="9784465" cy="374904"/>
          </a:xfrm>
        </p:spPr>
        <p:txBody>
          <a:bodyPr wrap="square" lIns="91440" tIns="4680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1999" b="1">
                <a:solidFill>
                  <a:srgbClr val="FFCD00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11372" y="411993"/>
            <a:ext cx="9784680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26775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6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999">
                <a:solidFill>
                  <a:schemeClr val="tx1"/>
                </a:solidFill>
              </a:defRPr>
            </a:lvl1pPr>
            <a:lvl2pPr marL="533240" indent="-276142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249" indent="-209487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0781" indent="-228531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312" indent="-219009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1999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6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999">
                <a:solidFill>
                  <a:schemeClr val="tx1"/>
                </a:solidFill>
              </a:defRPr>
            </a:lvl1pPr>
            <a:lvl2pPr marL="533240" indent="-276142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799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249" indent="-209487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0781" indent="-228531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312" indent="-219009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9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8CD8C97-9AF4-4DB6-B014-E488ABEEB47A}" type="slidenum">
              <a:rPr lang="en-US" smtClean="0">
                <a:solidFill>
                  <a:srgbClr val="425563"/>
                </a:solidFill>
              </a:rPr>
              <a:pPr>
                <a:defRPr/>
              </a:pPr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3503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rgbClr val="425559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59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3674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Page Photo - Yellow Logo T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0681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3175 w 12195175"/>
              <a:gd name="connsiteY2" fmla="*/ 6863214 h 6864350"/>
              <a:gd name="connsiteX3" fmla="*/ 0 w 12195175"/>
              <a:gd name="connsiteY3" fmla="*/ 6864350 h 6864350"/>
              <a:gd name="connsiteX4" fmla="*/ 0 w 12195175"/>
              <a:gd name="connsiteY4" fmla="*/ 0 h 6864350"/>
              <a:gd name="connsiteX5" fmla="*/ 12195175 w 12195175"/>
              <a:gd name="connsiteY5" fmla="*/ 0 h 6864350"/>
              <a:gd name="connsiteX6" fmla="*/ 12195175 w 12195175"/>
              <a:gd name="connsiteY6" fmla="*/ 5053013 h 6864350"/>
              <a:gd name="connsiteX7" fmla="*/ 1175111 w 12195175"/>
              <a:gd name="connsiteY7" fmla="*/ 5053013 h 6864350"/>
              <a:gd name="connsiteX8" fmla="*/ 961835 w 12195175"/>
              <a:gd name="connsiteY8" fmla="*/ 5176147 h 6864350"/>
              <a:gd name="connsiteX9" fmla="*/ 941474 w 12195175"/>
              <a:gd name="connsiteY9" fmla="*/ 5184556 h 6864350"/>
              <a:gd name="connsiteX10" fmla="*/ 919987 w 12195175"/>
              <a:gd name="connsiteY10" fmla="*/ 5187360 h 6864350"/>
              <a:gd name="connsiteX11" fmla="*/ 898500 w 12195175"/>
              <a:gd name="connsiteY11" fmla="*/ 5184556 h 6864350"/>
              <a:gd name="connsiteX12" fmla="*/ 878140 w 12195175"/>
              <a:gd name="connsiteY12" fmla="*/ 5176147 h 6864350"/>
              <a:gd name="connsiteX13" fmla="*/ 664866 w 12195175"/>
              <a:gd name="connsiteY13" fmla="*/ 5053013 h 6864350"/>
              <a:gd name="connsiteX14" fmla="*/ 0 w 12195175"/>
              <a:gd name="connsiteY14" fmla="*/ 5053013 h 6864350"/>
              <a:gd name="connsiteX15" fmla="*/ 0 w 12195175"/>
              <a:gd name="connsiteY15" fmla="*/ 0 h 6864350"/>
              <a:gd name="connsiteX0" fmla="*/ 0 w 12195175"/>
              <a:gd name="connsiteY0" fmla="*/ 6864350 h 6864350"/>
              <a:gd name="connsiteX1" fmla="*/ 3175 w 12195175"/>
              <a:gd name="connsiteY1" fmla="*/ 6863214 h 6864350"/>
              <a:gd name="connsiteX2" fmla="*/ 0 w 12195175"/>
              <a:gd name="connsiteY2" fmla="*/ 6864350 h 6864350"/>
              <a:gd name="connsiteX3" fmla="*/ 0 w 12195175"/>
              <a:gd name="connsiteY3" fmla="*/ 0 h 6864350"/>
              <a:gd name="connsiteX4" fmla="*/ 12195175 w 12195175"/>
              <a:gd name="connsiteY4" fmla="*/ 0 h 6864350"/>
              <a:gd name="connsiteX5" fmla="*/ 12195175 w 12195175"/>
              <a:gd name="connsiteY5" fmla="*/ 5053013 h 6864350"/>
              <a:gd name="connsiteX6" fmla="*/ 1175111 w 12195175"/>
              <a:gd name="connsiteY6" fmla="*/ 5053013 h 6864350"/>
              <a:gd name="connsiteX7" fmla="*/ 961835 w 12195175"/>
              <a:gd name="connsiteY7" fmla="*/ 5176147 h 6864350"/>
              <a:gd name="connsiteX8" fmla="*/ 941474 w 12195175"/>
              <a:gd name="connsiteY8" fmla="*/ 5184556 h 6864350"/>
              <a:gd name="connsiteX9" fmla="*/ 919987 w 12195175"/>
              <a:gd name="connsiteY9" fmla="*/ 5187360 h 6864350"/>
              <a:gd name="connsiteX10" fmla="*/ 898500 w 12195175"/>
              <a:gd name="connsiteY10" fmla="*/ 5184556 h 6864350"/>
              <a:gd name="connsiteX11" fmla="*/ 878140 w 12195175"/>
              <a:gd name="connsiteY11" fmla="*/ 5176147 h 6864350"/>
              <a:gd name="connsiteX12" fmla="*/ 664866 w 12195175"/>
              <a:gd name="connsiteY12" fmla="*/ 5053013 h 6864350"/>
              <a:gd name="connsiteX13" fmla="*/ 0 w 12195175"/>
              <a:gd name="connsiteY13" fmla="*/ 5053013 h 6864350"/>
              <a:gd name="connsiteX14" fmla="*/ 0 w 12195175"/>
              <a:gd name="connsiteY14" fmla="*/ 0 h 6864350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5187360"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238852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</a:t>
            </a:r>
            <a:r>
              <a:rPr lang="en-US" noProof="0"/>
              <a:t>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238852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89" y="5711757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085987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7956961" cy="6868758"/>
          </a:xfrm>
          <a:custGeom>
            <a:avLst/>
            <a:gdLst>
              <a:gd name="connsiteX0" fmla="*/ 0 w 12490450"/>
              <a:gd name="connsiteY0" fmla="*/ 10762 h 6868762"/>
              <a:gd name="connsiteX1" fmla="*/ 7977675 w 12490450"/>
              <a:gd name="connsiteY1" fmla="*/ 10762 h 6868762"/>
              <a:gd name="connsiteX2" fmla="*/ 7977675 w 12490450"/>
              <a:gd name="connsiteY2" fmla="*/ 2987143 h 6868762"/>
              <a:gd name="connsiteX3" fmla="*/ 7864713 w 12490450"/>
              <a:gd name="connsiteY3" fmla="*/ 3182801 h 6868762"/>
              <a:gd name="connsiteX4" fmla="*/ 7856303 w 12490450"/>
              <a:gd name="connsiteY4" fmla="*/ 3203162 h 6868762"/>
              <a:gd name="connsiteX5" fmla="*/ 7853500 w 12490450"/>
              <a:gd name="connsiteY5" fmla="*/ 3224649 h 6868762"/>
              <a:gd name="connsiteX6" fmla="*/ 7856303 w 12490450"/>
              <a:gd name="connsiteY6" fmla="*/ 3246136 h 6868762"/>
              <a:gd name="connsiteX7" fmla="*/ 7864713 w 12490450"/>
              <a:gd name="connsiteY7" fmla="*/ 3266496 h 6868762"/>
              <a:gd name="connsiteX8" fmla="*/ 7977675 w 12490450"/>
              <a:gd name="connsiteY8" fmla="*/ 3462152 h 6868762"/>
              <a:gd name="connsiteX9" fmla="*/ 7977675 w 12490450"/>
              <a:gd name="connsiteY9" fmla="*/ 6865781 h 6868762"/>
              <a:gd name="connsiteX10" fmla="*/ 12235176 w 12490450"/>
              <a:gd name="connsiteY10" fmla="*/ 6865781 h 6868762"/>
              <a:gd name="connsiteX11" fmla="*/ 12235176 w 12490450"/>
              <a:gd name="connsiteY11" fmla="*/ 10762 h 6868762"/>
              <a:gd name="connsiteX12" fmla="*/ 12237532 w 12490450"/>
              <a:gd name="connsiteY12" fmla="*/ 0 h 6868762"/>
              <a:gd name="connsiteX13" fmla="*/ 12490450 w 12490450"/>
              <a:gd name="connsiteY13" fmla="*/ 6868762 h 6868762"/>
              <a:gd name="connsiteX14" fmla="*/ 0 w 12490450"/>
              <a:gd name="connsiteY14" fmla="*/ 6868762 h 6868762"/>
              <a:gd name="connsiteX15" fmla="*/ 0 w 12490450"/>
              <a:gd name="connsiteY15" fmla="*/ 10762 h 6868762"/>
              <a:gd name="connsiteX0" fmla="*/ 0 w 12242914"/>
              <a:gd name="connsiteY0" fmla="*/ 10762 h 6868762"/>
              <a:gd name="connsiteX1" fmla="*/ 7977675 w 12242914"/>
              <a:gd name="connsiteY1" fmla="*/ 10762 h 6868762"/>
              <a:gd name="connsiteX2" fmla="*/ 7977675 w 12242914"/>
              <a:gd name="connsiteY2" fmla="*/ 2987143 h 6868762"/>
              <a:gd name="connsiteX3" fmla="*/ 7864713 w 12242914"/>
              <a:gd name="connsiteY3" fmla="*/ 3182801 h 6868762"/>
              <a:gd name="connsiteX4" fmla="*/ 7856303 w 12242914"/>
              <a:gd name="connsiteY4" fmla="*/ 3203162 h 6868762"/>
              <a:gd name="connsiteX5" fmla="*/ 7853500 w 12242914"/>
              <a:gd name="connsiteY5" fmla="*/ 3224649 h 6868762"/>
              <a:gd name="connsiteX6" fmla="*/ 7856303 w 12242914"/>
              <a:gd name="connsiteY6" fmla="*/ 3246136 h 6868762"/>
              <a:gd name="connsiteX7" fmla="*/ 7864713 w 12242914"/>
              <a:gd name="connsiteY7" fmla="*/ 3266496 h 6868762"/>
              <a:gd name="connsiteX8" fmla="*/ 7977675 w 12242914"/>
              <a:gd name="connsiteY8" fmla="*/ 3462152 h 6868762"/>
              <a:gd name="connsiteX9" fmla="*/ 7977675 w 12242914"/>
              <a:gd name="connsiteY9" fmla="*/ 6865781 h 6868762"/>
              <a:gd name="connsiteX10" fmla="*/ 12235176 w 12242914"/>
              <a:gd name="connsiteY10" fmla="*/ 6865781 h 6868762"/>
              <a:gd name="connsiteX11" fmla="*/ 12235176 w 12242914"/>
              <a:gd name="connsiteY11" fmla="*/ 10762 h 6868762"/>
              <a:gd name="connsiteX12" fmla="*/ 12237532 w 12242914"/>
              <a:gd name="connsiteY12" fmla="*/ 0 h 6868762"/>
              <a:gd name="connsiteX13" fmla="*/ 12242914 w 12242914"/>
              <a:gd name="connsiteY13" fmla="*/ 6868762 h 6868762"/>
              <a:gd name="connsiteX14" fmla="*/ 0 w 12242914"/>
              <a:gd name="connsiteY14" fmla="*/ 6868762 h 6868762"/>
              <a:gd name="connsiteX15" fmla="*/ 0 w 12242914"/>
              <a:gd name="connsiteY15" fmla="*/ 10762 h 6868762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35176 w 12242914"/>
              <a:gd name="connsiteY11" fmla="*/ 0 h 6858000"/>
              <a:gd name="connsiteX12" fmla="*/ 12242914 w 12242914"/>
              <a:gd name="connsiteY12" fmla="*/ 6858000 h 6858000"/>
              <a:gd name="connsiteX13" fmla="*/ 0 w 12242914"/>
              <a:gd name="connsiteY13" fmla="*/ 6858000 h 6858000"/>
              <a:gd name="connsiteX14" fmla="*/ 0 w 12242914"/>
              <a:gd name="connsiteY14" fmla="*/ 0 h 6858000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42914 w 12242914"/>
              <a:gd name="connsiteY11" fmla="*/ 6858000 h 6858000"/>
              <a:gd name="connsiteX12" fmla="*/ 0 w 12242914"/>
              <a:gd name="connsiteY12" fmla="*/ 6858000 h 6858000"/>
              <a:gd name="connsiteX13" fmla="*/ 0 w 12242914"/>
              <a:gd name="connsiteY13" fmla="*/ 0 h 6858000"/>
              <a:gd name="connsiteX0" fmla="*/ 0 w 12235176"/>
              <a:gd name="connsiteY0" fmla="*/ 0 h 6858000"/>
              <a:gd name="connsiteX1" fmla="*/ 7977675 w 12235176"/>
              <a:gd name="connsiteY1" fmla="*/ 0 h 6858000"/>
              <a:gd name="connsiteX2" fmla="*/ 7977675 w 12235176"/>
              <a:gd name="connsiteY2" fmla="*/ 2976381 h 6858000"/>
              <a:gd name="connsiteX3" fmla="*/ 7864713 w 12235176"/>
              <a:gd name="connsiteY3" fmla="*/ 3172039 h 6858000"/>
              <a:gd name="connsiteX4" fmla="*/ 7856303 w 12235176"/>
              <a:gd name="connsiteY4" fmla="*/ 3192400 h 6858000"/>
              <a:gd name="connsiteX5" fmla="*/ 7853500 w 12235176"/>
              <a:gd name="connsiteY5" fmla="*/ 3213887 h 6858000"/>
              <a:gd name="connsiteX6" fmla="*/ 7856303 w 12235176"/>
              <a:gd name="connsiteY6" fmla="*/ 3235374 h 6858000"/>
              <a:gd name="connsiteX7" fmla="*/ 7864713 w 12235176"/>
              <a:gd name="connsiteY7" fmla="*/ 3255734 h 6858000"/>
              <a:gd name="connsiteX8" fmla="*/ 7977675 w 12235176"/>
              <a:gd name="connsiteY8" fmla="*/ 3451390 h 6858000"/>
              <a:gd name="connsiteX9" fmla="*/ 7977675 w 12235176"/>
              <a:gd name="connsiteY9" fmla="*/ 6855019 h 6858000"/>
              <a:gd name="connsiteX10" fmla="*/ 12235176 w 12235176"/>
              <a:gd name="connsiteY10" fmla="*/ 6855019 h 6858000"/>
              <a:gd name="connsiteX11" fmla="*/ 0 w 12235176"/>
              <a:gd name="connsiteY11" fmla="*/ 6858000 h 6858000"/>
              <a:gd name="connsiteX12" fmla="*/ 0 w 12235176"/>
              <a:gd name="connsiteY12" fmla="*/ 0 h 6858000"/>
              <a:gd name="connsiteX0" fmla="*/ 0 w 7977675"/>
              <a:gd name="connsiteY0" fmla="*/ 0 h 6858000"/>
              <a:gd name="connsiteX1" fmla="*/ 7977675 w 7977675"/>
              <a:gd name="connsiteY1" fmla="*/ 0 h 6858000"/>
              <a:gd name="connsiteX2" fmla="*/ 7977675 w 7977675"/>
              <a:gd name="connsiteY2" fmla="*/ 2976381 h 6858000"/>
              <a:gd name="connsiteX3" fmla="*/ 7864713 w 7977675"/>
              <a:gd name="connsiteY3" fmla="*/ 3172039 h 6858000"/>
              <a:gd name="connsiteX4" fmla="*/ 7856303 w 7977675"/>
              <a:gd name="connsiteY4" fmla="*/ 3192400 h 6858000"/>
              <a:gd name="connsiteX5" fmla="*/ 7853500 w 7977675"/>
              <a:gd name="connsiteY5" fmla="*/ 3213887 h 6858000"/>
              <a:gd name="connsiteX6" fmla="*/ 7856303 w 7977675"/>
              <a:gd name="connsiteY6" fmla="*/ 3235374 h 6858000"/>
              <a:gd name="connsiteX7" fmla="*/ 7864713 w 7977675"/>
              <a:gd name="connsiteY7" fmla="*/ 3255734 h 6858000"/>
              <a:gd name="connsiteX8" fmla="*/ 7977675 w 7977675"/>
              <a:gd name="connsiteY8" fmla="*/ 3451390 h 6858000"/>
              <a:gd name="connsiteX9" fmla="*/ 7977675 w 7977675"/>
              <a:gd name="connsiteY9" fmla="*/ 6855019 h 6858000"/>
              <a:gd name="connsiteX10" fmla="*/ 0 w 7977675"/>
              <a:gd name="connsiteY10" fmla="*/ 6858000 h 6858000"/>
              <a:gd name="connsiteX11" fmla="*/ 0 w 7977675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77675" h="6858000">
                <a:moveTo>
                  <a:pt x="0" y="0"/>
                </a:moveTo>
                <a:lnTo>
                  <a:pt x="7977675" y="0"/>
                </a:lnTo>
                <a:lnTo>
                  <a:pt x="7977675" y="2976381"/>
                </a:lnTo>
                <a:lnTo>
                  <a:pt x="7864713" y="3172039"/>
                </a:lnTo>
                <a:lnTo>
                  <a:pt x="7856303" y="3192400"/>
                </a:lnTo>
                <a:lnTo>
                  <a:pt x="7853500" y="3213887"/>
                </a:lnTo>
                <a:lnTo>
                  <a:pt x="7856303" y="3235374"/>
                </a:lnTo>
                <a:lnTo>
                  <a:pt x="7864713" y="3255734"/>
                </a:lnTo>
                <a:lnTo>
                  <a:pt x="7977675" y="3451390"/>
                </a:lnTo>
                <a:lnTo>
                  <a:pt x="7977675" y="6855019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 flipH="1">
            <a:off x="7790565" y="-7000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399370" y="2843784"/>
            <a:ext cx="3481094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9370" y="3456432"/>
            <a:ext cx="3481094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89" y="5711757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296707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270333" y="-9063"/>
            <a:ext cx="7931990" cy="6879763"/>
          </a:xfrm>
          <a:custGeom>
            <a:avLst/>
            <a:gdLst>
              <a:gd name="connsiteX0" fmla="*/ 110002 w 12318083"/>
              <a:gd name="connsiteY0" fmla="*/ 0 h 6868000"/>
              <a:gd name="connsiteX1" fmla="*/ 12318083 w 12318083"/>
              <a:gd name="connsiteY1" fmla="*/ 10000 h 6868000"/>
              <a:gd name="connsiteX2" fmla="*/ 12318083 w 12318083"/>
              <a:gd name="connsiteY2" fmla="*/ 6868000 h 6868000"/>
              <a:gd name="connsiteX3" fmla="*/ 4380409 w 12318083"/>
              <a:gd name="connsiteY3" fmla="*/ 6868000 h 6868000"/>
              <a:gd name="connsiteX4" fmla="*/ 4380409 w 12318083"/>
              <a:gd name="connsiteY4" fmla="*/ 3464371 h 6868000"/>
              <a:gd name="connsiteX5" fmla="*/ 4493371 w 12318083"/>
              <a:gd name="connsiteY5" fmla="*/ 3268715 h 6868000"/>
              <a:gd name="connsiteX6" fmla="*/ 4501781 w 12318083"/>
              <a:gd name="connsiteY6" fmla="*/ 3248355 h 6868000"/>
              <a:gd name="connsiteX7" fmla="*/ 4504584 w 12318083"/>
              <a:gd name="connsiteY7" fmla="*/ 3226868 h 6868000"/>
              <a:gd name="connsiteX8" fmla="*/ 4501781 w 12318083"/>
              <a:gd name="connsiteY8" fmla="*/ 3205381 h 6868000"/>
              <a:gd name="connsiteX9" fmla="*/ 4493371 w 12318083"/>
              <a:gd name="connsiteY9" fmla="*/ 3185020 h 6868000"/>
              <a:gd name="connsiteX10" fmla="*/ 4380409 w 12318083"/>
              <a:gd name="connsiteY10" fmla="*/ 2989362 h 6868000"/>
              <a:gd name="connsiteX11" fmla="*/ 4380409 w 12318083"/>
              <a:gd name="connsiteY11" fmla="*/ 12981 h 6868000"/>
              <a:gd name="connsiteX12" fmla="*/ 122908 w 12318083"/>
              <a:gd name="connsiteY12" fmla="*/ 12981 h 6868000"/>
              <a:gd name="connsiteX13" fmla="*/ 122908 w 12318083"/>
              <a:gd name="connsiteY13" fmla="*/ 6868000 h 6868000"/>
              <a:gd name="connsiteX14" fmla="*/ 0 w 12318083"/>
              <a:gd name="connsiteY14" fmla="*/ 6868000 h 6868000"/>
              <a:gd name="connsiteX15" fmla="*/ 110002 w 12318083"/>
              <a:gd name="connsiteY15" fmla="*/ 0 h 6868000"/>
              <a:gd name="connsiteX0" fmla="*/ 0 w 12208081"/>
              <a:gd name="connsiteY0" fmla="*/ 0 h 6868000"/>
              <a:gd name="connsiteX1" fmla="*/ 12208081 w 12208081"/>
              <a:gd name="connsiteY1" fmla="*/ 10000 h 6868000"/>
              <a:gd name="connsiteX2" fmla="*/ 12208081 w 12208081"/>
              <a:gd name="connsiteY2" fmla="*/ 6868000 h 6868000"/>
              <a:gd name="connsiteX3" fmla="*/ 4270407 w 12208081"/>
              <a:gd name="connsiteY3" fmla="*/ 6868000 h 6868000"/>
              <a:gd name="connsiteX4" fmla="*/ 4270407 w 12208081"/>
              <a:gd name="connsiteY4" fmla="*/ 3464371 h 6868000"/>
              <a:gd name="connsiteX5" fmla="*/ 4383369 w 12208081"/>
              <a:gd name="connsiteY5" fmla="*/ 3268715 h 6868000"/>
              <a:gd name="connsiteX6" fmla="*/ 4391779 w 12208081"/>
              <a:gd name="connsiteY6" fmla="*/ 3248355 h 6868000"/>
              <a:gd name="connsiteX7" fmla="*/ 4394582 w 12208081"/>
              <a:gd name="connsiteY7" fmla="*/ 3226868 h 6868000"/>
              <a:gd name="connsiteX8" fmla="*/ 4391779 w 12208081"/>
              <a:gd name="connsiteY8" fmla="*/ 3205381 h 6868000"/>
              <a:gd name="connsiteX9" fmla="*/ 4383369 w 12208081"/>
              <a:gd name="connsiteY9" fmla="*/ 3185020 h 6868000"/>
              <a:gd name="connsiteX10" fmla="*/ 4270407 w 12208081"/>
              <a:gd name="connsiteY10" fmla="*/ 2989362 h 6868000"/>
              <a:gd name="connsiteX11" fmla="*/ 4270407 w 12208081"/>
              <a:gd name="connsiteY11" fmla="*/ 12981 h 6868000"/>
              <a:gd name="connsiteX12" fmla="*/ 12906 w 12208081"/>
              <a:gd name="connsiteY12" fmla="*/ 12981 h 6868000"/>
              <a:gd name="connsiteX13" fmla="*/ 12906 w 12208081"/>
              <a:gd name="connsiteY13" fmla="*/ 6868000 h 6868000"/>
              <a:gd name="connsiteX14" fmla="*/ 10000 w 12208081"/>
              <a:gd name="connsiteY14" fmla="*/ 6857999 h 6868000"/>
              <a:gd name="connsiteX15" fmla="*/ 0 w 12208081"/>
              <a:gd name="connsiteY15" fmla="*/ 0 h 6868000"/>
              <a:gd name="connsiteX0" fmla="*/ 0 w 12238081"/>
              <a:gd name="connsiteY0" fmla="*/ 0 h 6868000"/>
              <a:gd name="connsiteX1" fmla="*/ 12238081 w 12238081"/>
              <a:gd name="connsiteY1" fmla="*/ 10000 h 6868000"/>
              <a:gd name="connsiteX2" fmla="*/ 12208081 w 12238081"/>
              <a:gd name="connsiteY2" fmla="*/ 6868000 h 6868000"/>
              <a:gd name="connsiteX3" fmla="*/ 4270407 w 12238081"/>
              <a:gd name="connsiteY3" fmla="*/ 6868000 h 6868000"/>
              <a:gd name="connsiteX4" fmla="*/ 4270407 w 12238081"/>
              <a:gd name="connsiteY4" fmla="*/ 3464371 h 6868000"/>
              <a:gd name="connsiteX5" fmla="*/ 4383369 w 12238081"/>
              <a:gd name="connsiteY5" fmla="*/ 3268715 h 6868000"/>
              <a:gd name="connsiteX6" fmla="*/ 4391779 w 12238081"/>
              <a:gd name="connsiteY6" fmla="*/ 3248355 h 6868000"/>
              <a:gd name="connsiteX7" fmla="*/ 4394582 w 12238081"/>
              <a:gd name="connsiteY7" fmla="*/ 3226868 h 6868000"/>
              <a:gd name="connsiteX8" fmla="*/ 4391779 w 12238081"/>
              <a:gd name="connsiteY8" fmla="*/ 3205381 h 6868000"/>
              <a:gd name="connsiteX9" fmla="*/ 4383369 w 12238081"/>
              <a:gd name="connsiteY9" fmla="*/ 3185020 h 6868000"/>
              <a:gd name="connsiteX10" fmla="*/ 4270407 w 12238081"/>
              <a:gd name="connsiteY10" fmla="*/ 2989362 h 6868000"/>
              <a:gd name="connsiteX11" fmla="*/ 4270407 w 12238081"/>
              <a:gd name="connsiteY11" fmla="*/ 12981 h 6868000"/>
              <a:gd name="connsiteX12" fmla="*/ 12906 w 12238081"/>
              <a:gd name="connsiteY12" fmla="*/ 12981 h 6868000"/>
              <a:gd name="connsiteX13" fmla="*/ 12906 w 12238081"/>
              <a:gd name="connsiteY13" fmla="*/ 6868000 h 6868000"/>
              <a:gd name="connsiteX14" fmla="*/ 10000 w 12238081"/>
              <a:gd name="connsiteY14" fmla="*/ 6857999 h 6868000"/>
              <a:gd name="connsiteX15" fmla="*/ 0 w 1223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12906 w 12248081"/>
              <a:gd name="connsiteY12" fmla="*/ 12981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67538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0 w 12248081"/>
              <a:gd name="connsiteY14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0 w 12248081"/>
              <a:gd name="connsiteY13" fmla="*/ 0 h 6868000"/>
              <a:gd name="connsiteX0" fmla="*/ 0 w 12244739"/>
              <a:gd name="connsiteY0" fmla="*/ 0 h 6864558"/>
              <a:gd name="connsiteX1" fmla="*/ 12234739 w 12244739"/>
              <a:gd name="connsiteY1" fmla="*/ 6558 h 6864558"/>
              <a:gd name="connsiteX2" fmla="*/ 12244739 w 12244739"/>
              <a:gd name="connsiteY2" fmla="*/ 6864558 h 6864558"/>
              <a:gd name="connsiteX3" fmla="*/ 4267065 w 12244739"/>
              <a:gd name="connsiteY3" fmla="*/ 6864558 h 6864558"/>
              <a:gd name="connsiteX4" fmla="*/ 4267065 w 12244739"/>
              <a:gd name="connsiteY4" fmla="*/ 3460929 h 6864558"/>
              <a:gd name="connsiteX5" fmla="*/ 4380027 w 12244739"/>
              <a:gd name="connsiteY5" fmla="*/ 3265273 h 6864558"/>
              <a:gd name="connsiteX6" fmla="*/ 4388437 w 12244739"/>
              <a:gd name="connsiteY6" fmla="*/ 3244913 h 6864558"/>
              <a:gd name="connsiteX7" fmla="*/ 4391240 w 12244739"/>
              <a:gd name="connsiteY7" fmla="*/ 3223426 h 6864558"/>
              <a:gd name="connsiteX8" fmla="*/ 4388437 w 12244739"/>
              <a:gd name="connsiteY8" fmla="*/ 3201939 h 6864558"/>
              <a:gd name="connsiteX9" fmla="*/ 4380027 w 12244739"/>
              <a:gd name="connsiteY9" fmla="*/ 3181578 h 6864558"/>
              <a:gd name="connsiteX10" fmla="*/ 4267065 w 12244739"/>
              <a:gd name="connsiteY10" fmla="*/ 2985920 h 6864558"/>
              <a:gd name="connsiteX11" fmla="*/ 4267065 w 12244739"/>
              <a:gd name="connsiteY11" fmla="*/ 0 h 6864558"/>
              <a:gd name="connsiteX12" fmla="*/ 0 w 12244739"/>
              <a:gd name="connsiteY12" fmla="*/ 0 h 6864558"/>
              <a:gd name="connsiteX0" fmla="*/ 0 w 7977674"/>
              <a:gd name="connsiteY0" fmla="*/ 0 h 6864558"/>
              <a:gd name="connsiteX1" fmla="*/ 7967674 w 7977674"/>
              <a:gd name="connsiteY1" fmla="*/ 6558 h 6864558"/>
              <a:gd name="connsiteX2" fmla="*/ 7977674 w 7977674"/>
              <a:gd name="connsiteY2" fmla="*/ 6864558 h 6864558"/>
              <a:gd name="connsiteX3" fmla="*/ 0 w 7977674"/>
              <a:gd name="connsiteY3" fmla="*/ 6864558 h 6864558"/>
              <a:gd name="connsiteX4" fmla="*/ 0 w 7977674"/>
              <a:gd name="connsiteY4" fmla="*/ 3460929 h 6864558"/>
              <a:gd name="connsiteX5" fmla="*/ 112962 w 7977674"/>
              <a:gd name="connsiteY5" fmla="*/ 3265273 h 6864558"/>
              <a:gd name="connsiteX6" fmla="*/ 121372 w 7977674"/>
              <a:gd name="connsiteY6" fmla="*/ 3244913 h 6864558"/>
              <a:gd name="connsiteX7" fmla="*/ 124175 w 7977674"/>
              <a:gd name="connsiteY7" fmla="*/ 3223426 h 6864558"/>
              <a:gd name="connsiteX8" fmla="*/ 121372 w 7977674"/>
              <a:gd name="connsiteY8" fmla="*/ 3201939 h 6864558"/>
              <a:gd name="connsiteX9" fmla="*/ 112962 w 7977674"/>
              <a:gd name="connsiteY9" fmla="*/ 3181578 h 6864558"/>
              <a:gd name="connsiteX10" fmla="*/ 0 w 7977674"/>
              <a:gd name="connsiteY10" fmla="*/ 2985920 h 6864558"/>
              <a:gd name="connsiteX11" fmla="*/ 0 w 7977674"/>
              <a:gd name="connsiteY11" fmla="*/ 0 h 6864558"/>
              <a:gd name="connsiteX0" fmla="*/ 0 w 7977674"/>
              <a:gd name="connsiteY0" fmla="*/ 0 h 6874097"/>
              <a:gd name="connsiteX1" fmla="*/ 7967674 w 7977674"/>
              <a:gd name="connsiteY1" fmla="*/ 16097 h 6874097"/>
              <a:gd name="connsiteX2" fmla="*/ 7977674 w 7977674"/>
              <a:gd name="connsiteY2" fmla="*/ 6874097 h 6874097"/>
              <a:gd name="connsiteX3" fmla="*/ 0 w 7977674"/>
              <a:gd name="connsiteY3" fmla="*/ 6874097 h 6874097"/>
              <a:gd name="connsiteX4" fmla="*/ 0 w 7977674"/>
              <a:gd name="connsiteY4" fmla="*/ 3470468 h 6874097"/>
              <a:gd name="connsiteX5" fmla="*/ 112962 w 7977674"/>
              <a:gd name="connsiteY5" fmla="*/ 3274812 h 6874097"/>
              <a:gd name="connsiteX6" fmla="*/ 121372 w 7977674"/>
              <a:gd name="connsiteY6" fmla="*/ 3254452 h 6874097"/>
              <a:gd name="connsiteX7" fmla="*/ 124175 w 7977674"/>
              <a:gd name="connsiteY7" fmla="*/ 3232965 h 6874097"/>
              <a:gd name="connsiteX8" fmla="*/ 121372 w 7977674"/>
              <a:gd name="connsiteY8" fmla="*/ 3211478 h 6874097"/>
              <a:gd name="connsiteX9" fmla="*/ 112962 w 7977674"/>
              <a:gd name="connsiteY9" fmla="*/ 3191117 h 6874097"/>
              <a:gd name="connsiteX10" fmla="*/ 0 w 7977674"/>
              <a:gd name="connsiteY10" fmla="*/ 2995459 h 6874097"/>
              <a:gd name="connsiteX11" fmla="*/ 0 w 7977674"/>
              <a:gd name="connsiteY11" fmla="*/ 0 h 6874097"/>
              <a:gd name="connsiteX0" fmla="*/ 0 w 7977674"/>
              <a:gd name="connsiteY0" fmla="*/ 0 h 6883636"/>
              <a:gd name="connsiteX1" fmla="*/ 7967674 w 7977674"/>
              <a:gd name="connsiteY1" fmla="*/ 16097 h 6883636"/>
              <a:gd name="connsiteX2" fmla="*/ 7977674 w 7977674"/>
              <a:gd name="connsiteY2" fmla="*/ 6874097 h 6883636"/>
              <a:gd name="connsiteX3" fmla="*/ 0 w 7977674"/>
              <a:gd name="connsiteY3" fmla="*/ 6883636 h 6883636"/>
              <a:gd name="connsiteX4" fmla="*/ 0 w 7977674"/>
              <a:gd name="connsiteY4" fmla="*/ 3470468 h 6883636"/>
              <a:gd name="connsiteX5" fmla="*/ 112962 w 7977674"/>
              <a:gd name="connsiteY5" fmla="*/ 3274812 h 6883636"/>
              <a:gd name="connsiteX6" fmla="*/ 121372 w 7977674"/>
              <a:gd name="connsiteY6" fmla="*/ 3254452 h 6883636"/>
              <a:gd name="connsiteX7" fmla="*/ 124175 w 7977674"/>
              <a:gd name="connsiteY7" fmla="*/ 3232965 h 6883636"/>
              <a:gd name="connsiteX8" fmla="*/ 121372 w 7977674"/>
              <a:gd name="connsiteY8" fmla="*/ 3211478 h 6883636"/>
              <a:gd name="connsiteX9" fmla="*/ 112962 w 7977674"/>
              <a:gd name="connsiteY9" fmla="*/ 3191117 h 6883636"/>
              <a:gd name="connsiteX10" fmla="*/ 0 w 7977674"/>
              <a:gd name="connsiteY10" fmla="*/ 2995459 h 6883636"/>
              <a:gd name="connsiteX11" fmla="*/ 0 w 7977674"/>
              <a:gd name="connsiteY11" fmla="*/ 0 h 6883636"/>
              <a:gd name="connsiteX0" fmla="*/ 0 w 7968240"/>
              <a:gd name="connsiteY0" fmla="*/ 0 h 6886816"/>
              <a:gd name="connsiteX1" fmla="*/ 7967674 w 7968240"/>
              <a:gd name="connsiteY1" fmla="*/ 16097 h 6886816"/>
              <a:gd name="connsiteX2" fmla="*/ 7961735 w 7968240"/>
              <a:gd name="connsiteY2" fmla="*/ 6886816 h 6886816"/>
              <a:gd name="connsiteX3" fmla="*/ 0 w 7968240"/>
              <a:gd name="connsiteY3" fmla="*/ 6883636 h 6886816"/>
              <a:gd name="connsiteX4" fmla="*/ 0 w 7968240"/>
              <a:gd name="connsiteY4" fmla="*/ 3470468 h 6886816"/>
              <a:gd name="connsiteX5" fmla="*/ 112962 w 7968240"/>
              <a:gd name="connsiteY5" fmla="*/ 3274812 h 6886816"/>
              <a:gd name="connsiteX6" fmla="*/ 121372 w 7968240"/>
              <a:gd name="connsiteY6" fmla="*/ 3254452 h 6886816"/>
              <a:gd name="connsiteX7" fmla="*/ 124175 w 7968240"/>
              <a:gd name="connsiteY7" fmla="*/ 3232965 h 6886816"/>
              <a:gd name="connsiteX8" fmla="*/ 121372 w 7968240"/>
              <a:gd name="connsiteY8" fmla="*/ 3211478 h 6886816"/>
              <a:gd name="connsiteX9" fmla="*/ 112962 w 7968240"/>
              <a:gd name="connsiteY9" fmla="*/ 3191117 h 6886816"/>
              <a:gd name="connsiteX10" fmla="*/ 0 w 7968240"/>
              <a:gd name="connsiteY10" fmla="*/ 2995459 h 6886816"/>
              <a:gd name="connsiteX11" fmla="*/ 0 w 7968240"/>
              <a:gd name="connsiteY11" fmla="*/ 0 h 6886816"/>
              <a:gd name="connsiteX0" fmla="*/ 0 w 7965212"/>
              <a:gd name="connsiteY0" fmla="*/ 0 h 6886816"/>
              <a:gd name="connsiteX1" fmla="*/ 7964487 w 7965212"/>
              <a:gd name="connsiteY1" fmla="*/ 3379 h 6886816"/>
              <a:gd name="connsiteX2" fmla="*/ 7961735 w 7965212"/>
              <a:gd name="connsiteY2" fmla="*/ 6886816 h 6886816"/>
              <a:gd name="connsiteX3" fmla="*/ 0 w 7965212"/>
              <a:gd name="connsiteY3" fmla="*/ 6883636 h 6886816"/>
              <a:gd name="connsiteX4" fmla="*/ 0 w 7965212"/>
              <a:gd name="connsiteY4" fmla="*/ 3470468 h 6886816"/>
              <a:gd name="connsiteX5" fmla="*/ 112962 w 7965212"/>
              <a:gd name="connsiteY5" fmla="*/ 3274812 h 6886816"/>
              <a:gd name="connsiteX6" fmla="*/ 121372 w 7965212"/>
              <a:gd name="connsiteY6" fmla="*/ 3254452 h 6886816"/>
              <a:gd name="connsiteX7" fmla="*/ 124175 w 7965212"/>
              <a:gd name="connsiteY7" fmla="*/ 3232965 h 6886816"/>
              <a:gd name="connsiteX8" fmla="*/ 121372 w 7965212"/>
              <a:gd name="connsiteY8" fmla="*/ 3211478 h 6886816"/>
              <a:gd name="connsiteX9" fmla="*/ 112962 w 7965212"/>
              <a:gd name="connsiteY9" fmla="*/ 3191117 h 6886816"/>
              <a:gd name="connsiteX10" fmla="*/ 0 w 7965212"/>
              <a:gd name="connsiteY10" fmla="*/ 2995459 h 6886816"/>
              <a:gd name="connsiteX11" fmla="*/ 0 w 7965212"/>
              <a:gd name="connsiteY11" fmla="*/ 0 h 6886816"/>
              <a:gd name="connsiteX0" fmla="*/ 0 w 7961735"/>
              <a:gd name="connsiteY0" fmla="*/ 2980 h 6889796"/>
              <a:gd name="connsiteX1" fmla="*/ 7958112 w 7961735"/>
              <a:gd name="connsiteY1" fmla="*/ 0 h 6889796"/>
              <a:gd name="connsiteX2" fmla="*/ 7961735 w 7961735"/>
              <a:gd name="connsiteY2" fmla="*/ 6889796 h 6889796"/>
              <a:gd name="connsiteX3" fmla="*/ 0 w 7961735"/>
              <a:gd name="connsiteY3" fmla="*/ 6886616 h 6889796"/>
              <a:gd name="connsiteX4" fmla="*/ 0 w 7961735"/>
              <a:gd name="connsiteY4" fmla="*/ 3473448 h 6889796"/>
              <a:gd name="connsiteX5" fmla="*/ 112962 w 7961735"/>
              <a:gd name="connsiteY5" fmla="*/ 3277792 h 6889796"/>
              <a:gd name="connsiteX6" fmla="*/ 121372 w 7961735"/>
              <a:gd name="connsiteY6" fmla="*/ 3257432 h 6889796"/>
              <a:gd name="connsiteX7" fmla="*/ 124175 w 7961735"/>
              <a:gd name="connsiteY7" fmla="*/ 3235945 h 6889796"/>
              <a:gd name="connsiteX8" fmla="*/ 121372 w 7961735"/>
              <a:gd name="connsiteY8" fmla="*/ 3214458 h 6889796"/>
              <a:gd name="connsiteX9" fmla="*/ 112962 w 7961735"/>
              <a:gd name="connsiteY9" fmla="*/ 3194097 h 6889796"/>
              <a:gd name="connsiteX10" fmla="*/ 0 w 7961735"/>
              <a:gd name="connsiteY10" fmla="*/ 2998439 h 6889796"/>
              <a:gd name="connsiteX11" fmla="*/ 0 w 7961735"/>
              <a:gd name="connsiteY11" fmla="*/ 2980 h 688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61735" h="6889796">
                <a:moveTo>
                  <a:pt x="0" y="2980"/>
                </a:moveTo>
                <a:lnTo>
                  <a:pt x="7958112" y="0"/>
                </a:lnTo>
                <a:cubicBezTo>
                  <a:pt x="7961445" y="2286000"/>
                  <a:pt x="7958402" y="4603796"/>
                  <a:pt x="7961735" y="6889796"/>
                </a:cubicBezTo>
                <a:lnTo>
                  <a:pt x="0" y="6886616"/>
                </a:lnTo>
                <a:lnTo>
                  <a:pt x="0" y="3473448"/>
                </a:lnTo>
                <a:lnTo>
                  <a:pt x="112962" y="3277792"/>
                </a:lnTo>
                <a:lnTo>
                  <a:pt x="121372" y="3257432"/>
                </a:lnTo>
                <a:lnTo>
                  <a:pt x="124175" y="3235945"/>
                </a:lnTo>
                <a:lnTo>
                  <a:pt x="121372" y="3214458"/>
                </a:lnTo>
                <a:lnTo>
                  <a:pt x="112962" y="3194097"/>
                </a:lnTo>
                <a:lnTo>
                  <a:pt x="0" y="2998439"/>
                </a:lnTo>
                <a:lnTo>
                  <a:pt x="0" y="298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>
            <a:off x="1" y="1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940" y="2843784"/>
            <a:ext cx="3581070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940" y="3456432"/>
            <a:ext cx="3581070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010" y="5711757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9633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169861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70947" h="5187360">
                <a:moveTo>
                  <a:pt x="0" y="0"/>
                </a:moveTo>
                <a:lnTo>
                  <a:pt x="4161417" y="0"/>
                </a:lnTo>
                <a:cubicBezTo>
                  <a:pt x="4164594" y="1684338"/>
                  <a:pt x="4167770" y="3368675"/>
                  <a:pt x="4170947" y="5053013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43490"/>
            <a:ext cx="12192000" cy="1824037"/>
          </a:xfrm>
          <a:custGeom>
            <a:avLst/>
            <a:gdLst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0498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2403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182403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24037"/>
                </a:lnTo>
                <a:lnTo>
                  <a:pt x="0" y="182403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2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52621" y="1"/>
            <a:ext cx="4049179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8192984" y="-1"/>
            <a:ext cx="3999016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89" y="5711757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66116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4118268" y="2515127"/>
            <a:ext cx="3966155" cy="253841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8"/>
          <p:cNvSpPr>
            <a:spLocks noGrp="1"/>
          </p:cNvSpPr>
          <p:nvPr>
            <p:ph type="pic" sz="quarter" idx="15"/>
          </p:nvPr>
        </p:nvSpPr>
        <p:spPr>
          <a:xfrm>
            <a:off x="8086365" y="2514601"/>
            <a:ext cx="4105635" cy="2538412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18268" y="0"/>
            <a:ext cx="3966155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8"/>
          <p:cNvSpPr>
            <a:spLocks noGrp="1"/>
          </p:cNvSpPr>
          <p:nvPr>
            <p:ph type="pic" sz="quarter" idx="14"/>
          </p:nvPr>
        </p:nvSpPr>
        <p:spPr>
          <a:xfrm>
            <a:off x="8086364" y="0"/>
            <a:ext cx="4116327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89" y="5711757"/>
            <a:ext cx="1892725" cy="512545"/>
          </a:xfrm>
          <a:prstGeom prst="rect">
            <a:avLst/>
          </a:prstGeom>
        </p:spPr>
      </p:pic>
      <p:sp>
        <p:nvSpPr>
          <p:cNvPr id="17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120532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70947"/>
              <a:gd name="connsiteY0" fmla="*/ 0 h 5187360"/>
              <a:gd name="connsiteX1" fmla="*/ 4120756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6400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3225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21605" h="5187360">
                <a:moveTo>
                  <a:pt x="0" y="0"/>
                </a:moveTo>
                <a:lnTo>
                  <a:pt x="4120756" y="0"/>
                </a:lnTo>
                <a:cubicBezTo>
                  <a:pt x="4123933" y="1684338"/>
                  <a:pt x="4116944" y="3368887"/>
                  <a:pt x="4120121" y="5053225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92172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545" y="1495256"/>
            <a:ext cx="5113001" cy="384272"/>
          </a:xfrm>
        </p:spPr>
        <p:txBody>
          <a:bodyPr anchor="b">
            <a:noAutofit/>
          </a:bodyPr>
          <a:lstStyle>
            <a:lvl1pPr marL="0" indent="0">
              <a:spcBef>
                <a:spcPts val="600"/>
              </a:spcBef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543" y="1906561"/>
            <a:ext cx="5113001" cy="410054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57864" y="1495256"/>
            <a:ext cx="5125178" cy="384272"/>
          </a:xfrm>
        </p:spPr>
        <p:txBody>
          <a:bodyPr anchor="b">
            <a:noAutofit/>
          </a:bodyPr>
          <a:lstStyle>
            <a:lvl1pPr marL="0" indent="0">
              <a:spcBef>
                <a:spcPts val="600"/>
              </a:spcBef>
              <a:buNone/>
              <a:defRPr sz="1800" b="0" i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7872" y="1906561"/>
            <a:ext cx="5125170" cy="410054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19543" y="914407"/>
            <a:ext cx="10769847" cy="365229"/>
          </a:xfrm>
        </p:spPr>
        <p:txBody>
          <a:bodyPr t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27E9E-0C6F-485B-9C72-6C77D0746411}" type="slidenum">
              <a:rPr lang="en-US" altLang="en-US"/>
              <a:pPr>
                <a:defRPr/>
              </a:pPr>
              <a:t>‹N°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9157122"/>
      </p:ext>
    </p:extLst>
  </p:cSld>
  <p:clrMapOvr>
    <a:masterClrMapping/>
  </p:clrMapOvr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428233"/>
            <a:ext cx="10363200" cy="831600"/>
          </a:xfrm>
        </p:spPr>
        <p:txBody>
          <a:bodyPr anchor="ctr" anchorCtr="0">
            <a:noAutofit/>
          </a:bodyPr>
          <a:lstStyle>
            <a:lvl1pPr algn="ctr">
              <a:defRPr sz="4800" b="0" i="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164" y="3279334"/>
            <a:ext cx="10363675" cy="517065"/>
          </a:xfrm>
        </p:spPr>
        <p:txBody>
          <a:bodyPr>
            <a:no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7113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and Promise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/>
          <p:nvPr userDrawn="1"/>
        </p:nvSpPr>
        <p:spPr>
          <a:xfrm>
            <a:off x="1" y="0"/>
            <a:ext cx="1220127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object 4"/>
          <p:cNvSpPr txBox="1">
            <a:spLocks/>
          </p:cNvSpPr>
          <p:nvPr userDrawn="1"/>
        </p:nvSpPr>
        <p:spPr>
          <a:xfrm>
            <a:off x="2695200" y="1664565"/>
            <a:ext cx="5176750" cy="551433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l" fontAlgn="auto">
              <a:spcBef>
                <a:spcPts val="100"/>
              </a:spcBef>
              <a:spcAft>
                <a:spcPts val="0"/>
              </a:spcAft>
              <a:defRPr/>
            </a:pP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United.</a:t>
            </a:r>
            <a:r>
              <a:rPr lang="en-US" sz="3500" b="1" spc="1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3500" b="1" spc="50">
                <a:solidFill>
                  <a:srgbClr val="FFFFFF"/>
                </a:solidFill>
                <a:latin typeface="Arial"/>
                <a:cs typeface="Arial"/>
              </a:rPr>
              <a:t>Inspired.</a:t>
            </a:r>
            <a:endParaRPr lang="en-US" sz="3500">
              <a:latin typeface="Arial"/>
              <a:cs typeface="Arial"/>
            </a:endParaRPr>
          </a:p>
        </p:txBody>
      </p:sp>
      <p:sp>
        <p:nvSpPr>
          <p:cNvPr id="21" name="object 5"/>
          <p:cNvSpPr txBox="1"/>
          <p:nvPr userDrawn="1"/>
        </p:nvSpPr>
        <p:spPr>
          <a:xfrm>
            <a:off x="2717091" y="2152536"/>
            <a:ext cx="8481393" cy="2301091"/>
          </a:xfrm>
          <a:prstGeom prst="rect">
            <a:avLst/>
          </a:prstGeom>
        </p:spPr>
        <p:txBody>
          <a:bodyPr wrap="square" lIns="0" tIns="1270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ヒラギノ角ゴ Pro W3" charset="0"/>
              </a:defRPr>
            </a:lvl9pPr>
          </a:lstStyle>
          <a:p>
            <a:pPr>
              <a:lnSpc>
                <a:spcPct val="131000"/>
              </a:lnSpc>
              <a:spcBef>
                <a:spcPts val="100"/>
              </a:spcBef>
            </a:pP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Performance unites us, innovation inspires us,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and </a:t>
            </a:r>
            <a:r>
              <a:rPr lang="en-US" sz="2200" noProof="0">
                <a:solidFill>
                  <a:schemeClr val="tx1"/>
                </a:solidFill>
                <a:latin typeface="Arial" charset="0"/>
                <a:cs typeface="Arial" charset="0"/>
              </a:rPr>
              <a:t>commitment</a:t>
            </a: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 drives us to keep moving forward.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Count on Epiroc to deliver the solutions you need</a:t>
            </a:r>
            <a:b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2200">
                <a:solidFill>
                  <a:schemeClr val="tx1"/>
                </a:solidFill>
                <a:latin typeface="Arial" charset="0"/>
                <a:cs typeface="Arial" charset="0"/>
              </a:rPr>
              <a:t>to succeed today and the technology to lead tomorrow.</a:t>
            </a:r>
          </a:p>
          <a:p>
            <a:pPr>
              <a:spcBef>
                <a:spcPts val="50"/>
              </a:spcBef>
            </a:pPr>
            <a:endParaRPr lang="en-US" sz="1200">
              <a:latin typeface="Times New Roman" charset="0"/>
              <a:cs typeface="Times New Roman" charset="0"/>
            </a:endParaRPr>
          </a:p>
          <a:p>
            <a:r>
              <a:rPr lang="en-US" sz="2100" b="1">
                <a:solidFill>
                  <a:srgbClr val="FFFFFF"/>
                </a:solidFill>
                <a:latin typeface="Arial Black" charset="0"/>
                <a:cs typeface="Arial Black" charset="0"/>
              </a:rPr>
              <a:t>epiroc.com</a:t>
            </a:r>
            <a:endParaRPr lang="en-US" sz="2100">
              <a:latin typeface="Arial Black" charset="0"/>
              <a:cs typeface="Arial Black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1618" y="4746945"/>
            <a:ext cx="1728111" cy="46796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549243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5922" y="2296203"/>
            <a:ext cx="6792806" cy="183947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09615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/>
          <p:nvPr userDrawn="1"/>
        </p:nvSpPr>
        <p:spPr>
          <a:xfrm>
            <a:off x="1" y="5053015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12489" y="5577840"/>
            <a:ext cx="9159902" cy="52120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12489" y="6108192"/>
            <a:ext cx="9159902" cy="219456"/>
          </a:xfrm>
          <a:prstGeom prst="rect">
            <a:avLst/>
          </a:prstGeom>
        </p:spPr>
        <p:txBody>
          <a:bodyPr wrap="square" lIns="91440" tIns="45720" rIns="91440" bIns="45720" anchor="b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6435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5175" h="6864350">
                <a:moveTo>
                  <a:pt x="0" y="6864350"/>
                </a:moveTo>
                <a:lnTo>
                  <a:pt x="12195175" y="6858000"/>
                </a:lnTo>
                <a:lnTo>
                  <a:pt x="12188630" y="6863214"/>
                </a:lnTo>
                <a:lnTo>
                  <a:pt x="3175" y="6863214"/>
                </a:lnTo>
                <a:lnTo>
                  <a:pt x="0" y="6864350"/>
                </a:lnTo>
                <a:close/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7" name="Picture 6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3335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EEFAE-073D-426F-B1B3-DA068A342DA9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0322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3175 w 12195175"/>
              <a:gd name="connsiteY2" fmla="*/ 6863214 h 6864350"/>
              <a:gd name="connsiteX3" fmla="*/ 0 w 12195175"/>
              <a:gd name="connsiteY3" fmla="*/ 6864350 h 6864350"/>
              <a:gd name="connsiteX4" fmla="*/ 0 w 12195175"/>
              <a:gd name="connsiteY4" fmla="*/ 0 h 6864350"/>
              <a:gd name="connsiteX5" fmla="*/ 12195175 w 12195175"/>
              <a:gd name="connsiteY5" fmla="*/ 0 h 6864350"/>
              <a:gd name="connsiteX6" fmla="*/ 12195175 w 12195175"/>
              <a:gd name="connsiteY6" fmla="*/ 5053013 h 6864350"/>
              <a:gd name="connsiteX7" fmla="*/ 1175111 w 12195175"/>
              <a:gd name="connsiteY7" fmla="*/ 5053013 h 6864350"/>
              <a:gd name="connsiteX8" fmla="*/ 961835 w 12195175"/>
              <a:gd name="connsiteY8" fmla="*/ 5176147 h 6864350"/>
              <a:gd name="connsiteX9" fmla="*/ 941474 w 12195175"/>
              <a:gd name="connsiteY9" fmla="*/ 5184556 h 6864350"/>
              <a:gd name="connsiteX10" fmla="*/ 919987 w 12195175"/>
              <a:gd name="connsiteY10" fmla="*/ 5187360 h 6864350"/>
              <a:gd name="connsiteX11" fmla="*/ 898500 w 12195175"/>
              <a:gd name="connsiteY11" fmla="*/ 5184556 h 6864350"/>
              <a:gd name="connsiteX12" fmla="*/ 878140 w 12195175"/>
              <a:gd name="connsiteY12" fmla="*/ 5176147 h 6864350"/>
              <a:gd name="connsiteX13" fmla="*/ 664866 w 12195175"/>
              <a:gd name="connsiteY13" fmla="*/ 5053013 h 6864350"/>
              <a:gd name="connsiteX14" fmla="*/ 0 w 12195175"/>
              <a:gd name="connsiteY14" fmla="*/ 5053013 h 6864350"/>
              <a:gd name="connsiteX15" fmla="*/ 0 w 12195175"/>
              <a:gd name="connsiteY15" fmla="*/ 0 h 6864350"/>
              <a:gd name="connsiteX0" fmla="*/ 0 w 12195175"/>
              <a:gd name="connsiteY0" fmla="*/ 6864350 h 6864350"/>
              <a:gd name="connsiteX1" fmla="*/ 3175 w 12195175"/>
              <a:gd name="connsiteY1" fmla="*/ 6863214 h 6864350"/>
              <a:gd name="connsiteX2" fmla="*/ 0 w 12195175"/>
              <a:gd name="connsiteY2" fmla="*/ 6864350 h 6864350"/>
              <a:gd name="connsiteX3" fmla="*/ 0 w 12195175"/>
              <a:gd name="connsiteY3" fmla="*/ 0 h 6864350"/>
              <a:gd name="connsiteX4" fmla="*/ 12195175 w 12195175"/>
              <a:gd name="connsiteY4" fmla="*/ 0 h 6864350"/>
              <a:gd name="connsiteX5" fmla="*/ 12195175 w 12195175"/>
              <a:gd name="connsiteY5" fmla="*/ 5053013 h 6864350"/>
              <a:gd name="connsiteX6" fmla="*/ 1175111 w 12195175"/>
              <a:gd name="connsiteY6" fmla="*/ 5053013 h 6864350"/>
              <a:gd name="connsiteX7" fmla="*/ 961835 w 12195175"/>
              <a:gd name="connsiteY7" fmla="*/ 5176147 h 6864350"/>
              <a:gd name="connsiteX8" fmla="*/ 941474 w 12195175"/>
              <a:gd name="connsiteY8" fmla="*/ 5184556 h 6864350"/>
              <a:gd name="connsiteX9" fmla="*/ 919987 w 12195175"/>
              <a:gd name="connsiteY9" fmla="*/ 5187360 h 6864350"/>
              <a:gd name="connsiteX10" fmla="*/ 898500 w 12195175"/>
              <a:gd name="connsiteY10" fmla="*/ 5184556 h 6864350"/>
              <a:gd name="connsiteX11" fmla="*/ 878140 w 12195175"/>
              <a:gd name="connsiteY11" fmla="*/ 5176147 h 6864350"/>
              <a:gd name="connsiteX12" fmla="*/ 664866 w 12195175"/>
              <a:gd name="connsiteY12" fmla="*/ 5053013 h 6864350"/>
              <a:gd name="connsiteX13" fmla="*/ 0 w 12195175"/>
              <a:gd name="connsiteY13" fmla="*/ 5053013 h 6864350"/>
              <a:gd name="connsiteX14" fmla="*/ 0 w 12195175"/>
              <a:gd name="connsiteY14" fmla="*/ 0 h 6864350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5187360">
                <a:moveTo>
                  <a:pt x="0" y="0"/>
                </a:moveTo>
                <a:lnTo>
                  <a:pt x="12195175" y="0"/>
                </a:lnTo>
                <a:lnTo>
                  <a:pt x="12195175" y="5053013"/>
                </a:ln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Rectangle 2"/>
          <p:cNvSpPr/>
          <p:nvPr userDrawn="1"/>
        </p:nvSpPr>
        <p:spPr>
          <a:xfrm>
            <a:off x="1" y="5053016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238852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</a:t>
            </a:r>
            <a:r>
              <a:rPr lang="en-US" noProof="0"/>
              <a:t>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238852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960918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0"/>
            <a:ext cx="7956961" cy="6868758"/>
          </a:xfrm>
          <a:custGeom>
            <a:avLst/>
            <a:gdLst>
              <a:gd name="connsiteX0" fmla="*/ 0 w 12490450"/>
              <a:gd name="connsiteY0" fmla="*/ 10762 h 6868762"/>
              <a:gd name="connsiteX1" fmla="*/ 7977675 w 12490450"/>
              <a:gd name="connsiteY1" fmla="*/ 10762 h 6868762"/>
              <a:gd name="connsiteX2" fmla="*/ 7977675 w 12490450"/>
              <a:gd name="connsiteY2" fmla="*/ 2987143 h 6868762"/>
              <a:gd name="connsiteX3" fmla="*/ 7864713 w 12490450"/>
              <a:gd name="connsiteY3" fmla="*/ 3182801 h 6868762"/>
              <a:gd name="connsiteX4" fmla="*/ 7856303 w 12490450"/>
              <a:gd name="connsiteY4" fmla="*/ 3203162 h 6868762"/>
              <a:gd name="connsiteX5" fmla="*/ 7853500 w 12490450"/>
              <a:gd name="connsiteY5" fmla="*/ 3224649 h 6868762"/>
              <a:gd name="connsiteX6" fmla="*/ 7856303 w 12490450"/>
              <a:gd name="connsiteY6" fmla="*/ 3246136 h 6868762"/>
              <a:gd name="connsiteX7" fmla="*/ 7864713 w 12490450"/>
              <a:gd name="connsiteY7" fmla="*/ 3266496 h 6868762"/>
              <a:gd name="connsiteX8" fmla="*/ 7977675 w 12490450"/>
              <a:gd name="connsiteY8" fmla="*/ 3462152 h 6868762"/>
              <a:gd name="connsiteX9" fmla="*/ 7977675 w 12490450"/>
              <a:gd name="connsiteY9" fmla="*/ 6865781 h 6868762"/>
              <a:gd name="connsiteX10" fmla="*/ 12235176 w 12490450"/>
              <a:gd name="connsiteY10" fmla="*/ 6865781 h 6868762"/>
              <a:gd name="connsiteX11" fmla="*/ 12235176 w 12490450"/>
              <a:gd name="connsiteY11" fmla="*/ 10762 h 6868762"/>
              <a:gd name="connsiteX12" fmla="*/ 12237532 w 12490450"/>
              <a:gd name="connsiteY12" fmla="*/ 0 h 6868762"/>
              <a:gd name="connsiteX13" fmla="*/ 12490450 w 12490450"/>
              <a:gd name="connsiteY13" fmla="*/ 6868762 h 6868762"/>
              <a:gd name="connsiteX14" fmla="*/ 0 w 12490450"/>
              <a:gd name="connsiteY14" fmla="*/ 6868762 h 6868762"/>
              <a:gd name="connsiteX15" fmla="*/ 0 w 12490450"/>
              <a:gd name="connsiteY15" fmla="*/ 10762 h 6868762"/>
              <a:gd name="connsiteX0" fmla="*/ 0 w 12242914"/>
              <a:gd name="connsiteY0" fmla="*/ 10762 h 6868762"/>
              <a:gd name="connsiteX1" fmla="*/ 7977675 w 12242914"/>
              <a:gd name="connsiteY1" fmla="*/ 10762 h 6868762"/>
              <a:gd name="connsiteX2" fmla="*/ 7977675 w 12242914"/>
              <a:gd name="connsiteY2" fmla="*/ 2987143 h 6868762"/>
              <a:gd name="connsiteX3" fmla="*/ 7864713 w 12242914"/>
              <a:gd name="connsiteY3" fmla="*/ 3182801 h 6868762"/>
              <a:gd name="connsiteX4" fmla="*/ 7856303 w 12242914"/>
              <a:gd name="connsiteY4" fmla="*/ 3203162 h 6868762"/>
              <a:gd name="connsiteX5" fmla="*/ 7853500 w 12242914"/>
              <a:gd name="connsiteY5" fmla="*/ 3224649 h 6868762"/>
              <a:gd name="connsiteX6" fmla="*/ 7856303 w 12242914"/>
              <a:gd name="connsiteY6" fmla="*/ 3246136 h 6868762"/>
              <a:gd name="connsiteX7" fmla="*/ 7864713 w 12242914"/>
              <a:gd name="connsiteY7" fmla="*/ 3266496 h 6868762"/>
              <a:gd name="connsiteX8" fmla="*/ 7977675 w 12242914"/>
              <a:gd name="connsiteY8" fmla="*/ 3462152 h 6868762"/>
              <a:gd name="connsiteX9" fmla="*/ 7977675 w 12242914"/>
              <a:gd name="connsiteY9" fmla="*/ 6865781 h 6868762"/>
              <a:gd name="connsiteX10" fmla="*/ 12235176 w 12242914"/>
              <a:gd name="connsiteY10" fmla="*/ 6865781 h 6868762"/>
              <a:gd name="connsiteX11" fmla="*/ 12235176 w 12242914"/>
              <a:gd name="connsiteY11" fmla="*/ 10762 h 6868762"/>
              <a:gd name="connsiteX12" fmla="*/ 12237532 w 12242914"/>
              <a:gd name="connsiteY12" fmla="*/ 0 h 6868762"/>
              <a:gd name="connsiteX13" fmla="*/ 12242914 w 12242914"/>
              <a:gd name="connsiteY13" fmla="*/ 6868762 h 6868762"/>
              <a:gd name="connsiteX14" fmla="*/ 0 w 12242914"/>
              <a:gd name="connsiteY14" fmla="*/ 6868762 h 6868762"/>
              <a:gd name="connsiteX15" fmla="*/ 0 w 12242914"/>
              <a:gd name="connsiteY15" fmla="*/ 10762 h 6868762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35176 w 12242914"/>
              <a:gd name="connsiteY11" fmla="*/ 0 h 6858000"/>
              <a:gd name="connsiteX12" fmla="*/ 12242914 w 12242914"/>
              <a:gd name="connsiteY12" fmla="*/ 6858000 h 6858000"/>
              <a:gd name="connsiteX13" fmla="*/ 0 w 12242914"/>
              <a:gd name="connsiteY13" fmla="*/ 6858000 h 6858000"/>
              <a:gd name="connsiteX14" fmla="*/ 0 w 12242914"/>
              <a:gd name="connsiteY14" fmla="*/ 0 h 6858000"/>
              <a:gd name="connsiteX0" fmla="*/ 0 w 12242914"/>
              <a:gd name="connsiteY0" fmla="*/ 0 h 6858000"/>
              <a:gd name="connsiteX1" fmla="*/ 7977675 w 12242914"/>
              <a:gd name="connsiteY1" fmla="*/ 0 h 6858000"/>
              <a:gd name="connsiteX2" fmla="*/ 7977675 w 12242914"/>
              <a:gd name="connsiteY2" fmla="*/ 2976381 h 6858000"/>
              <a:gd name="connsiteX3" fmla="*/ 7864713 w 12242914"/>
              <a:gd name="connsiteY3" fmla="*/ 3172039 h 6858000"/>
              <a:gd name="connsiteX4" fmla="*/ 7856303 w 12242914"/>
              <a:gd name="connsiteY4" fmla="*/ 3192400 h 6858000"/>
              <a:gd name="connsiteX5" fmla="*/ 7853500 w 12242914"/>
              <a:gd name="connsiteY5" fmla="*/ 3213887 h 6858000"/>
              <a:gd name="connsiteX6" fmla="*/ 7856303 w 12242914"/>
              <a:gd name="connsiteY6" fmla="*/ 3235374 h 6858000"/>
              <a:gd name="connsiteX7" fmla="*/ 7864713 w 12242914"/>
              <a:gd name="connsiteY7" fmla="*/ 3255734 h 6858000"/>
              <a:gd name="connsiteX8" fmla="*/ 7977675 w 12242914"/>
              <a:gd name="connsiteY8" fmla="*/ 3451390 h 6858000"/>
              <a:gd name="connsiteX9" fmla="*/ 7977675 w 12242914"/>
              <a:gd name="connsiteY9" fmla="*/ 6855019 h 6858000"/>
              <a:gd name="connsiteX10" fmla="*/ 12235176 w 12242914"/>
              <a:gd name="connsiteY10" fmla="*/ 6855019 h 6858000"/>
              <a:gd name="connsiteX11" fmla="*/ 12242914 w 12242914"/>
              <a:gd name="connsiteY11" fmla="*/ 6858000 h 6858000"/>
              <a:gd name="connsiteX12" fmla="*/ 0 w 12242914"/>
              <a:gd name="connsiteY12" fmla="*/ 6858000 h 6858000"/>
              <a:gd name="connsiteX13" fmla="*/ 0 w 12242914"/>
              <a:gd name="connsiteY13" fmla="*/ 0 h 6858000"/>
              <a:gd name="connsiteX0" fmla="*/ 0 w 12235176"/>
              <a:gd name="connsiteY0" fmla="*/ 0 h 6858000"/>
              <a:gd name="connsiteX1" fmla="*/ 7977675 w 12235176"/>
              <a:gd name="connsiteY1" fmla="*/ 0 h 6858000"/>
              <a:gd name="connsiteX2" fmla="*/ 7977675 w 12235176"/>
              <a:gd name="connsiteY2" fmla="*/ 2976381 h 6858000"/>
              <a:gd name="connsiteX3" fmla="*/ 7864713 w 12235176"/>
              <a:gd name="connsiteY3" fmla="*/ 3172039 h 6858000"/>
              <a:gd name="connsiteX4" fmla="*/ 7856303 w 12235176"/>
              <a:gd name="connsiteY4" fmla="*/ 3192400 h 6858000"/>
              <a:gd name="connsiteX5" fmla="*/ 7853500 w 12235176"/>
              <a:gd name="connsiteY5" fmla="*/ 3213887 h 6858000"/>
              <a:gd name="connsiteX6" fmla="*/ 7856303 w 12235176"/>
              <a:gd name="connsiteY6" fmla="*/ 3235374 h 6858000"/>
              <a:gd name="connsiteX7" fmla="*/ 7864713 w 12235176"/>
              <a:gd name="connsiteY7" fmla="*/ 3255734 h 6858000"/>
              <a:gd name="connsiteX8" fmla="*/ 7977675 w 12235176"/>
              <a:gd name="connsiteY8" fmla="*/ 3451390 h 6858000"/>
              <a:gd name="connsiteX9" fmla="*/ 7977675 w 12235176"/>
              <a:gd name="connsiteY9" fmla="*/ 6855019 h 6858000"/>
              <a:gd name="connsiteX10" fmla="*/ 12235176 w 12235176"/>
              <a:gd name="connsiteY10" fmla="*/ 6855019 h 6858000"/>
              <a:gd name="connsiteX11" fmla="*/ 0 w 12235176"/>
              <a:gd name="connsiteY11" fmla="*/ 6858000 h 6858000"/>
              <a:gd name="connsiteX12" fmla="*/ 0 w 12235176"/>
              <a:gd name="connsiteY12" fmla="*/ 0 h 6858000"/>
              <a:gd name="connsiteX0" fmla="*/ 0 w 7977675"/>
              <a:gd name="connsiteY0" fmla="*/ 0 h 6858000"/>
              <a:gd name="connsiteX1" fmla="*/ 7977675 w 7977675"/>
              <a:gd name="connsiteY1" fmla="*/ 0 h 6858000"/>
              <a:gd name="connsiteX2" fmla="*/ 7977675 w 7977675"/>
              <a:gd name="connsiteY2" fmla="*/ 2976381 h 6858000"/>
              <a:gd name="connsiteX3" fmla="*/ 7864713 w 7977675"/>
              <a:gd name="connsiteY3" fmla="*/ 3172039 h 6858000"/>
              <a:gd name="connsiteX4" fmla="*/ 7856303 w 7977675"/>
              <a:gd name="connsiteY4" fmla="*/ 3192400 h 6858000"/>
              <a:gd name="connsiteX5" fmla="*/ 7853500 w 7977675"/>
              <a:gd name="connsiteY5" fmla="*/ 3213887 h 6858000"/>
              <a:gd name="connsiteX6" fmla="*/ 7856303 w 7977675"/>
              <a:gd name="connsiteY6" fmla="*/ 3235374 h 6858000"/>
              <a:gd name="connsiteX7" fmla="*/ 7864713 w 7977675"/>
              <a:gd name="connsiteY7" fmla="*/ 3255734 h 6858000"/>
              <a:gd name="connsiteX8" fmla="*/ 7977675 w 7977675"/>
              <a:gd name="connsiteY8" fmla="*/ 3451390 h 6858000"/>
              <a:gd name="connsiteX9" fmla="*/ 7977675 w 7977675"/>
              <a:gd name="connsiteY9" fmla="*/ 6855019 h 6858000"/>
              <a:gd name="connsiteX10" fmla="*/ 0 w 7977675"/>
              <a:gd name="connsiteY10" fmla="*/ 6858000 h 6858000"/>
              <a:gd name="connsiteX11" fmla="*/ 0 w 7977675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77675" h="6858000">
                <a:moveTo>
                  <a:pt x="0" y="0"/>
                </a:moveTo>
                <a:lnTo>
                  <a:pt x="7977675" y="0"/>
                </a:lnTo>
                <a:lnTo>
                  <a:pt x="7977675" y="2976381"/>
                </a:lnTo>
                <a:lnTo>
                  <a:pt x="7864713" y="3172039"/>
                </a:lnTo>
                <a:lnTo>
                  <a:pt x="7856303" y="3192400"/>
                </a:lnTo>
                <a:lnTo>
                  <a:pt x="7853500" y="3213887"/>
                </a:lnTo>
                <a:lnTo>
                  <a:pt x="7856303" y="3235374"/>
                </a:lnTo>
                <a:lnTo>
                  <a:pt x="7864713" y="3255734"/>
                </a:lnTo>
                <a:lnTo>
                  <a:pt x="7977675" y="3451390"/>
                </a:lnTo>
                <a:lnTo>
                  <a:pt x="7977675" y="6855019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 flipH="1">
            <a:off x="7790567" y="-7000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399370" y="2843784"/>
            <a:ext cx="3481094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9370" y="3456432"/>
            <a:ext cx="3481094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10575852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270333" y="-9062"/>
            <a:ext cx="7931990" cy="6879763"/>
          </a:xfrm>
          <a:custGeom>
            <a:avLst/>
            <a:gdLst>
              <a:gd name="connsiteX0" fmla="*/ 110002 w 12318083"/>
              <a:gd name="connsiteY0" fmla="*/ 0 h 6868000"/>
              <a:gd name="connsiteX1" fmla="*/ 12318083 w 12318083"/>
              <a:gd name="connsiteY1" fmla="*/ 10000 h 6868000"/>
              <a:gd name="connsiteX2" fmla="*/ 12318083 w 12318083"/>
              <a:gd name="connsiteY2" fmla="*/ 6868000 h 6868000"/>
              <a:gd name="connsiteX3" fmla="*/ 4380409 w 12318083"/>
              <a:gd name="connsiteY3" fmla="*/ 6868000 h 6868000"/>
              <a:gd name="connsiteX4" fmla="*/ 4380409 w 12318083"/>
              <a:gd name="connsiteY4" fmla="*/ 3464371 h 6868000"/>
              <a:gd name="connsiteX5" fmla="*/ 4493371 w 12318083"/>
              <a:gd name="connsiteY5" fmla="*/ 3268715 h 6868000"/>
              <a:gd name="connsiteX6" fmla="*/ 4501781 w 12318083"/>
              <a:gd name="connsiteY6" fmla="*/ 3248355 h 6868000"/>
              <a:gd name="connsiteX7" fmla="*/ 4504584 w 12318083"/>
              <a:gd name="connsiteY7" fmla="*/ 3226868 h 6868000"/>
              <a:gd name="connsiteX8" fmla="*/ 4501781 w 12318083"/>
              <a:gd name="connsiteY8" fmla="*/ 3205381 h 6868000"/>
              <a:gd name="connsiteX9" fmla="*/ 4493371 w 12318083"/>
              <a:gd name="connsiteY9" fmla="*/ 3185020 h 6868000"/>
              <a:gd name="connsiteX10" fmla="*/ 4380409 w 12318083"/>
              <a:gd name="connsiteY10" fmla="*/ 2989362 h 6868000"/>
              <a:gd name="connsiteX11" fmla="*/ 4380409 w 12318083"/>
              <a:gd name="connsiteY11" fmla="*/ 12981 h 6868000"/>
              <a:gd name="connsiteX12" fmla="*/ 122908 w 12318083"/>
              <a:gd name="connsiteY12" fmla="*/ 12981 h 6868000"/>
              <a:gd name="connsiteX13" fmla="*/ 122908 w 12318083"/>
              <a:gd name="connsiteY13" fmla="*/ 6868000 h 6868000"/>
              <a:gd name="connsiteX14" fmla="*/ 0 w 12318083"/>
              <a:gd name="connsiteY14" fmla="*/ 6868000 h 6868000"/>
              <a:gd name="connsiteX15" fmla="*/ 110002 w 12318083"/>
              <a:gd name="connsiteY15" fmla="*/ 0 h 6868000"/>
              <a:gd name="connsiteX0" fmla="*/ 0 w 12208081"/>
              <a:gd name="connsiteY0" fmla="*/ 0 h 6868000"/>
              <a:gd name="connsiteX1" fmla="*/ 12208081 w 12208081"/>
              <a:gd name="connsiteY1" fmla="*/ 10000 h 6868000"/>
              <a:gd name="connsiteX2" fmla="*/ 12208081 w 12208081"/>
              <a:gd name="connsiteY2" fmla="*/ 6868000 h 6868000"/>
              <a:gd name="connsiteX3" fmla="*/ 4270407 w 12208081"/>
              <a:gd name="connsiteY3" fmla="*/ 6868000 h 6868000"/>
              <a:gd name="connsiteX4" fmla="*/ 4270407 w 12208081"/>
              <a:gd name="connsiteY4" fmla="*/ 3464371 h 6868000"/>
              <a:gd name="connsiteX5" fmla="*/ 4383369 w 12208081"/>
              <a:gd name="connsiteY5" fmla="*/ 3268715 h 6868000"/>
              <a:gd name="connsiteX6" fmla="*/ 4391779 w 12208081"/>
              <a:gd name="connsiteY6" fmla="*/ 3248355 h 6868000"/>
              <a:gd name="connsiteX7" fmla="*/ 4394582 w 12208081"/>
              <a:gd name="connsiteY7" fmla="*/ 3226868 h 6868000"/>
              <a:gd name="connsiteX8" fmla="*/ 4391779 w 12208081"/>
              <a:gd name="connsiteY8" fmla="*/ 3205381 h 6868000"/>
              <a:gd name="connsiteX9" fmla="*/ 4383369 w 12208081"/>
              <a:gd name="connsiteY9" fmla="*/ 3185020 h 6868000"/>
              <a:gd name="connsiteX10" fmla="*/ 4270407 w 12208081"/>
              <a:gd name="connsiteY10" fmla="*/ 2989362 h 6868000"/>
              <a:gd name="connsiteX11" fmla="*/ 4270407 w 12208081"/>
              <a:gd name="connsiteY11" fmla="*/ 12981 h 6868000"/>
              <a:gd name="connsiteX12" fmla="*/ 12906 w 12208081"/>
              <a:gd name="connsiteY12" fmla="*/ 12981 h 6868000"/>
              <a:gd name="connsiteX13" fmla="*/ 12906 w 12208081"/>
              <a:gd name="connsiteY13" fmla="*/ 6868000 h 6868000"/>
              <a:gd name="connsiteX14" fmla="*/ 10000 w 12208081"/>
              <a:gd name="connsiteY14" fmla="*/ 6857999 h 6868000"/>
              <a:gd name="connsiteX15" fmla="*/ 0 w 12208081"/>
              <a:gd name="connsiteY15" fmla="*/ 0 h 6868000"/>
              <a:gd name="connsiteX0" fmla="*/ 0 w 12238081"/>
              <a:gd name="connsiteY0" fmla="*/ 0 h 6868000"/>
              <a:gd name="connsiteX1" fmla="*/ 12238081 w 12238081"/>
              <a:gd name="connsiteY1" fmla="*/ 10000 h 6868000"/>
              <a:gd name="connsiteX2" fmla="*/ 12208081 w 12238081"/>
              <a:gd name="connsiteY2" fmla="*/ 6868000 h 6868000"/>
              <a:gd name="connsiteX3" fmla="*/ 4270407 w 12238081"/>
              <a:gd name="connsiteY3" fmla="*/ 6868000 h 6868000"/>
              <a:gd name="connsiteX4" fmla="*/ 4270407 w 12238081"/>
              <a:gd name="connsiteY4" fmla="*/ 3464371 h 6868000"/>
              <a:gd name="connsiteX5" fmla="*/ 4383369 w 12238081"/>
              <a:gd name="connsiteY5" fmla="*/ 3268715 h 6868000"/>
              <a:gd name="connsiteX6" fmla="*/ 4391779 w 12238081"/>
              <a:gd name="connsiteY6" fmla="*/ 3248355 h 6868000"/>
              <a:gd name="connsiteX7" fmla="*/ 4394582 w 12238081"/>
              <a:gd name="connsiteY7" fmla="*/ 3226868 h 6868000"/>
              <a:gd name="connsiteX8" fmla="*/ 4391779 w 12238081"/>
              <a:gd name="connsiteY8" fmla="*/ 3205381 h 6868000"/>
              <a:gd name="connsiteX9" fmla="*/ 4383369 w 12238081"/>
              <a:gd name="connsiteY9" fmla="*/ 3185020 h 6868000"/>
              <a:gd name="connsiteX10" fmla="*/ 4270407 w 12238081"/>
              <a:gd name="connsiteY10" fmla="*/ 2989362 h 6868000"/>
              <a:gd name="connsiteX11" fmla="*/ 4270407 w 12238081"/>
              <a:gd name="connsiteY11" fmla="*/ 12981 h 6868000"/>
              <a:gd name="connsiteX12" fmla="*/ 12906 w 12238081"/>
              <a:gd name="connsiteY12" fmla="*/ 12981 h 6868000"/>
              <a:gd name="connsiteX13" fmla="*/ 12906 w 12238081"/>
              <a:gd name="connsiteY13" fmla="*/ 6868000 h 6868000"/>
              <a:gd name="connsiteX14" fmla="*/ 10000 w 12238081"/>
              <a:gd name="connsiteY14" fmla="*/ 6857999 h 6868000"/>
              <a:gd name="connsiteX15" fmla="*/ 0 w 1223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12906 w 12248081"/>
              <a:gd name="connsiteY12" fmla="*/ 12981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12981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57999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10000 w 12248081"/>
              <a:gd name="connsiteY14" fmla="*/ 6867538 h 6868000"/>
              <a:gd name="connsiteX15" fmla="*/ 0 w 12248081"/>
              <a:gd name="connsiteY15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12906 w 12248081"/>
              <a:gd name="connsiteY13" fmla="*/ 6868000 h 6868000"/>
              <a:gd name="connsiteX14" fmla="*/ 0 w 12248081"/>
              <a:gd name="connsiteY14" fmla="*/ 0 h 6868000"/>
              <a:gd name="connsiteX0" fmla="*/ 0 w 12248081"/>
              <a:gd name="connsiteY0" fmla="*/ 0 h 6868000"/>
              <a:gd name="connsiteX1" fmla="*/ 12238081 w 12248081"/>
              <a:gd name="connsiteY1" fmla="*/ 10000 h 6868000"/>
              <a:gd name="connsiteX2" fmla="*/ 12248081 w 12248081"/>
              <a:gd name="connsiteY2" fmla="*/ 6868000 h 6868000"/>
              <a:gd name="connsiteX3" fmla="*/ 4270407 w 12248081"/>
              <a:gd name="connsiteY3" fmla="*/ 6868000 h 6868000"/>
              <a:gd name="connsiteX4" fmla="*/ 4270407 w 12248081"/>
              <a:gd name="connsiteY4" fmla="*/ 3464371 h 6868000"/>
              <a:gd name="connsiteX5" fmla="*/ 4383369 w 12248081"/>
              <a:gd name="connsiteY5" fmla="*/ 3268715 h 6868000"/>
              <a:gd name="connsiteX6" fmla="*/ 4391779 w 12248081"/>
              <a:gd name="connsiteY6" fmla="*/ 3248355 h 6868000"/>
              <a:gd name="connsiteX7" fmla="*/ 4394582 w 12248081"/>
              <a:gd name="connsiteY7" fmla="*/ 3226868 h 6868000"/>
              <a:gd name="connsiteX8" fmla="*/ 4391779 w 12248081"/>
              <a:gd name="connsiteY8" fmla="*/ 3205381 h 6868000"/>
              <a:gd name="connsiteX9" fmla="*/ 4383369 w 12248081"/>
              <a:gd name="connsiteY9" fmla="*/ 3185020 h 6868000"/>
              <a:gd name="connsiteX10" fmla="*/ 4270407 w 12248081"/>
              <a:gd name="connsiteY10" fmla="*/ 2989362 h 6868000"/>
              <a:gd name="connsiteX11" fmla="*/ 4270407 w 12248081"/>
              <a:gd name="connsiteY11" fmla="*/ 3442 h 6868000"/>
              <a:gd name="connsiteX12" fmla="*/ 3342 w 12248081"/>
              <a:gd name="connsiteY12" fmla="*/ 3442 h 6868000"/>
              <a:gd name="connsiteX13" fmla="*/ 0 w 12248081"/>
              <a:gd name="connsiteY13" fmla="*/ 0 h 6868000"/>
              <a:gd name="connsiteX0" fmla="*/ 0 w 12244739"/>
              <a:gd name="connsiteY0" fmla="*/ 0 h 6864558"/>
              <a:gd name="connsiteX1" fmla="*/ 12234739 w 12244739"/>
              <a:gd name="connsiteY1" fmla="*/ 6558 h 6864558"/>
              <a:gd name="connsiteX2" fmla="*/ 12244739 w 12244739"/>
              <a:gd name="connsiteY2" fmla="*/ 6864558 h 6864558"/>
              <a:gd name="connsiteX3" fmla="*/ 4267065 w 12244739"/>
              <a:gd name="connsiteY3" fmla="*/ 6864558 h 6864558"/>
              <a:gd name="connsiteX4" fmla="*/ 4267065 w 12244739"/>
              <a:gd name="connsiteY4" fmla="*/ 3460929 h 6864558"/>
              <a:gd name="connsiteX5" fmla="*/ 4380027 w 12244739"/>
              <a:gd name="connsiteY5" fmla="*/ 3265273 h 6864558"/>
              <a:gd name="connsiteX6" fmla="*/ 4388437 w 12244739"/>
              <a:gd name="connsiteY6" fmla="*/ 3244913 h 6864558"/>
              <a:gd name="connsiteX7" fmla="*/ 4391240 w 12244739"/>
              <a:gd name="connsiteY7" fmla="*/ 3223426 h 6864558"/>
              <a:gd name="connsiteX8" fmla="*/ 4388437 w 12244739"/>
              <a:gd name="connsiteY8" fmla="*/ 3201939 h 6864558"/>
              <a:gd name="connsiteX9" fmla="*/ 4380027 w 12244739"/>
              <a:gd name="connsiteY9" fmla="*/ 3181578 h 6864558"/>
              <a:gd name="connsiteX10" fmla="*/ 4267065 w 12244739"/>
              <a:gd name="connsiteY10" fmla="*/ 2985920 h 6864558"/>
              <a:gd name="connsiteX11" fmla="*/ 4267065 w 12244739"/>
              <a:gd name="connsiteY11" fmla="*/ 0 h 6864558"/>
              <a:gd name="connsiteX12" fmla="*/ 0 w 12244739"/>
              <a:gd name="connsiteY12" fmla="*/ 0 h 6864558"/>
              <a:gd name="connsiteX0" fmla="*/ 0 w 7977674"/>
              <a:gd name="connsiteY0" fmla="*/ 0 h 6864558"/>
              <a:gd name="connsiteX1" fmla="*/ 7967674 w 7977674"/>
              <a:gd name="connsiteY1" fmla="*/ 6558 h 6864558"/>
              <a:gd name="connsiteX2" fmla="*/ 7977674 w 7977674"/>
              <a:gd name="connsiteY2" fmla="*/ 6864558 h 6864558"/>
              <a:gd name="connsiteX3" fmla="*/ 0 w 7977674"/>
              <a:gd name="connsiteY3" fmla="*/ 6864558 h 6864558"/>
              <a:gd name="connsiteX4" fmla="*/ 0 w 7977674"/>
              <a:gd name="connsiteY4" fmla="*/ 3460929 h 6864558"/>
              <a:gd name="connsiteX5" fmla="*/ 112962 w 7977674"/>
              <a:gd name="connsiteY5" fmla="*/ 3265273 h 6864558"/>
              <a:gd name="connsiteX6" fmla="*/ 121372 w 7977674"/>
              <a:gd name="connsiteY6" fmla="*/ 3244913 h 6864558"/>
              <a:gd name="connsiteX7" fmla="*/ 124175 w 7977674"/>
              <a:gd name="connsiteY7" fmla="*/ 3223426 h 6864558"/>
              <a:gd name="connsiteX8" fmla="*/ 121372 w 7977674"/>
              <a:gd name="connsiteY8" fmla="*/ 3201939 h 6864558"/>
              <a:gd name="connsiteX9" fmla="*/ 112962 w 7977674"/>
              <a:gd name="connsiteY9" fmla="*/ 3181578 h 6864558"/>
              <a:gd name="connsiteX10" fmla="*/ 0 w 7977674"/>
              <a:gd name="connsiteY10" fmla="*/ 2985920 h 6864558"/>
              <a:gd name="connsiteX11" fmla="*/ 0 w 7977674"/>
              <a:gd name="connsiteY11" fmla="*/ 0 h 6864558"/>
              <a:gd name="connsiteX0" fmla="*/ 0 w 7977674"/>
              <a:gd name="connsiteY0" fmla="*/ 0 h 6874097"/>
              <a:gd name="connsiteX1" fmla="*/ 7967674 w 7977674"/>
              <a:gd name="connsiteY1" fmla="*/ 16097 h 6874097"/>
              <a:gd name="connsiteX2" fmla="*/ 7977674 w 7977674"/>
              <a:gd name="connsiteY2" fmla="*/ 6874097 h 6874097"/>
              <a:gd name="connsiteX3" fmla="*/ 0 w 7977674"/>
              <a:gd name="connsiteY3" fmla="*/ 6874097 h 6874097"/>
              <a:gd name="connsiteX4" fmla="*/ 0 w 7977674"/>
              <a:gd name="connsiteY4" fmla="*/ 3470468 h 6874097"/>
              <a:gd name="connsiteX5" fmla="*/ 112962 w 7977674"/>
              <a:gd name="connsiteY5" fmla="*/ 3274812 h 6874097"/>
              <a:gd name="connsiteX6" fmla="*/ 121372 w 7977674"/>
              <a:gd name="connsiteY6" fmla="*/ 3254452 h 6874097"/>
              <a:gd name="connsiteX7" fmla="*/ 124175 w 7977674"/>
              <a:gd name="connsiteY7" fmla="*/ 3232965 h 6874097"/>
              <a:gd name="connsiteX8" fmla="*/ 121372 w 7977674"/>
              <a:gd name="connsiteY8" fmla="*/ 3211478 h 6874097"/>
              <a:gd name="connsiteX9" fmla="*/ 112962 w 7977674"/>
              <a:gd name="connsiteY9" fmla="*/ 3191117 h 6874097"/>
              <a:gd name="connsiteX10" fmla="*/ 0 w 7977674"/>
              <a:gd name="connsiteY10" fmla="*/ 2995459 h 6874097"/>
              <a:gd name="connsiteX11" fmla="*/ 0 w 7977674"/>
              <a:gd name="connsiteY11" fmla="*/ 0 h 6874097"/>
              <a:gd name="connsiteX0" fmla="*/ 0 w 7977674"/>
              <a:gd name="connsiteY0" fmla="*/ 0 h 6883636"/>
              <a:gd name="connsiteX1" fmla="*/ 7967674 w 7977674"/>
              <a:gd name="connsiteY1" fmla="*/ 16097 h 6883636"/>
              <a:gd name="connsiteX2" fmla="*/ 7977674 w 7977674"/>
              <a:gd name="connsiteY2" fmla="*/ 6874097 h 6883636"/>
              <a:gd name="connsiteX3" fmla="*/ 0 w 7977674"/>
              <a:gd name="connsiteY3" fmla="*/ 6883636 h 6883636"/>
              <a:gd name="connsiteX4" fmla="*/ 0 w 7977674"/>
              <a:gd name="connsiteY4" fmla="*/ 3470468 h 6883636"/>
              <a:gd name="connsiteX5" fmla="*/ 112962 w 7977674"/>
              <a:gd name="connsiteY5" fmla="*/ 3274812 h 6883636"/>
              <a:gd name="connsiteX6" fmla="*/ 121372 w 7977674"/>
              <a:gd name="connsiteY6" fmla="*/ 3254452 h 6883636"/>
              <a:gd name="connsiteX7" fmla="*/ 124175 w 7977674"/>
              <a:gd name="connsiteY7" fmla="*/ 3232965 h 6883636"/>
              <a:gd name="connsiteX8" fmla="*/ 121372 w 7977674"/>
              <a:gd name="connsiteY8" fmla="*/ 3211478 h 6883636"/>
              <a:gd name="connsiteX9" fmla="*/ 112962 w 7977674"/>
              <a:gd name="connsiteY9" fmla="*/ 3191117 h 6883636"/>
              <a:gd name="connsiteX10" fmla="*/ 0 w 7977674"/>
              <a:gd name="connsiteY10" fmla="*/ 2995459 h 6883636"/>
              <a:gd name="connsiteX11" fmla="*/ 0 w 7977674"/>
              <a:gd name="connsiteY11" fmla="*/ 0 h 6883636"/>
              <a:gd name="connsiteX0" fmla="*/ 0 w 7968240"/>
              <a:gd name="connsiteY0" fmla="*/ 0 h 6886816"/>
              <a:gd name="connsiteX1" fmla="*/ 7967674 w 7968240"/>
              <a:gd name="connsiteY1" fmla="*/ 16097 h 6886816"/>
              <a:gd name="connsiteX2" fmla="*/ 7961735 w 7968240"/>
              <a:gd name="connsiteY2" fmla="*/ 6886816 h 6886816"/>
              <a:gd name="connsiteX3" fmla="*/ 0 w 7968240"/>
              <a:gd name="connsiteY3" fmla="*/ 6883636 h 6886816"/>
              <a:gd name="connsiteX4" fmla="*/ 0 w 7968240"/>
              <a:gd name="connsiteY4" fmla="*/ 3470468 h 6886816"/>
              <a:gd name="connsiteX5" fmla="*/ 112962 w 7968240"/>
              <a:gd name="connsiteY5" fmla="*/ 3274812 h 6886816"/>
              <a:gd name="connsiteX6" fmla="*/ 121372 w 7968240"/>
              <a:gd name="connsiteY6" fmla="*/ 3254452 h 6886816"/>
              <a:gd name="connsiteX7" fmla="*/ 124175 w 7968240"/>
              <a:gd name="connsiteY7" fmla="*/ 3232965 h 6886816"/>
              <a:gd name="connsiteX8" fmla="*/ 121372 w 7968240"/>
              <a:gd name="connsiteY8" fmla="*/ 3211478 h 6886816"/>
              <a:gd name="connsiteX9" fmla="*/ 112962 w 7968240"/>
              <a:gd name="connsiteY9" fmla="*/ 3191117 h 6886816"/>
              <a:gd name="connsiteX10" fmla="*/ 0 w 7968240"/>
              <a:gd name="connsiteY10" fmla="*/ 2995459 h 6886816"/>
              <a:gd name="connsiteX11" fmla="*/ 0 w 7968240"/>
              <a:gd name="connsiteY11" fmla="*/ 0 h 6886816"/>
              <a:gd name="connsiteX0" fmla="*/ 0 w 7965212"/>
              <a:gd name="connsiteY0" fmla="*/ 0 h 6886816"/>
              <a:gd name="connsiteX1" fmla="*/ 7964487 w 7965212"/>
              <a:gd name="connsiteY1" fmla="*/ 3379 h 6886816"/>
              <a:gd name="connsiteX2" fmla="*/ 7961735 w 7965212"/>
              <a:gd name="connsiteY2" fmla="*/ 6886816 h 6886816"/>
              <a:gd name="connsiteX3" fmla="*/ 0 w 7965212"/>
              <a:gd name="connsiteY3" fmla="*/ 6883636 h 6886816"/>
              <a:gd name="connsiteX4" fmla="*/ 0 w 7965212"/>
              <a:gd name="connsiteY4" fmla="*/ 3470468 h 6886816"/>
              <a:gd name="connsiteX5" fmla="*/ 112962 w 7965212"/>
              <a:gd name="connsiteY5" fmla="*/ 3274812 h 6886816"/>
              <a:gd name="connsiteX6" fmla="*/ 121372 w 7965212"/>
              <a:gd name="connsiteY6" fmla="*/ 3254452 h 6886816"/>
              <a:gd name="connsiteX7" fmla="*/ 124175 w 7965212"/>
              <a:gd name="connsiteY7" fmla="*/ 3232965 h 6886816"/>
              <a:gd name="connsiteX8" fmla="*/ 121372 w 7965212"/>
              <a:gd name="connsiteY8" fmla="*/ 3211478 h 6886816"/>
              <a:gd name="connsiteX9" fmla="*/ 112962 w 7965212"/>
              <a:gd name="connsiteY9" fmla="*/ 3191117 h 6886816"/>
              <a:gd name="connsiteX10" fmla="*/ 0 w 7965212"/>
              <a:gd name="connsiteY10" fmla="*/ 2995459 h 6886816"/>
              <a:gd name="connsiteX11" fmla="*/ 0 w 7965212"/>
              <a:gd name="connsiteY11" fmla="*/ 0 h 6886816"/>
              <a:gd name="connsiteX0" fmla="*/ 0 w 7961735"/>
              <a:gd name="connsiteY0" fmla="*/ 2980 h 6889796"/>
              <a:gd name="connsiteX1" fmla="*/ 7958112 w 7961735"/>
              <a:gd name="connsiteY1" fmla="*/ 0 h 6889796"/>
              <a:gd name="connsiteX2" fmla="*/ 7961735 w 7961735"/>
              <a:gd name="connsiteY2" fmla="*/ 6889796 h 6889796"/>
              <a:gd name="connsiteX3" fmla="*/ 0 w 7961735"/>
              <a:gd name="connsiteY3" fmla="*/ 6886616 h 6889796"/>
              <a:gd name="connsiteX4" fmla="*/ 0 w 7961735"/>
              <a:gd name="connsiteY4" fmla="*/ 3473448 h 6889796"/>
              <a:gd name="connsiteX5" fmla="*/ 112962 w 7961735"/>
              <a:gd name="connsiteY5" fmla="*/ 3277792 h 6889796"/>
              <a:gd name="connsiteX6" fmla="*/ 121372 w 7961735"/>
              <a:gd name="connsiteY6" fmla="*/ 3257432 h 6889796"/>
              <a:gd name="connsiteX7" fmla="*/ 124175 w 7961735"/>
              <a:gd name="connsiteY7" fmla="*/ 3235945 h 6889796"/>
              <a:gd name="connsiteX8" fmla="*/ 121372 w 7961735"/>
              <a:gd name="connsiteY8" fmla="*/ 3214458 h 6889796"/>
              <a:gd name="connsiteX9" fmla="*/ 112962 w 7961735"/>
              <a:gd name="connsiteY9" fmla="*/ 3194097 h 6889796"/>
              <a:gd name="connsiteX10" fmla="*/ 0 w 7961735"/>
              <a:gd name="connsiteY10" fmla="*/ 2998439 h 6889796"/>
              <a:gd name="connsiteX11" fmla="*/ 0 w 7961735"/>
              <a:gd name="connsiteY11" fmla="*/ 2980 h 688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961735" h="6889796">
                <a:moveTo>
                  <a:pt x="0" y="2980"/>
                </a:moveTo>
                <a:lnTo>
                  <a:pt x="7958112" y="0"/>
                </a:lnTo>
                <a:cubicBezTo>
                  <a:pt x="7961445" y="2286000"/>
                  <a:pt x="7958402" y="4603796"/>
                  <a:pt x="7961735" y="6889796"/>
                </a:cubicBezTo>
                <a:lnTo>
                  <a:pt x="0" y="6886616"/>
                </a:lnTo>
                <a:lnTo>
                  <a:pt x="0" y="3473448"/>
                </a:lnTo>
                <a:lnTo>
                  <a:pt x="112962" y="3277792"/>
                </a:lnTo>
                <a:lnTo>
                  <a:pt x="121372" y="3257432"/>
                </a:lnTo>
                <a:lnTo>
                  <a:pt x="124175" y="3235945"/>
                </a:lnTo>
                <a:lnTo>
                  <a:pt x="121372" y="3214458"/>
                </a:lnTo>
                <a:lnTo>
                  <a:pt x="112962" y="3194097"/>
                </a:lnTo>
                <a:lnTo>
                  <a:pt x="0" y="2998439"/>
                </a:lnTo>
                <a:lnTo>
                  <a:pt x="0" y="298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/>
        </p:nvSpPr>
        <p:spPr bwMode="auto">
          <a:xfrm>
            <a:off x="3" y="2"/>
            <a:ext cx="4401435" cy="6872779"/>
          </a:xfrm>
          <a:custGeom>
            <a:avLst/>
            <a:gdLst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9525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9525 h 6855019"/>
              <a:gd name="connsiteX0" fmla="*/ 0 w 4391206"/>
              <a:gd name="connsiteY0" fmla="*/ 0 h 6855019"/>
              <a:gd name="connsiteX1" fmla="*/ 4267031 w 4391206"/>
              <a:gd name="connsiteY1" fmla="*/ 0 h 6855019"/>
              <a:gd name="connsiteX2" fmla="*/ 4267031 w 4391206"/>
              <a:gd name="connsiteY2" fmla="*/ 2976381 h 6855019"/>
              <a:gd name="connsiteX3" fmla="*/ 4379993 w 4391206"/>
              <a:gd name="connsiteY3" fmla="*/ 3172039 h 6855019"/>
              <a:gd name="connsiteX4" fmla="*/ 4388403 w 4391206"/>
              <a:gd name="connsiteY4" fmla="*/ 3192400 h 6855019"/>
              <a:gd name="connsiteX5" fmla="*/ 4391206 w 4391206"/>
              <a:gd name="connsiteY5" fmla="*/ 3213887 h 6855019"/>
              <a:gd name="connsiteX6" fmla="*/ 4388403 w 4391206"/>
              <a:gd name="connsiteY6" fmla="*/ 3235374 h 6855019"/>
              <a:gd name="connsiteX7" fmla="*/ 4379993 w 4391206"/>
              <a:gd name="connsiteY7" fmla="*/ 3255734 h 6855019"/>
              <a:gd name="connsiteX8" fmla="*/ 4267031 w 4391206"/>
              <a:gd name="connsiteY8" fmla="*/ 3451390 h 6855019"/>
              <a:gd name="connsiteX9" fmla="*/ 4267031 w 4391206"/>
              <a:gd name="connsiteY9" fmla="*/ 6855019 h 6855019"/>
              <a:gd name="connsiteX10" fmla="*/ 9530 w 4391206"/>
              <a:gd name="connsiteY10" fmla="*/ 6855019 h 6855019"/>
              <a:gd name="connsiteX11" fmla="*/ 0 w 4391206"/>
              <a:gd name="connsiteY11" fmla="*/ 0 h 6855019"/>
              <a:gd name="connsiteX0" fmla="*/ 953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9530 w 4400736"/>
              <a:gd name="connsiteY11" fmla="*/ 0 h 6855019"/>
              <a:gd name="connsiteX0" fmla="*/ 0 w 4400736"/>
              <a:gd name="connsiteY0" fmla="*/ 0 h 6855019"/>
              <a:gd name="connsiteX1" fmla="*/ 4276561 w 4400736"/>
              <a:gd name="connsiteY1" fmla="*/ 0 h 6855019"/>
              <a:gd name="connsiteX2" fmla="*/ 4276561 w 4400736"/>
              <a:gd name="connsiteY2" fmla="*/ 2976381 h 6855019"/>
              <a:gd name="connsiteX3" fmla="*/ 4389523 w 4400736"/>
              <a:gd name="connsiteY3" fmla="*/ 3172039 h 6855019"/>
              <a:gd name="connsiteX4" fmla="*/ 4397933 w 4400736"/>
              <a:gd name="connsiteY4" fmla="*/ 3192400 h 6855019"/>
              <a:gd name="connsiteX5" fmla="*/ 4400736 w 4400736"/>
              <a:gd name="connsiteY5" fmla="*/ 3213887 h 6855019"/>
              <a:gd name="connsiteX6" fmla="*/ 4397933 w 4400736"/>
              <a:gd name="connsiteY6" fmla="*/ 3235374 h 6855019"/>
              <a:gd name="connsiteX7" fmla="*/ 4389523 w 4400736"/>
              <a:gd name="connsiteY7" fmla="*/ 3255734 h 6855019"/>
              <a:gd name="connsiteX8" fmla="*/ 4276561 w 4400736"/>
              <a:gd name="connsiteY8" fmla="*/ 3451390 h 6855019"/>
              <a:gd name="connsiteX9" fmla="*/ 4276561 w 4400736"/>
              <a:gd name="connsiteY9" fmla="*/ 6855019 h 6855019"/>
              <a:gd name="connsiteX10" fmla="*/ 0 w 4400736"/>
              <a:gd name="connsiteY10" fmla="*/ 6855019 h 6855019"/>
              <a:gd name="connsiteX11" fmla="*/ 0 w 4400736"/>
              <a:gd name="connsiteY11" fmla="*/ 0 h 6855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400736" h="6855019">
                <a:moveTo>
                  <a:pt x="0" y="0"/>
                </a:moveTo>
                <a:lnTo>
                  <a:pt x="4276561" y="0"/>
                </a:lnTo>
                <a:lnTo>
                  <a:pt x="4276561" y="2976381"/>
                </a:lnTo>
                <a:lnTo>
                  <a:pt x="4389523" y="3172039"/>
                </a:lnTo>
                <a:lnTo>
                  <a:pt x="4397933" y="3192400"/>
                </a:lnTo>
                <a:lnTo>
                  <a:pt x="4400736" y="3213887"/>
                </a:lnTo>
                <a:lnTo>
                  <a:pt x="4397933" y="3235374"/>
                </a:lnTo>
                <a:lnTo>
                  <a:pt x="4389523" y="3255734"/>
                </a:lnTo>
                <a:lnTo>
                  <a:pt x="4276561" y="3451390"/>
                </a:lnTo>
                <a:lnTo>
                  <a:pt x="4276561" y="6855019"/>
                </a:lnTo>
                <a:lnTo>
                  <a:pt x="0" y="6855019"/>
                </a:lnTo>
                <a:lnTo>
                  <a:pt x="0" y="0"/>
                </a:lnTo>
                <a:close/>
              </a:path>
            </a:pathLst>
          </a:custGeom>
          <a:solidFill>
            <a:srgbClr val="FFC72C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7940" y="2843784"/>
            <a:ext cx="3581070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7940" y="3456432"/>
            <a:ext cx="3581070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012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193060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169861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70947" h="5187360">
                <a:moveTo>
                  <a:pt x="0" y="0"/>
                </a:moveTo>
                <a:lnTo>
                  <a:pt x="4161417" y="0"/>
                </a:lnTo>
                <a:cubicBezTo>
                  <a:pt x="4164594" y="1684338"/>
                  <a:pt x="4167770" y="3368675"/>
                  <a:pt x="4170947" y="5053013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43491"/>
            <a:ext cx="12192000" cy="1824037"/>
          </a:xfrm>
          <a:custGeom>
            <a:avLst/>
            <a:gdLst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0498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  <a:gd name="connsiteX0" fmla="*/ 0 w 12195175"/>
              <a:gd name="connsiteY0" fmla="*/ 0 h 1824037"/>
              <a:gd name="connsiteX1" fmla="*/ 664866 w 12195175"/>
              <a:gd name="connsiteY1" fmla="*/ 0 h 1824037"/>
              <a:gd name="connsiteX2" fmla="*/ 878140 w 12195175"/>
              <a:gd name="connsiteY2" fmla="*/ 123134 h 1824037"/>
              <a:gd name="connsiteX3" fmla="*/ 898500 w 12195175"/>
              <a:gd name="connsiteY3" fmla="*/ 131543 h 1824037"/>
              <a:gd name="connsiteX4" fmla="*/ 919987 w 12195175"/>
              <a:gd name="connsiteY4" fmla="*/ 134347 h 1824037"/>
              <a:gd name="connsiteX5" fmla="*/ 941474 w 12195175"/>
              <a:gd name="connsiteY5" fmla="*/ 131543 h 1824037"/>
              <a:gd name="connsiteX6" fmla="*/ 961835 w 12195175"/>
              <a:gd name="connsiteY6" fmla="*/ 123134 h 1824037"/>
              <a:gd name="connsiteX7" fmla="*/ 1175111 w 12195175"/>
              <a:gd name="connsiteY7" fmla="*/ 0 h 1824037"/>
              <a:gd name="connsiteX8" fmla="*/ 12195175 w 12195175"/>
              <a:gd name="connsiteY8" fmla="*/ 0 h 1824037"/>
              <a:gd name="connsiteX9" fmla="*/ 12195175 w 12195175"/>
              <a:gd name="connsiteY9" fmla="*/ 1824037 h 1824037"/>
              <a:gd name="connsiteX10" fmla="*/ 0 w 12195175"/>
              <a:gd name="connsiteY10" fmla="*/ 1824037 h 1824037"/>
              <a:gd name="connsiteX11" fmla="*/ 0 w 12195175"/>
              <a:gd name="connsiteY11" fmla="*/ 0 h 1824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5175" h="182403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24037"/>
                </a:lnTo>
                <a:lnTo>
                  <a:pt x="0" y="182403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sp>
        <p:nvSpPr>
          <p:cNvPr id="12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52623" y="2"/>
            <a:ext cx="4049179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8192984" y="0"/>
            <a:ext cx="3999016" cy="5053013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123520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Phot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4118268" y="2515128"/>
            <a:ext cx="3966155" cy="253841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8"/>
          <p:cNvSpPr>
            <a:spLocks noGrp="1"/>
          </p:cNvSpPr>
          <p:nvPr>
            <p:ph type="pic" sz="quarter" idx="15"/>
          </p:nvPr>
        </p:nvSpPr>
        <p:spPr>
          <a:xfrm>
            <a:off x="8086367" y="2514601"/>
            <a:ext cx="4105635" cy="2538412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4118268" y="0"/>
            <a:ext cx="3966155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28"/>
          <p:cNvSpPr>
            <a:spLocks noGrp="1"/>
          </p:cNvSpPr>
          <p:nvPr>
            <p:ph type="pic" sz="quarter" idx="14"/>
          </p:nvPr>
        </p:nvSpPr>
        <p:spPr>
          <a:xfrm>
            <a:off x="8086366" y="0"/>
            <a:ext cx="4116327" cy="25146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Rectangle 2"/>
          <p:cNvSpPr/>
          <p:nvPr userDrawn="1"/>
        </p:nvSpPr>
        <p:spPr>
          <a:xfrm>
            <a:off x="1" y="5053016"/>
            <a:ext cx="12192000" cy="1804987"/>
          </a:xfrm>
          <a:custGeom>
            <a:avLst/>
            <a:gdLst/>
            <a:ahLst/>
            <a:cxnLst/>
            <a:rect l="l" t="t" r="r" b="b"/>
            <a:pathLst>
              <a:path w="12195175" h="1804987">
                <a:moveTo>
                  <a:pt x="0" y="0"/>
                </a:moveTo>
                <a:lnTo>
                  <a:pt x="664866" y="0"/>
                </a:lnTo>
                <a:lnTo>
                  <a:pt x="878140" y="123134"/>
                </a:lnTo>
                <a:lnTo>
                  <a:pt x="898500" y="131543"/>
                </a:lnTo>
                <a:lnTo>
                  <a:pt x="919987" y="134347"/>
                </a:lnTo>
                <a:lnTo>
                  <a:pt x="941474" y="131543"/>
                </a:lnTo>
                <a:lnTo>
                  <a:pt x="961835" y="123134"/>
                </a:lnTo>
                <a:lnTo>
                  <a:pt x="1175111" y="0"/>
                </a:lnTo>
                <a:lnTo>
                  <a:pt x="12195175" y="0"/>
                </a:lnTo>
                <a:lnTo>
                  <a:pt x="12195175" y="1804987"/>
                </a:lnTo>
                <a:lnTo>
                  <a:pt x="0" y="18049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33540" y="5577840"/>
            <a:ext cx="9179046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rgbClr val="425563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540" y="6108192"/>
            <a:ext cx="9179046" cy="219456"/>
          </a:xfrm>
          <a:prstGeom prst="rect">
            <a:avLst/>
          </a:prstGeom>
        </p:spPr>
        <p:txBody>
          <a:bodyPr wrap="square" lIns="91440" tIns="45720" rIns="91440" bIns="4572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rgbClr val="4255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3191" y="5711758"/>
            <a:ext cx="1892725" cy="512545"/>
          </a:xfrm>
          <a:prstGeom prst="rect">
            <a:avLst/>
          </a:prstGeom>
        </p:spPr>
      </p:pic>
      <p:sp>
        <p:nvSpPr>
          <p:cNvPr id="17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4120532" cy="5187360"/>
          </a:xfrm>
          <a:custGeom>
            <a:avLst/>
            <a:gdLst>
              <a:gd name="connsiteX0" fmla="*/ 0 w 12210855"/>
              <a:gd name="connsiteY0" fmla="*/ 6858000 h 7620000"/>
              <a:gd name="connsiteX1" fmla="*/ 12195175 w 12210855"/>
              <a:gd name="connsiteY1" fmla="*/ 6858000 h 7620000"/>
              <a:gd name="connsiteX2" fmla="*/ 12210855 w 12210855"/>
              <a:gd name="connsiteY2" fmla="*/ 6945764 h 7620000"/>
              <a:gd name="connsiteX3" fmla="*/ 0 w 12210855"/>
              <a:gd name="connsiteY3" fmla="*/ 7620000 h 7620000"/>
              <a:gd name="connsiteX4" fmla="*/ 0 w 12210855"/>
              <a:gd name="connsiteY4" fmla="*/ 6858000 h 7620000"/>
              <a:gd name="connsiteX5" fmla="*/ 0 w 12210855"/>
              <a:gd name="connsiteY5" fmla="*/ 0 h 7620000"/>
              <a:gd name="connsiteX6" fmla="*/ 12195175 w 12210855"/>
              <a:gd name="connsiteY6" fmla="*/ 0 h 7620000"/>
              <a:gd name="connsiteX7" fmla="*/ 12195175 w 12210855"/>
              <a:gd name="connsiteY7" fmla="*/ 5053013 h 7620000"/>
              <a:gd name="connsiteX8" fmla="*/ 1175111 w 12210855"/>
              <a:gd name="connsiteY8" fmla="*/ 5053013 h 7620000"/>
              <a:gd name="connsiteX9" fmla="*/ 961835 w 12210855"/>
              <a:gd name="connsiteY9" fmla="*/ 5176147 h 7620000"/>
              <a:gd name="connsiteX10" fmla="*/ 941474 w 12210855"/>
              <a:gd name="connsiteY10" fmla="*/ 5184556 h 7620000"/>
              <a:gd name="connsiteX11" fmla="*/ 919987 w 12210855"/>
              <a:gd name="connsiteY11" fmla="*/ 5187360 h 7620000"/>
              <a:gd name="connsiteX12" fmla="*/ 898500 w 12210855"/>
              <a:gd name="connsiteY12" fmla="*/ 5184556 h 7620000"/>
              <a:gd name="connsiteX13" fmla="*/ 878140 w 12210855"/>
              <a:gd name="connsiteY13" fmla="*/ 5176147 h 7620000"/>
              <a:gd name="connsiteX14" fmla="*/ 664866 w 12210855"/>
              <a:gd name="connsiteY14" fmla="*/ 5053013 h 7620000"/>
              <a:gd name="connsiteX15" fmla="*/ 0 w 12210855"/>
              <a:gd name="connsiteY15" fmla="*/ 5053013 h 7620000"/>
              <a:gd name="connsiteX16" fmla="*/ 0 w 12210855"/>
              <a:gd name="connsiteY16" fmla="*/ 0 h 7620000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0 w 12210855"/>
              <a:gd name="connsiteY3" fmla="*/ 694576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210855"/>
              <a:gd name="connsiteY0" fmla="*/ 6858000 h 6945764"/>
              <a:gd name="connsiteX1" fmla="*/ 12195175 w 12210855"/>
              <a:gd name="connsiteY1" fmla="*/ 6858000 h 6945764"/>
              <a:gd name="connsiteX2" fmla="*/ 12210855 w 12210855"/>
              <a:gd name="connsiteY2" fmla="*/ 6945764 h 6945764"/>
              <a:gd name="connsiteX3" fmla="*/ 3175 w 12210855"/>
              <a:gd name="connsiteY3" fmla="*/ 6863214 h 6945764"/>
              <a:gd name="connsiteX4" fmla="*/ 0 w 12210855"/>
              <a:gd name="connsiteY4" fmla="*/ 6858000 h 6945764"/>
              <a:gd name="connsiteX5" fmla="*/ 0 w 12210855"/>
              <a:gd name="connsiteY5" fmla="*/ 0 h 6945764"/>
              <a:gd name="connsiteX6" fmla="*/ 12195175 w 12210855"/>
              <a:gd name="connsiteY6" fmla="*/ 0 h 6945764"/>
              <a:gd name="connsiteX7" fmla="*/ 12195175 w 12210855"/>
              <a:gd name="connsiteY7" fmla="*/ 5053013 h 6945764"/>
              <a:gd name="connsiteX8" fmla="*/ 1175111 w 12210855"/>
              <a:gd name="connsiteY8" fmla="*/ 5053013 h 6945764"/>
              <a:gd name="connsiteX9" fmla="*/ 961835 w 12210855"/>
              <a:gd name="connsiteY9" fmla="*/ 5176147 h 6945764"/>
              <a:gd name="connsiteX10" fmla="*/ 941474 w 12210855"/>
              <a:gd name="connsiteY10" fmla="*/ 5184556 h 6945764"/>
              <a:gd name="connsiteX11" fmla="*/ 919987 w 12210855"/>
              <a:gd name="connsiteY11" fmla="*/ 5187360 h 6945764"/>
              <a:gd name="connsiteX12" fmla="*/ 898500 w 12210855"/>
              <a:gd name="connsiteY12" fmla="*/ 5184556 h 6945764"/>
              <a:gd name="connsiteX13" fmla="*/ 878140 w 12210855"/>
              <a:gd name="connsiteY13" fmla="*/ 5176147 h 6945764"/>
              <a:gd name="connsiteX14" fmla="*/ 664866 w 12210855"/>
              <a:gd name="connsiteY14" fmla="*/ 5053013 h 6945764"/>
              <a:gd name="connsiteX15" fmla="*/ 0 w 12210855"/>
              <a:gd name="connsiteY15" fmla="*/ 5053013 h 6945764"/>
              <a:gd name="connsiteX16" fmla="*/ 0 w 12210855"/>
              <a:gd name="connsiteY16" fmla="*/ 0 h 6945764"/>
              <a:gd name="connsiteX0" fmla="*/ 0 w 12198155"/>
              <a:gd name="connsiteY0" fmla="*/ 6858000 h 6863214"/>
              <a:gd name="connsiteX1" fmla="*/ 12195175 w 12198155"/>
              <a:gd name="connsiteY1" fmla="*/ 6858000 h 6863214"/>
              <a:gd name="connsiteX2" fmla="*/ 12198155 w 12198155"/>
              <a:gd name="connsiteY2" fmla="*/ 6860039 h 6863214"/>
              <a:gd name="connsiteX3" fmla="*/ 3175 w 12198155"/>
              <a:gd name="connsiteY3" fmla="*/ 6863214 h 6863214"/>
              <a:gd name="connsiteX4" fmla="*/ 0 w 12198155"/>
              <a:gd name="connsiteY4" fmla="*/ 6858000 h 6863214"/>
              <a:gd name="connsiteX5" fmla="*/ 0 w 12198155"/>
              <a:gd name="connsiteY5" fmla="*/ 0 h 6863214"/>
              <a:gd name="connsiteX6" fmla="*/ 12195175 w 12198155"/>
              <a:gd name="connsiteY6" fmla="*/ 0 h 6863214"/>
              <a:gd name="connsiteX7" fmla="*/ 12195175 w 12198155"/>
              <a:gd name="connsiteY7" fmla="*/ 5053013 h 6863214"/>
              <a:gd name="connsiteX8" fmla="*/ 1175111 w 12198155"/>
              <a:gd name="connsiteY8" fmla="*/ 5053013 h 6863214"/>
              <a:gd name="connsiteX9" fmla="*/ 961835 w 12198155"/>
              <a:gd name="connsiteY9" fmla="*/ 5176147 h 6863214"/>
              <a:gd name="connsiteX10" fmla="*/ 941474 w 12198155"/>
              <a:gd name="connsiteY10" fmla="*/ 5184556 h 6863214"/>
              <a:gd name="connsiteX11" fmla="*/ 919987 w 12198155"/>
              <a:gd name="connsiteY11" fmla="*/ 5187360 h 6863214"/>
              <a:gd name="connsiteX12" fmla="*/ 898500 w 12198155"/>
              <a:gd name="connsiteY12" fmla="*/ 5184556 h 6863214"/>
              <a:gd name="connsiteX13" fmla="*/ 878140 w 12198155"/>
              <a:gd name="connsiteY13" fmla="*/ 5176147 h 6863214"/>
              <a:gd name="connsiteX14" fmla="*/ 664866 w 12198155"/>
              <a:gd name="connsiteY14" fmla="*/ 5053013 h 6863214"/>
              <a:gd name="connsiteX15" fmla="*/ 0 w 12198155"/>
              <a:gd name="connsiteY15" fmla="*/ 5053013 h 6863214"/>
              <a:gd name="connsiteX16" fmla="*/ 0 w 1219815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5455 w 12195175"/>
              <a:gd name="connsiteY2" fmla="*/ 6834639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58000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6858000 h 6863214"/>
              <a:gd name="connsiteX5" fmla="*/ 0 w 12195175"/>
              <a:gd name="connsiteY5" fmla="*/ 0 h 6863214"/>
              <a:gd name="connsiteX6" fmla="*/ 12195175 w 12195175"/>
              <a:gd name="connsiteY6" fmla="*/ 0 h 6863214"/>
              <a:gd name="connsiteX7" fmla="*/ 12195175 w 12195175"/>
              <a:gd name="connsiteY7" fmla="*/ 5053013 h 6863214"/>
              <a:gd name="connsiteX8" fmla="*/ 1175111 w 12195175"/>
              <a:gd name="connsiteY8" fmla="*/ 5053013 h 6863214"/>
              <a:gd name="connsiteX9" fmla="*/ 961835 w 12195175"/>
              <a:gd name="connsiteY9" fmla="*/ 5176147 h 6863214"/>
              <a:gd name="connsiteX10" fmla="*/ 941474 w 12195175"/>
              <a:gd name="connsiteY10" fmla="*/ 5184556 h 6863214"/>
              <a:gd name="connsiteX11" fmla="*/ 919987 w 12195175"/>
              <a:gd name="connsiteY11" fmla="*/ 5187360 h 6863214"/>
              <a:gd name="connsiteX12" fmla="*/ 898500 w 12195175"/>
              <a:gd name="connsiteY12" fmla="*/ 5184556 h 6863214"/>
              <a:gd name="connsiteX13" fmla="*/ 878140 w 12195175"/>
              <a:gd name="connsiteY13" fmla="*/ 5176147 h 6863214"/>
              <a:gd name="connsiteX14" fmla="*/ 664866 w 12195175"/>
              <a:gd name="connsiteY14" fmla="*/ 5053013 h 6863214"/>
              <a:gd name="connsiteX15" fmla="*/ 0 w 12195175"/>
              <a:gd name="connsiteY15" fmla="*/ 5053013 h 6863214"/>
              <a:gd name="connsiteX16" fmla="*/ 0 w 12195175"/>
              <a:gd name="connsiteY16" fmla="*/ 0 h 6863214"/>
              <a:gd name="connsiteX0" fmla="*/ 0 w 12195175"/>
              <a:gd name="connsiteY0" fmla="*/ 6864350 h 6864350"/>
              <a:gd name="connsiteX1" fmla="*/ 12195175 w 12195175"/>
              <a:gd name="connsiteY1" fmla="*/ 6858000 h 6864350"/>
              <a:gd name="connsiteX2" fmla="*/ 12188630 w 12195175"/>
              <a:gd name="connsiteY2" fmla="*/ 6863214 h 6864350"/>
              <a:gd name="connsiteX3" fmla="*/ 3175 w 12195175"/>
              <a:gd name="connsiteY3" fmla="*/ 6863214 h 6864350"/>
              <a:gd name="connsiteX4" fmla="*/ 0 w 12195175"/>
              <a:gd name="connsiteY4" fmla="*/ 6864350 h 6864350"/>
              <a:gd name="connsiteX5" fmla="*/ 0 w 12195175"/>
              <a:gd name="connsiteY5" fmla="*/ 0 h 6864350"/>
              <a:gd name="connsiteX6" fmla="*/ 12195175 w 12195175"/>
              <a:gd name="connsiteY6" fmla="*/ 0 h 6864350"/>
              <a:gd name="connsiteX7" fmla="*/ 12195175 w 12195175"/>
              <a:gd name="connsiteY7" fmla="*/ 5053013 h 6864350"/>
              <a:gd name="connsiteX8" fmla="*/ 1175111 w 12195175"/>
              <a:gd name="connsiteY8" fmla="*/ 5053013 h 6864350"/>
              <a:gd name="connsiteX9" fmla="*/ 961835 w 12195175"/>
              <a:gd name="connsiteY9" fmla="*/ 5176147 h 6864350"/>
              <a:gd name="connsiteX10" fmla="*/ 941474 w 12195175"/>
              <a:gd name="connsiteY10" fmla="*/ 5184556 h 6864350"/>
              <a:gd name="connsiteX11" fmla="*/ 919987 w 12195175"/>
              <a:gd name="connsiteY11" fmla="*/ 5187360 h 6864350"/>
              <a:gd name="connsiteX12" fmla="*/ 898500 w 12195175"/>
              <a:gd name="connsiteY12" fmla="*/ 5184556 h 6864350"/>
              <a:gd name="connsiteX13" fmla="*/ 878140 w 12195175"/>
              <a:gd name="connsiteY13" fmla="*/ 5176147 h 6864350"/>
              <a:gd name="connsiteX14" fmla="*/ 664866 w 12195175"/>
              <a:gd name="connsiteY14" fmla="*/ 5053013 h 6864350"/>
              <a:gd name="connsiteX15" fmla="*/ 0 w 12195175"/>
              <a:gd name="connsiteY15" fmla="*/ 5053013 h 6864350"/>
              <a:gd name="connsiteX16" fmla="*/ 0 w 12195175"/>
              <a:gd name="connsiteY16" fmla="*/ 0 h 6864350"/>
              <a:gd name="connsiteX0" fmla="*/ 3175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3175 w 12195175"/>
              <a:gd name="connsiteY3" fmla="*/ 6863214 h 6863214"/>
              <a:gd name="connsiteX4" fmla="*/ 0 w 12195175"/>
              <a:gd name="connsiteY4" fmla="*/ 0 h 6863214"/>
              <a:gd name="connsiteX5" fmla="*/ 12195175 w 12195175"/>
              <a:gd name="connsiteY5" fmla="*/ 0 h 6863214"/>
              <a:gd name="connsiteX6" fmla="*/ 12195175 w 12195175"/>
              <a:gd name="connsiteY6" fmla="*/ 5053013 h 6863214"/>
              <a:gd name="connsiteX7" fmla="*/ 1175111 w 12195175"/>
              <a:gd name="connsiteY7" fmla="*/ 5053013 h 6863214"/>
              <a:gd name="connsiteX8" fmla="*/ 961835 w 12195175"/>
              <a:gd name="connsiteY8" fmla="*/ 5176147 h 6863214"/>
              <a:gd name="connsiteX9" fmla="*/ 941474 w 12195175"/>
              <a:gd name="connsiteY9" fmla="*/ 5184556 h 6863214"/>
              <a:gd name="connsiteX10" fmla="*/ 919987 w 12195175"/>
              <a:gd name="connsiteY10" fmla="*/ 5187360 h 6863214"/>
              <a:gd name="connsiteX11" fmla="*/ 898500 w 12195175"/>
              <a:gd name="connsiteY11" fmla="*/ 5184556 h 6863214"/>
              <a:gd name="connsiteX12" fmla="*/ 878140 w 12195175"/>
              <a:gd name="connsiteY12" fmla="*/ 5176147 h 6863214"/>
              <a:gd name="connsiteX13" fmla="*/ 664866 w 12195175"/>
              <a:gd name="connsiteY13" fmla="*/ 5053013 h 6863214"/>
              <a:gd name="connsiteX14" fmla="*/ 0 w 12195175"/>
              <a:gd name="connsiteY14" fmla="*/ 5053013 h 6863214"/>
              <a:gd name="connsiteX15" fmla="*/ 0 w 12195175"/>
              <a:gd name="connsiteY15" fmla="*/ 0 h 6863214"/>
              <a:gd name="connsiteX0" fmla="*/ 12188630 w 12195175"/>
              <a:gd name="connsiteY0" fmla="*/ 6863214 h 6863214"/>
              <a:gd name="connsiteX1" fmla="*/ 12195175 w 12195175"/>
              <a:gd name="connsiteY1" fmla="*/ 6858000 h 6863214"/>
              <a:gd name="connsiteX2" fmla="*/ 12188630 w 12195175"/>
              <a:gd name="connsiteY2" fmla="*/ 6863214 h 6863214"/>
              <a:gd name="connsiteX3" fmla="*/ 0 w 12195175"/>
              <a:gd name="connsiteY3" fmla="*/ 0 h 6863214"/>
              <a:gd name="connsiteX4" fmla="*/ 12195175 w 12195175"/>
              <a:gd name="connsiteY4" fmla="*/ 0 h 6863214"/>
              <a:gd name="connsiteX5" fmla="*/ 12195175 w 12195175"/>
              <a:gd name="connsiteY5" fmla="*/ 5053013 h 6863214"/>
              <a:gd name="connsiteX6" fmla="*/ 1175111 w 12195175"/>
              <a:gd name="connsiteY6" fmla="*/ 5053013 h 6863214"/>
              <a:gd name="connsiteX7" fmla="*/ 961835 w 12195175"/>
              <a:gd name="connsiteY7" fmla="*/ 5176147 h 6863214"/>
              <a:gd name="connsiteX8" fmla="*/ 941474 w 12195175"/>
              <a:gd name="connsiteY8" fmla="*/ 5184556 h 6863214"/>
              <a:gd name="connsiteX9" fmla="*/ 919987 w 12195175"/>
              <a:gd name="connsiteY9" fmla="*/ 5187360 h 6863214"/>
              <a:gd name="connsiteX10" fmla="*/ 898500 w 12195175"/>
              <a:gd name="connsiteY10" fmla="*/ 5184556 h 6863214"/>
              <a:gd name="connsiteX11" fmla="*/ 878140 w 12195175"/>
              <a:gd name="connsiteY11" fmla="*/ 5176147 h 6863214"/>
              <a:gd name="connsiteX12" fmla="*/ 664866 w 12195175"/>
              <a:gd name="connsiteY12" fmla="*/ 5053013 h 6863214"/>
              <a:gd name="connsiteX13" fmla="*/ 0 w 12195175"/>
              <a:gd name="connsiteY13" fmla="*/ 5053013 h 6863214"/>
              <a:gd name="connsiteX14" fmla="*/ 0 w 12195175"/>
              <a:gd name="connsiteY14" fmla="*/ 0 h 6863214"/>
              <a:gd name="connsiteX0" fmla="*/ 0 w 12195175"/>
              <a:gd name="connsiteY0" fmla="*/ 0 h 5187360"/>
              <a:gd name="connsiteX1" fmla="*/ 12195175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12195175"/>
              <a:gd name="connsiteY0" fmla="*/ 0 h 5187360"/>
              <a:gd name="connsiteX1" fmla="*/ 4161417 w 12195175"/>
              <a:gd name="connsiteY1" fmla="*/ 0 h 5187360"/>
              <a:gd name="connsiteX2" fmla="*/ 12195175 w 12195175"/>
              <a:gd name="connsiteY2" fmla="*/ 5053013 h 5187360"/>
              <a:gd name="connsiteX3" fmla="*/ 1175111 w 12195175"/>
              <a:gd name="connsiteY3" fmla="*/ 5053013 h 5187360"/>
              <a:gd name="connsiteX4" fmla="*/ 961835 w 12195175"/>
              <a:gd name="connsiteY4" fmla="*/ 5176147 h 5187360"/>
              <a:gd name="connsiteX5" fmla="*/ 941474 w 12195175"/>
              <a:gd name="connsiteY5" fmla="*/ 5184556 h 5187360"/>
              <a:gd name="connsiteX6" fmla="*/ 919987 w 12195175"/>
              <a:gd name="connsiteY6" fmla="*/ 5187360 h 5187360"/>
              <a:gd name="connsiteX7" fmla="*/ 898500 w 12195175"/>
              <a:gd name="connsiteY7" fmla="*/ 5184556 h 5187360"/>
              <a:gd name="connsiteX8" fmla="*/ 878140 w 12195175"/>
              <a:gd name="connsiteY8" fmla="*/ 5176147 h 5187360"/>
              <a:gd name="connsiteX9" fmla="*/ 664866 w 12195175"/>
              <a:gd name="connsiteY9" fmla="*/ 5053013 h 5187360"/>
              <a:gd name="connsiteX10" fmla="*/ 0 w 12195175"/>
              <a:gd name="connsiteY10" fmla="*/ 5053013 h 5187360"/>
              <a:gd name="connsiteX11" fmla="*/ 0 w 12195175"/>
              <a:gd name="connsiteY11" fmla="*/ 0 h 5187360"/>
              <a:gd name="connsiteX0" fmla="*/ 0 w 4170947"/>
              <a:gd name="connsiteY0" fmla="*/ 0 h 5187360"/>
              <a:gd name="connsiteX1" fmla="*/ 4161417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70947"/>
              <a:gd name="connsiteY0" fmla="*/ 0 h 5187360"/>
              <a:gd name="connsiteX1" fmla="*/ 4120756 w 4170947"/>
              <a:gd name="connsiteY1" fmla="*/ 0 h 5187360"/>
              <a:gd name="connsiteX2" fmla="*/ 4170947 w 4170947"/>
              <a:gd name="connsiteY2" fmla="*/ 5053013 h 5187360"/>
              <a:gd name="connsiteX3" fmla="*/ 1175111 w 4170947"/>
              <a:gd name="connsiteY3" fmla="*/ 5053013 h 5187360"/>
              <a:gd name="connsiteX4" fmla="*/ 961835 w 4170947"/>
              <a:gd name="connsiteY4" fmla="*/ 5176147 h 5187360"/>
              <a:gd name="connsiteX5" fmla="*/ 941474 w 4170947"/>
              <a:gd name="connsiteY5" fmla="*/ 5184556 h 5187360"/>
              <a:gd name="connsiteX6" fmla="*/ 919987 w 4170947"/>
              <a:gd name="connsiteY6" fmla="*/ 5187360 h 5187360"/>
              <a:gd name="connsiteX7" fmla="*/ 898500 w 4170947"/>
              <a:gd name="connsiteY7" fmla="*/ 5184556 h 5187360"/>
              <a:gd name="connsiteX8" fmla="*/ 878140 w 4170947"/>
              <a:gd name="connsiteY8" fmla="*/ 5176147 h 5187360"/>
              <a:gd name="connsiteX9" fmla="*/ 664866 w 4170947"/>
              <a:gd name="connsiteY9" fmla="*/ 5053013 h 5187360"/>
              <a:gd name="connsiteX10" fmla="*/ 0 w 4170947"/>
              <a:gd name="connsiteY10" fmla="*/ 5053013 h 5187360"/>
              <a:gd name="connsiteX11" fmla="*/ 0 w 4170947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6400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  <a:gd name="connsiteX0" fmla="*/ 0 w 4121605"/>
              <a:gd name="connsiteY0" fmla="*/ 0 h 5187360"/>
              <a:gd name="connsiteX1" fmla="*/ 4120756 w 4121605"/>
              <a:gd name="connsiteY1" fmla="*/ 0 h 5187360"/>
              <a:gd name="connsiteX2" fmla="*/ 4120121 w 4121605"/>
              <a:gd name="connsiteY2" fmla="*/ 5053225 h 5187360"/>
              <a:gd name="connsiteX3" fmla="*/ 1175111 w 4121605"/>
              <a:gd name="connsiteY3" fmla="*/ 5053013 h 5187360"/>
              <a:gd name="connsiteX4" fmla="*/ 961835 w 4121605"/>
              <a:gd name="connsiteY4" fmla="*/ 5176147 h 5187360"/>
              <a:gd name="connsiteX5" fmla="*/ 941474 w 4121605"/>
              <a:gd name="connsiteY5" fmla="*/ 5184556 h 5187360"/>
              <a:gd name="connsiteX6" fmla="*/ 919987 w 4121605"/>
              <a:gd name="connsiteY6" fmla="*/ 5187360 h 5187360"/>
              <a:gd name="connsiteX7" fmla="*/ 898500 w 4121605"/>
              <a:gd name="connsiteY7" fmla="*/ 5184556 h 5187360"/>
              <a:gd name="connsiteX8" fmla="*/ 878140 w 4121605"/>
              <a:gd name="connsiteY8" fmla="*/ 5176147 h 5187360"/>
              <a:gd name="connsiteX9" fmla="*/ 664866 w 4121605"/>
              <a:gd name="connsiteY9" fmla="*/ 5053013 h 5187360"/>
              <a:gd name="connsiteX10" fmla="*/ 0 w 4121605"/>
              <a:gd name="connsiteY10" fmla="*/ 5053013 h 5187360"/>
              <a:gd name="connsiteX11" fmla="*/ 0 w 4121605"/>
              <a:gd name="connsiteY11" fmla="*/ 0 h 518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121605" h="5187360">
                <a:moveTo>
                  <a:pt x="0" y="0"/>
                </a:moveTo>
                <a:lnTo>
                  <a:pt x="4120756" y="0"/>
                </a:lnTo>
                <a:cubicBezTo>
                  <a:pt x="4123933" y="1684338"/>
                  <a:pt x="4116944" y="3368887"/>
                  <a:pt x="4120121" y="5053225"/>
                </a:cubicBezTo>
                <a:lnTo>
                  <a:pt x="1175111" y="5053013"/>
                </a:lnTo>
                <a:lnTo>
                  <a:pt x="961835" y="5176147"/>
                </a:lnTo>
                <a:lnTo>
                  <a:pt x="941474" y="5184556"/>
                </a:lnTo>
                <a:lnTo>
                  <a:pt x="919987" y="5187360"/>
                </a:lnTo>
                <a:lnTo>
                  <a:pt x="898500" y="5184556"/>
                </a:lnTo>
                <a:lnTo>
                  <a:pt x="878140" y="5176147"/>
                </a:lnTo>
                <a:lnTo>
                  <a:pt x="664866" y="5053013"/>
                </a:lnTo>
                <a:lnTo>
                  <a:pt x="0" y="5053013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1233232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2"/>
          <p:cNvSpPr>
            <a:spLocks/>
          </p:cNvSpPr>
          <p:nvPr userDrawn="1"/>
        </p:nvSpPr>
        <p:spPr bwMode="auto">
          <a:xfrm>
            <a:off x="-2" y="3"/>
            <a:ext cx="12201273" cy="5688013"/>
          </a:xfrm>
          <a:custGeom>
            <a:avLst/>
            <a:gdLst>
              <a:gd name="T0" fmla="*/ 0 w 12192000"/>
              <a:gd name="T1" fmla="*/ 5687568 h 5687695"/>
              <a:gd name="T2" fmla="*/ 12191974 w 12192000"/>
              <a:gd name="T3" fmla="*/ 5687568 h 5687695"/>
              <a:gd name="T4" fmla="*/ 12191974 w 12192000"/>
              <a:gd name="T5" fmla="*/ 0 h 5687695"/>
              <a:gd name="T6" fmla="*/ 0 w 12192000"/>
              <a:gd name="T7" fmla="*/ 0 h 5687695"/>
              <a:gd name="T8" fmla="*/ 0 w 12192000"/>
              <a:gd name="T9" fmla="*/ 5687568 h 5687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5687695">
                <a:moveTo>
                  <a:pt x="0" y="5687568"/>
                </a:moveTo>
                <a:lnTo>
                  <a:pt x="12191974" y="5687568"/>
                </a:lnTo>
                <a:lnTo>
                  <a:pt x="12191974" y="0"/>
                </a:lnTo>
                <a:lnTo>
                  <a:pt x="0" y="0"/>
                </a:lnTo>
                <a:lnTo>
                  <a:pt x="0" y="568756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8" name="object 5"/>
          <p:cNvSpPr>
            <a:spLocks/>
          </p:cNvSpPr>
          <p:nvPr userDrawn="1"/>
        </p:nvSpPr>
        <p:spPr bwMode="auto">
          <a:xfrm>
            <a:off x="1" y="5688016"/>
            <a:ext cx="12201273" cy="1169987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978153" y="2075687"/>
            <a:ext cx="10247756" cy="932688"/>
          </a:xfrm>
        </p:spPr>
        <p:txBody>
          <a:bodyPr wrap="square" anchor="ctr" anchorCtr="0">
            <a:noAutofit/>
          </a:bodyPr>
          <a:lstStyle>
            <a:lvl1pPr algn="ctr">
              <a:defRPr sz="60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969012" y="3218689"/>
            <a:ext cx="10247756" cy="594360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6135842"/>
            <a:ext cx="1177486" cy="31885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09441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7075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6351" y="-6351"/>
            <a:ext cx="12202448" cy="6867525"/>
          </a:xfrm>
          <a:custGeom>
            <a:avLst/>
            <a:gdLst>
              <a:gd name="connsiteX0" fmla="*/ 1007893 w 12198355"/>
              <a:gd name="connsiteY0" fmla="*/ 6269265 h 6858000"/>
              <a:gd name="connsiteX1" fmla="*/ 1012666 w 12198355"/>
              <a:gd name="connsiteY1" fmla="*/ 6269568 h 6858000"/>
              <a:gd name="connsiteX2" fmla="*/ 1017275 w 12198355"/>
              <a:gd name="connsiteY2" fmla="*/ 6270481 h 6858000"/>
              <a:gd name="connsiteX3" fmla="*/ 1021659 w 12198355"/>
              <a:gd name="connsiteY3" fmla="*/ 6272007 h 6858000"/>
              <a:gd name="connsiteX4" fmla="*/ 1025757 w 12198355"/>
              <a:gd name="connsiteY4" fmla="*/ 6274150 h 6858000"/>
              <a:gd name="connsiteX5" fmla="*/ 1029507 w 12198355"/>
              <a:gd name="connsiteY5" fmla="*/ 6276915 h 6858000"/>
              <a:gd name="connsiteX6" fmla="*/ 1032848 w 12198355"/>
              <a:gd name="connsiteY6" fmla="*/ 6280306 h 6858000"/>
              <a:gd name="connsiteX7" fmla="*/ 1035719 w 12198355"/>
              <a:gd name="connsiteY7" fmla="*/ 6284326 h 6858000"/>
              <a:gd name="connsiteX8" fmla="*/ 1038059 w 12198355"/>
              <a:gd name="connsiteY8" fmla="*/ 6288981 h 6858000"/>
              <a:gd name="connsiteX9" fmla="*/ 1039806 w 12198355"/>
              <a:gd name="connsiteY9" fmla="*/ 6294273 h 6858000"/>
              <a:gd name="connsiteX10" fmla="*/ 1040899 w 12198355"/>
              <a:gd name="connsiteY10" fmla="*/ 6300208 h 6858000"/>
              <a:gd name="connsiteX11" fmla="*/ 1041277 w 12198355"/>
              <a:gd name="connsiteY11" fmla="*/ 6306788 h 6858000"/>
              <a:gd name="connsiteX12" fmla="*/ 1040899 w 12198355"/>
              <a:gd name="connsiteY12" fmla="*/ 6313376 h 6858000"/>
              <a:gd name="connsiteX13" fmla="*/ 1039806 w 12198355"/>
              <a:gd name="connsiteY13" fmla="*/ 6319330 h 6858000"/>
              <a:gd name="connsiteX14" fmla="*/ 1038059 w 12198355"/>
              <a:gd name="connsiteY14" fmla="*/ 6324652 h 6858000"/>
              <a:gd name="connsiteX15" fmla="*/ 1035719 w 12198355"/>
              <a:gd name="connsiteY15" fmla="*/ 6329342 h 6858000"/>
              <a:gd name="connsiteX16" fmla="*/ 1032848 w 12198355"/>
              <a:gd name="connsiteY16" fmla="*/ 6333403 h 6858000"/>
              <a:gd name="connsiteX17" fmla="*/ 1029507 w 12198355"/>
              <a:gd name="connsiteY17" fmla="*/ 6336835 h 6858000"/>
              <a:gd name="connsiteX18" fmla="*/ 1025757 w 12198355"/>
              <a:gd name="connsiteY18" fmla="*/ 6339641 h 6858000"/>
              <a:gd name="connsiteX19" fmla="*/ 1021659 w 12198355"/>
              <a:gd name="connsiteY19" fmla="*/ 6341820 h 6858000"/>
              <a:gd name="connsiteX20" fmla="*/ 1017275 w 12198355"/>
              <a:gd name="connsiteY20" fmla="*/ 6343375 h 6858000"/>
              <a:gd name="connsiteX21" fmla="*/ 1012666 w 12198355"/>
              <a:gd name="connsiteY21" fmla="*/ 6344307 h 6858000"/>
              <a:gd name="connsiteX22" fmla="*/ 1007893 w 12198355"/>
              <a:gd name="connsiteY22" fmla="*/ 6344618 h 6858000"/>
              <a:gd name="connsiteX23" fmla="*/ 1003193 w 12198355"/>
              <a:gd name="connsiteY23" fmla="*/ 6344300 h 6858000"/>
              <a:gd name="connsiteX24" fmla="*/ 998645 w 12198355"/>
              <a:gd name="connsiteY24" fmla="*/ 6343350 h 6858000"/>
              <a:gd name="connsiteX25" fmla="*/ 994309 w 12198355"/>
              <a:gd name="connsiteY25" fmla="*/ 6341771 h 6858000"/>
              <a:gd name="connsiteX26" fmla="*/ 990249 w 12198355"/>
              <a:gd name="connsiteY26" fmla="*/ 6339564 h 6858000"/>
              <a:gd name="connsiteX27" fmla="*/ 986527 w 12198355"/>
              <a:gd name="connsiteY27" fmla="*/ 6336732 h 6858000"/>
              <a:gd name="connsiteX28" fmla="*/ 983207 w 12198355"/>
              <a:gd name="connsiteY28" fmla="*/ 6333280 h 6858000"/>
              <a:gd name="connsiteX29" fmla="*/ 980349 w 12198355"/>
              <a:gd name="connsiteY29" fmla="*/ 6329208 h 6858000"/>
              <a:gd name="connsiteX30" fmla="*/ 978018 w 12198355"/>
              <a:gd name="connsiteY30" fmla="*/ 6324520 h 6858000"/>
              <a:gd name="connsiteX31" fmla="*/ 976275 w 12198355"/>
              <a:gd name="connsiteY31" fmla="*/ 6319219 h 6858000"/>
              <a:gd name="connsiteX32" fmla="*/ 975184 w 12198355"/>
              <a:gd name="connsiteY32" fmla="*/ 6313308 h 6858000"/>
              <a:gd name="connsiteX33" fmla="*/ 974806 w 12198355"/>
              <a:gd name="connsiteY33" fmla="*/ 6306788 h 6858000"/>
              <a:gd name="connsiteX34" fmla="*/ 975184 w 12198355"/>
              <a:gd name="connsiteY34" fmla="*/ 6300208 h 6858000"/>
              <a:gd name="connsiteX35" fmla="*/ 976275 w 12198355"/>
              <a:gd name="connsiteY35" fmla="*/ 6294273 h 6858000"/>
              <a:gd name="connsiteX36" fmla="*/ 978018 w 12198355"/>
              <a:gd name="connsiteY36" fmla="*/ 6288981 h 6858000"/>
              <a:gd name="connsiteX37" fmla="*/ 980349 w 12198355"/>
              <a:gd name="connsiteY37" fmla="*/ 6284326 h 6858000"/>
              <a:gd name="connsiteX38" fmla="*/ 983207 w 12198355"/>
              <a:gd name="connsiteY38" fmla="*/ 6280306 h 6858000"/>
              <a:gd name="connsiteX39" fmla="*/ 986527 w 12198355"/>
              <a:gd name="connsiteY39" fmla="*/ 6276915 h 6858000"/>
              <a:gd name="connsiteX40" fmla="*/ 990249 w 12198355"/>
              <a:gd name="connsiteY40" fmla="*/ 6274150 h 6858000"/>
              <a:gd name="connsiteX41" fmla="*/ 994309 w 12198355"/>
              <a:gd name="connsiteY41" fmla="*/ 6272007 h 6858000"/>
              <a:gd name="connsiteX42" fmla="*/ 998645 w 12198355"/>
              <a:gd name="connsiteY42" fmla="*/ 6270481 h 6858000"/>
              <a:gd name="connsiteX43" fmla="*/ 1003193 w 12198355"/>
              <a:gd name="connsiteY43" fmla="*/ 6269568 h 6858000"/>
              <a:gd name="connsiteX44" fmla="*/ 1007893 w 12198355"/>
              <a:gd name="connsiteY44" fmla="*/ 6269265 h 6858000"/>
              <a:gd name="connsiteX45" fmla="*/ 1349948 w 12198355"/>
              <a:gd name="connsiteY45" fmla="*/ 6269264 h 6858000"/>
              <a:gd name="connsiteX46" fmla="*/ 1354581 w 12198355"/>
              <a:gd name="connsiteY46" fmla="*/ 6269561 h 6858000"/>
              <a:gd name="connsiteX47" fmla="*/ 1359089 w 12198355"/>
              <a:gd name="connsiteY47" fmla="*/ 6270455 h 6858000"/>
              <a:gd name="connsiteX48" fmla="*/ 1363405 w 12198355"/>
              <a:gd name="connsiteY48" fmla="*/ 6271956 h 6858000"/>
              <a:gd name="connsiteX49" fmla="*/ 1367462 w 12198355"/>
              <a:gd name="connsiteY49" fmla="*/ 6274072 h 6858000"/>
              <a:gd name="connsiteX50" fmla="*/ 1371195 w 12198355"/>
              <a:gd name="connsiteY50" fmla="*/ 6276811 h 6858000"/>
              <a:gd name="connsiteX51" fmla="*/ 1374536 w 12198355"/>
              <a:gd name="connsiteY51" fmla="*/ 6280181 h 6858000"/>
              <a:gd name="connsiteX52" fmla="*/ 1377418 w 12198355"/>
              <a:gd name="connsiteY52" fmla="*/ 6284190 h 6858000"/>
              <a:gd name="connsiteX53" fmla="*/ 1379777 w 12198355"/>
              <a:gd name="connsiteY53" fmla="*/ 6288848 h 6858000"/>
              <a:gd name="connsiteX54" fmla="*/ 1381543 w 12198355"/>
              <a:gd name="connsiteY54" fmla="*/ 6294161 h 6858000"/>
              <a:gd name="connsiteX55" fmla="*/ 1382652 w 12198355"/>
              <a:gd name="connsiteY55" fmla="*/ 6300138 h 6858000"/>
              <a:gd name="connsiteX56" fmla="*/ 1383037 w 12198355"/>
              <a:gd name="connsiteY56" fmla="*/ 6306788 h 6858000"/>
              <a:gd name="connsiteX57" fmla="*/ 1382652 w 12198355"/>
              <a:gd name="connsiteY57" fmla="*/ 6313445 h 6858000"/>
              <a:gd name="connsiteX58" fmla="*/ 1381543 w 12198355"/>
              <a:gd name="connsiteY58" fmla="*/ 6319442 h 6858000"/>
              <a:gd name="connsiteX59" fmla="*/ 1379777 w 12198355"/>
              <a:gd name="connsiteY59" fmla="*/ 6324784 h 6858000"/>
              <a:gd name="connsiteX60" fmla="*/ 1377418 w 12198355"/>
              <a:gd name="connsiteY60" fmla="*/ 6329478 h 6858000"/>
              <a:gd name="connsiteX61" fmla="*/ 1374536 w 12198355"/>
              <a:gd name="connsiteY61" fmla="*/ 6333527 h 6858000"/>
              <a:gd name="connsiteX62" fmla="*/ 1371195 w 12198355"/>
              <a:gd name="connsiteY62" fmla="*/ 6336939 h 6858000"/>
              <a:gd name="connsiteX63" fmla="*/ 1367462 w 12198355"/>
              <a:gd name="connsiteY63" fmla="*/ 6339718 h 6858000"/>
              <a:gd name="connsiteX64" fmla="*/ 1363405 w 12198355"/>
              <a:gd name="connsiteY64" fmla="*/ 6341869 h 6858000"/>
              <a:gd name="connsiteX65" fmla="*/ 1359089 w 12198355"/>
              <a:gd name="connsiteY65" fmla="*/ 6343400 h 6858000"/>
              <a:gd name="connsiteX66" fmla="*/ 1354581 w 12198355"/>
              <a:gd name="connsiteY66" fmla="*/ 6344314 h 6858000"/>
              <a:gd name="connsiteX67" fmla="*/ 1349948 w 12198355"/>
              <a:gd name="connsiteY67" fmla="*/ 6344617 h 6858000"/>
              <a:gd name="connsiteX68" fmla="*/ 1345382 w 12198355"/>
              <a:gd name="connsiteY68" fmla="*/ 6344307 h 6858000"/>
              <a:gd name="connsiteX69" fmla="*/ 1340916 w 12198355"/>
              <a:gd name="connsiteY69" fmla="*/ 6343375 h 6858000"/>
              <a:gd name="connsiteX70" fmla="*/ 1336620 w 12198355"/>
              <a:gd name="connsiteY70" fmla="*/ 6341820 h 6858000"/>
              <a:gd name="connsiteX71" fmla="*/ 1332565 w 12198355"/>
              <a:gd name="connsiteY71" fmla="*/ 6339640 h 6858000"/>
              <a:gd name="connsiteX72" fmla="*/ 1328822 w 12198355"/>
              <a:gd name="connsiteY72" fmla="*/ 6336835 h 6858000"/>
              <a:gd name="connsiteX73" fmla="*/ 1325461 w 12198355"/>
              <a:gd name="connsiteY73" fmla="*/ 6333403 h 6858000"/>
              <a:gd name="connsiteX74" fmla="*/ 1322553 w 12198355"/>
              <a:gd name="connsiteY74" fmla="*/ 6329343 h 6858000"/>
              <a:gd name="connsiteX75" fmla="*/ 1320168 w 12198355"/>
              <a:gd name="connsiteY75" fmla="*/ 6324652 h 6858000"/>
              <a:gd name="connsiteX76" fmla="*/ 1318378 w 12198355"/>
              <a:gd name="connsiteY76" fmla="*/ 6319330 h 6858000"/>
              <a:gd name="connsiteX77" fmla="*/ 1317251 w 12198355"/>
              <a:gd name="connsiteY77" fmla="*/ 6313376 h 6858000"/>
              <a:gd name="connsiteX78" fmla="*/ 1316860 w 12198355"/>
              <a:gd name="connsiteY78" fmla="*/ 6306788 h 6858000"/>
              <a:gd name="connsiteX79" fmla="*/ 1317251 w 12198355"/>
              <a:gd name="connsiteY79" fmla="*/ 6300138 h 6858000"/>
              <a:gd name="connsiteX80" fmla="*/ 1318378 w 12198355"/>
              <a:gd name="connsiteY80" fmla="*/ 6294161 h 6858000"/>
              <a:gd name="connsiteX81" fmla="*/ 1320168 w 12198355"/>
              <a:gd name="connsiteY81" fmla="*/ 6288848 h 6858000"/>
              <a:gd name="connsiteX82" fmla="*/ 1322553 w 12198355"/>
              <a:gd name="connsiteY82" fmla="*/ 6284190 h 6858000"/>
              <a:gd name="connsiteX83" fmla="*/ 1325461 w 12198355"/>
              <a:gd name="connsiteY83" fmla="*/ 6280181 h 6858000"/>
              <a:gd name="connsiteX84" fmla="*/ 1328822 w 12198355"/>
              <a:gd name="connsiteY84" fmla="*/ 6276811 h 6858000"/>
              <a:gd name="connsiteX85" fmla="*/ 1332565 w 12198355"/>
              <a:gd name="connsiteY85" fmla="*/ 6274072 h 6858000"/>
              <a:gd name="connsiteX86" fmla="*/ 1336620 w 12198355"/>
              <a:gd name="connsiteY86" fmla="*/ 6271956 h 6858000"/>
              <a:gd name="connsiteX87" fmla="*/ 1340916 w 12198355"/>
              <a:gd name="connsiteY87" fmla="*/ 6270455 h 6858000"/>
              <a:gd name="connsiteX88" fmla="*/ 1345382 w 12198355"/>
              <a:gd name="connsiteY88" fmla="*/ 6269561 h 6858000"/>
              <a:gd name="connsiteX89" fmla="*/ 1349948 w 12198355"/>
              <a:gd name="connsiteY89" fmla="*/ 6269264 h 6858000"/>
              <a:gd name="connsiteX90" fmla="*/ 1106434 w 12198355"/>
              <a:gd name="connsiteY90" fmla="*/ 6231132 h 6858000"/>
              <a:gd name="connsiteX91" fmla="*/ 1104886 w 12198355"/>
              <a:gd name="connsiteY91" fmla="*/ 6231455 h 6858000"/>
              <a:gd name="connsiteX92" fmla="*/ 1103622 w 12198355"/>
              <a:gd name="connsiteY92" fmla="*/ 6232335 h 6858000"/>
              <a:gd name="connsiteX93" fmla="*/ 1102769 w 12198355"/>
              <a:gd name="connsiteY93" fmla="*/ 6233641 h 6858000"/>
              <a:gd name="connsiteX94" fmla="*/ 1102457 w 12198355"/>
              <a:gd name="connsiteY94" fmla="*/ 6235239 h 6858000"/>
              <a:gd name="connsiteX95" fmla="*/ 1102457 w 12198355"/>
              <a:gd name="connsiteY95" fmla="*/ 6378643 h 6858000"/>
              <a:gd name="connsiteX96" fmla="*/ 1102769 w 12198355"/>
              <a:gd name="connsiteY96" fmla="*/ 6380242 h 6858000"/>
              <a:gd name="connsiteX97" fmla="*/ 1103622 w 12198355"/>
              <a:gd name="connsiteY97" fmla="*/ 6381547 h 6858000"/>
              <a:gd name="connsiteX98" fmla="*/ 1104886 w 12198355"/>
              <a:gd name="connsiteY98" fmla="*/ 6382427 h 6858000"/>
              <a:gd name="connsiteX99" fmla="*/ 1106434 w 12198355"/>
              <a:gd name="connsiteY99" fmla="*/ 6382750 h 6858000"/>
              <a:gd name="connsiteX100" fmla="*/ 1143384 w 12198355"/>
              <a:gd name="connsiteY100" fmla="*/ 6382750 h 6858000"/>
              <a:gd name="connsiteX101" fmla="*/ 1144932 w 12198355"/>
              <a:gd name="connsiteY101" fmla="*/ 6382427 h 6858000"/>
              <a:gd name="connsiteX102" fmla="*/ 1146197 w 12198355"/>
              <a:gd name="connsiteY102" fmla="*/ 6381547 h 6858000"/>
              <a:gd name="connsiteX103" fmla="*/ 1147050 w 12198355"/>
              <a:gd name="connsiteY103" fmla="*/ 6380242 h 6858000"/>
              <a:gd name="connsiteX104" fmla="*/ 1147362 w 12198355"/>
              <a:gd name="connsiteY104" fmla="*/ 6378643 h 6858000"/>
              <a:gd name="connsiteX105" fmla="*/ 1147362 w 12198355"/>
              <a:gd name="connsiteY105" fmla="*/ 6235239 h 6858000"/>
              <a:gd name="connsiteX106" fmla="*/ 1147050 w 12198355"/>
              <a:gd name="connsiteY106" fmla="*/ 6233641 h 6858000"/>
              <a:gd name="connsiteX107" fmla="*/ 1146197 w 12198355"/>
              <a:gd name="connsiteY107" fmla="*/ 6232335 h 6858000"/>
              <a:gd name="connsiteX108" fmla="*/ 1144932 w 12198355"/>
              <a:gd name="connsiteY108" fmla="*/ 6231455 h 6858000"/>
              <a:gd name="connsiteX109" fmla="*/ 1143384 w 12198355"/>
              <a:gd name="connsiteY109" fmla="*/ 6231132 h 6858000"/>
              <a:gd name="connsiteX110" fmla="*/ 1106434 w 12198355"/>
              <a:gd name="connsiteY110" fmla="*/ 6231132 h 6858000"/>
              <a:gd name="connsiteX111" fmla="*/ 1254739 w 12198355"/>
              <a:gd name="connsiteY111" fmla="*/ 6229607 h 6858000"/>
              <a:gd name="connsiteX112" fmla="*/ 1250024 w 12198355"/>
              <a:gd name="connsiteY112" fmla="*/ 6229850 h 6858000"/>
              <a:gd name="connsiteX113" fmla="*/ 1244879 w 12198355"/>
              <a:gd name="connsiteY113" fmla="*/ 6230637 h 6858000"/>
              <a:gd name="connsiteX114" fmla="*/ 1239513 w 12198355"/>
              <a:gd name="connsiteY114" fmla="*/ 6232052 h 6858000"/>
              <a:gd name="connsiteX115" fmla="*/ 1234133 w 12198355"/>
              <a:gd name="connsiteY115" fmla="*/ 6234183 h 6858000"/>
              <a:gd name="connsiteX116" fmla="*/ 1228947 w 12198355"/>
              <a:gd name="connsiteY116" fmla="*/ 6237114 h 6858000"/>
              <a:gd name="connsiteX117" fmla="*/ 1224162 w 12198355"/>
              <a:gd name="connsiteY117" fmla="*/ 6240933 h 6858000"/>
              <a:gd name="connsiteX118" fmla="*/ 1219987 w 12198355"/>
              <a:gd name="connsiteY118" fmla="*/ 6245723 h 6858000"/>
              <a:gd name="connsiteX119" fmla="*/ 1216628 w 12198355"/>
              <a:gd name="connsiteY119" fmla="*/ 6251572 h 6858000"/>
              <a:gd name="connsiteX120" fmla="*/ 1216628 w 12198355"/>
              <a:gd name="connsiteY120" fmla="*/ 6235238 h 6858000"/>
              <a:gd name="connsiteX121" fmla="*/ 1216316 w 12198355"/>
              <a:gd name="connsiteY121" fmla="*/ 6233640 h 6858000"/>
              <a:gd name="connsiteX122" fmla="*/ 1215463 w 12198355"/>
              <a:gd name="connsiteY122" fmla="*/ 6232335 h 6858000"/>
              <a:gd name="connsiteX123" fmla="*/ 1214199 w 12198355"/>
              <a:gd name="connsiteY123" fmla="*/ 6231454 h 6858000"/>
              <a:gd name="connsiteX124" fmla="*/ 1212650 w 12198355"/>
              <a:gd name="connsiteY124" fmla="*/ 6231132 h 6858000"/>
              <a:gd name="connsiteX125" fmla="*/ 1177178 w 12198355"/>
              <a:gd name="connsiteY125" fmla="*/ 6231132 h 6858000"/>
              <a:gd name="connsiteX126" fmla="*/ 1175630 w 12198355"/>
              <a:gd name="connsiteY126" fmla="*/ 6231454 h 6858000"/>
              <a:gd name="connsiteX127" fmla="*/ 1174366 w 12198355"/>
              <a:gd name="connsiteY127" fmla="*/ 6232335 h 6858000"/>
              <a:gd name="connsiteX128" fmla="*/ 1173513 w 12198355"/>
              <a:gd name="connsiteY128" fmla="*/ 6233640 h 6858000"/>
              <a:gd name="connsiteX129" fmla="*/ 1173201 w 12198355"/>
              <a:gd name="connsiteY129" fmla="*/ 6235238 h 6858000"/>
              <a:gd name="connsiteX130" fmla="*/ 1173201 w 12198355"/>
              <a:gd name="connsiteY130" fmla="*/ 6378642 h 6858000"/>
              <a:gd name="connsiteX131" fmla="*/ 1173513 w 12198355"/>
              <a:gd name="connsiteY131" fmla="*/ 6380242 h 6858000"/>
              <a:gd name="connsiteX132" fmla="*/ 1174366 w 12198355"/>
              <a:gd name="connsiteY132" fmla="*/ 6381548 h 6858000"/>
              <a:gd name="connsiteX133" fmla="*/ 1175630 w 12198355"/>
              <a:gd name="connsiteY133" fmla="*/ 6382428 h 6858000"/>
              <a:gd name="connsiteX134" fmla="*/ 1177178 w 12198355"/>
              <a:gd name="connsiteY134" fmla="*/ 6382751 h 6858000"/>
              <a:gd name="connsiteX135" fmla="*/ 1214127 w 12198355"/>
              <a:gd name="connsiteY135" fmla="*/ 6382751 h 6858000"/>
              <a:gd name="connsiteX136" fmla="*/ 1215676 w 12198355"/>
              <a:gd name="connsiteY136" fmla="*/ 6382428 h 6858000"/>
              <a:gd name="connsiteX137" fmla="*/ 1216940 w 12198355"/>
              <a:gd name="connsiteY137" fmla="*/ 6381548 h 6858000"/>
              <a:gd name="connsiteX138" fmla="*/ 1217792 w 12198355"/>
              <a:gd name="connsiteY138" fmla="*/ 6380242 h 6858000"/>
              <a:gd name="connsiteX139" fmla="*/ 1218105 w 12198355"/>
              <a:gd name="connsiteY139" fmla="*/ 6378642 h 6858000"/>
              <a:gd name="connsiteX140" fmla="*/ 1218105 w 12198355"/>
              <a:gd name="connsiteY140" fmla="*/ 6316549 h 6858000"/>
              <a:gd name="connsiteX141" fmla="*/ 1218497 w 12198355"/>
              <a:gd name="connsiteY141" fmla="*/ 6308781 h 6858000"/>
              <a:gd name="connsiteX142" fmla="*/ 1219630 w 12198355"/>
              <a:gd name="connsiteY142" fmla="*/ 6301926 h 6858000"/>
              <a:gd name="connsiteX143" fmla="*/ 1221437 w 12198355"/>
              <a:gd name="connsiteY143" fmla="*/ 6295946 h 6858000"/>
              <a:gd name="connsiteX144" fmla="*/ 1223855 w 12198355"/>
              <a:gd name="connsiteY144" fmla="*/ 6290807 h 6858000"/>
              <a:gd name="connsiteX145" fmla="*/ 1226817 w 12198355"/>
              <a:gd name="connsiteY145" fmla="*/ 6286470 h 6858000"/>
              <a:gd name="connsiteX146" fmla="*/ 1230259 w 12198355"/>
              <a:gd name="connsiteY146" fmla="*/ 6282901 h 6858000"/>
              <a:gd name="connsiteX147" fmla="*/ 1234115 w 12198355"/>
              <a:gd name="connsiteY147" fmla="*/ 6280062 h 6858000"/>
              <a:gd name="connsiteX148" fmla="*/ 1238320 w 12198355"/>
              <a:gd name="connsiteY148" fmla="*/ 6277917 h 6858000"/>
              <a:gd name="connsiteX149" fmla="*/ 1242809 w 12198355"/>
              <a:gd name="connsiteY149" fmla="*/ 6276430 h 6858000"/>
              <a:gd name="connsiteX150" fmla="*/ 1247516 w 12198355"/>
              <a:gd name="connsiteY150" fmla="*/ 6275565 h 6858000"/>
              <a:gd name="connsiteX151" fmla="*/ 1252376 w 12198355"/>
              <a:gd name="connsiteY151" fmla="*/ 6275284 h 6858000"/>
              <a:gd name="connsiteX152" fmla="*/ 1254599 w 12198355"/>
              <a:gd name="connsiteY152" fmla="*/ 6275312 h 6858000"/>
              <a:gd name="connsiteX153" fmla="*/ 1256730 w 12198355"/>
              <a:gd name="connsiteY153" fmla="*/ 6275402 h 6858000"/>
              <a:gd name="connsiteX154" fmla="*/ 1258821 w 12198355"/>
              <a:gd name="connsiteY154" fmla="*/ 6275565 h 6858000"/>
              <a:gd name="connsiteX155" fmla="*/ 1260894 w 12198355"/>
              <a:gd name="connsiteY155" fmla="*/ 6275809 h 6858000"/>
              <a:gd name="connsiteX156" fmla="*/ 1262471 w 12198355"/>
              <a:gd name="connsiteY156" fmla="*/ 6275713 h 6858000"/>
              <a:gd name="connsiteX157" fmla="*/ 1263347 w 12198355"/>
              <a:gd name="connsiteY157" fmla="*/ 6275284 h 6858000"/>
              <a:gd name="connsiteX158" fmla="*/ 1263848 w 12198355"/>
              <a:gd name="connsiteY158" fmla="*/ 6275039 h 6858000"/>
              <a:gd name="connsiteX159" fmla="*/ 1264877 w 12198355"/>
              <a:gd name="connsiteY159" fmla="*/ 6273889 h 6858000"/>
              <a:gd name="connsiteX160" fmla="*/ 1265415 w 12198355"/>
              <a:gd name="connsiteY160" fmla="*/ 6272363 h 6858000"/>
              <a:gd name="connsiteX161" fmla="*/ 1268444 w 12198355"/>
              <a:gd name="connsiteY161" fmla="*/ 6251572 h 6858000"/>
              <a:gd name="connsiteX162" fmla="*/ 1270750 w 12198355"/>
              <a:gd name="connsiteY162" fmla="*/ 6235738 h 6858000"/>
              <a:gd name="connsiteX163" fmla="*/ 1270687 w 12198355"/>
              <a:gd name="connsiteY163" fmla="*/ 6234167 h 6858000"/>
              <a:gd name="connsiteX164" fmla="*/ 1264312 w 12198355"/>
              <a:gd name="connsiteY164" fmla="*/ 6230481 h 6858000"/>
              <a:gd name="connsiteX165" fmla="*/ 1257574 w 12198355"/>
              <a:gd name="connsiteY165" fmla="*/ 6229712 h 6858000"/>
              <a:gd name="connsiteX166" fmla="*/ 1254739 w 12198355"/>
              <a:gd name="connsiteY166" fmla="*/ 6229607 h 6858000"/>
              <a:gd name="connsiteX167" fmla="*/ 1017052 w 12198355"/>
              <a:gd name="connsiteY167" fmla="*/ 6227471 h 6858000"/>
              <a:gd name="connsiteX168" fmla="*/ 1010253 w 12198355"/>
              <a:gd name="connsiteY168" fmla="*/ 6227809 h 6858000"/>
              <a:gd name="connsiteX169" fmla="*/ 1003864 w 12198355"/>
              <a:gd name="connsiteY169" fmla="*/ 6228772 h 6858000"/>
              <a:gd name="connsiteX170" fmla="*/ 997926 w 12198355"/>
              <a:gd name="connsiteY170" fmla="*/ 6230284 h 6858000"/>
              <a:gd name="connsiteX171" fmla="*/ 992476 w 12198355"/>
              <a:gd name="connsiteY171" fmla="*/ 6232272 h 6858000"/>
              <a:gd name="connsiteX172" fmla="*/ 987553 w 12198355"/>
              <a:gd name="connsiteY172" fmla="*/ 6234658 h 6858000"/>
              <a:gd name="connsiteX173" fmla="*/ 983198 w 12198355"/>
              <a:gd name="connsiteY173" fmla="*/ 6237369 h 6858000"/>
              <a:gd name="connsiteX174" fmla="*/ 979447 w 12198355"/>
              <a:gd name="connsiteY174" fmla="*/ 6240328 h 6858000"/>
              <a:gd name="connsiteX175" fmla="*/ 973919 w 12198355"/>
              <a:gd name="connsiteY175" fmla="*/ 6246690 h 6858000"/>
              <a:gd name="connsiteX176" fmla="*/ 973919 w 12198355"/>
              <a:gd name="connsiteY176" fmla="*/ 6235238 h 6858000"/>
              <a:gd name="connsiteX177" fmla="*/ 973606 w 12198355"/>
              <a:gd name="connsiteY177" fmla="*/ 6233640 h 6858000"/>
              <a:gd name="connsiteX178" fmla="*/ 972754 w 12198355"/>
              <a:gd name="connsiteY178" fmla="*/ 6232335 h 6858000"/>
              <a:gd name="connsiteX179" fmla="*/ 971489 w 12198355"/>
              <a:gd name="connsiteY179" fmla="*/ 6231454 h 6858000"/>
              <a:gd name="connsiteX180" fmla="*/ 969940 w 12198355"/>
              <a:gd name="connsiteY180" fmla="*/ 6231132 h 6858000"/>
              <a:gd name="connsiteX181" fmla="*/ 934469 w 12198355"/>
              <a:gd name="connsiteY181" fmla="*/ 6231132 h 6858000"/>
              <a:gd name="connsiteX182" fmla="*/ 932920 w 12198355"/>
              <a:gd name="connsiteY182" fmla="*/ 6231454 h 6858000"/>
              <a:gd name="connsiteX183" fmla="*/ 931655 w 12198355"/>
              <a:gd name="connsiteY183" fmla="*/ 6232335 h 6858000"/>
              <a:gd name="connsiteX184" fmla="*/ 930803 w 12198355"/>
              <a:gd name="connsiteY184" fmla="*/ 6233640 h 6858000"/>
              <a:gd name="connsiteX185" fmla="*/ 930490 w 12198355"/>
              <a:gd name="connsiteY185" fmla="*/ 6235238 h 6858000"/>
              <a:gd name="connsiteX186" fmla="*/ 930490 w 12198355"/>
              <a:gd name="connsiteY186" fmla="*/ 6436605 h 6858000"/>
              <a:gd name="connsiteX187" fmla="*/ 930803 w 12198355"/>
              <a:gd name="connsiteY187" fmla="*/ 6438204 h 6858000"/>
              <a:gd name="connsiteX188" fmla="*/ 931655 w 12198355"/>
              <a:gd name="connsiteY188" fmla="*/ 6439509 h 6858000"/>
              <a:gd name="connsiteX189" fmla="*/ 932920 w 12198355"/>
              <a:gd name="connsiteY189" fmla="*/ 6440389 h 6858000"/>
              <a:gd name="connsiteX190" fmla="*/ 934469 w 12198355"/>
              <a:gd name="connsiteY190" fmla="*/ 6440712 h 6858000"/>
              <a:gd name="connsiteX191" fmla="*/ 971418 w 12198355"/>
              <a:gd name="connsiteY191" fmla="*/ 6440712 h 6858000"/>
              <a:gd name="connsiteX192" fmla="*/ 972966 w 12198355"/>
              <a:gd name="connsiteY192" fmla="*/ 6440389 h 6858000"/>
              <a:gd name="connsiteX193" fmla="*/ 974230 w 12198355"/>
              <a:gd name="connsiteY193" fmla="*/ 6439509 h 6858000"/>
              <a:gd name="connsiteX194" fmla="*/ 975083 w 12198355"/>
              <a:gd name="connsiteY194" fmla="*/ 6438204 h 6858000"/>
              <a:gd name="connsiteX195" fmla="*/ 975395 w 12198355"/>
              <a:gd name="connsiteY195" fmla="*/ 6436605 h 6858000"/>
              <a:gd name="connsiteX196" fmla="*/ 975395 w 12198355"/>
              <a:gd name="connsiteY196" fmla="*/ 6370853 h 6858000"/>
              <a:gd name="connsiteX197" fmla="*/ 978285 w 12198355"/>
              <a:gd name="connsiteY197" fmla="*/ 6373960 h 6858000"/>
              <a:gd name="connsiteX198" fmla="*/ 981835 w 12198355"/>
              <a:gd name="connsiteY198" fmla="*/ 6376839 h 6858000"/>
              <a:gd name="connsiteX199" fmla="*/ 986016 w 12198355"/>
              <a:gd name="connsiteY199" fmla="*/ 6379433 h 6858000"/>
              <a:gd name="connsiteX200" fmla="*/ 990795 w 12198355"/>
              <a:gd name="connsiteY200" fmla="*/ 6381683 h 6858000"/>
              <a:gd name="connsiteX201" fmla="*/ 996142 w 12198355"/>
              <a:gd name="connsiteY201" fmla="*/ 6383532 h 6858000"/>
              <a:gd name="connsiteX202" fmla="*/ 1002026 w 12198355"/>
              <a:gd name="connsiteY202" fmla="*/ 6384925 h 6858000"/>
              <a:gd name="connsiteX203" fmla="*/ 1008415 w 12198355"/>
              <a:gd name="connsiteY203" fmla="*/ 6385802 h 6858000"/>
              <a:gd name="connsiteX204" fmla="*/ 1015278 w 12198355"/>
              <a:gd name="connsiteY204" fmla="*/ 6386107 h 6858000"/>
              <a:gd name="connsiteX205" fmla="*/ 1020801 w 12198355"/>
              <a:gd name="connsiteY205" fmla="*/ 6385903 h 6858000"/>
              <a:gd name="connsiteX206" fmla="*/ 1026165 w 12198355"/>
              <a:gd name="connsiteY206" fmla="*/ 6385298 h 6858000"/>
              <a:gd name="connsiteX207" fmla="*/ 1031359 w 12198355"/>
              <a:gd name="connsiteY207" fmla="*/ 6384303 h 6858000"/>
              <a:gd name="connsiteX208" fmla="*/ 1036375 w 12198355"/>
              <a:gd name="connsiteY208" fmla="*/ 6382930 h 6858000"/>
              <a:gd name="connsiteX209" fmla="*/ 1041203 w 12198355"/>
              <a:gd name="connsiteY209" fmla="*/ 6381190 h 6858000"/>
              <a:gd name="connsiteX210" fmla="*/ 1045833 w 12198355"/>
              <a:gd name="connsiteY210" fmla="*/ 6379095 h 6858000"/>
              <a:gd name="connsiteX211" fmla="*/ 1050256 w 12198355"/>
              <a:gd name="connsiteY211" fmla="*/ 6376656 h 6858000"/>
              <a:gd name="connsiteX212" fmla="*/ 1054462 w 12198355"/>
              <a:gd name="connsiteY212" fmla="*/ 6373884 h 6858000"/>
              <a:gd name="connsiteX213" fmla="*/ 1058363 w 12198355"/>
              <a:gd name="connsiteY213" fmla="*/ 6370853 h 6858000"/>
              <a:gd name="connsiteX214" fmla="*/ 1062187 w 12198355"/>
              <a:gd name="connsiteY214" fmla="*/ 6367387 h 6858000"/>
              <a:gd name="connsiteX215" fmla="*/ 1065687 w 12198355"/>
              <a:gd name="connsiteY215" fmla="*/ 6363684 h 6858000"/>
              <a:gd name="connsiteX216" fmla="*/ 1068932 w 12198355"/>
              <a:gd name="connsiteY216" fmla="*/ 6359694 h 6858000"/>
              <a:gd name="connsiteX217" fmla="*/ 1071913 w 12198355"/>
              <a:gd name="connsiteY217" fmla="*/ 6355428 h 6858000"/>
              <a:gd name="connsiteX218" fmla="*/ 1074621 w 12198355"/>
              <a:gd name="connsiteY218" fmla="*/ 6350898 h 6858000"/>
              <a:gd name="connsiteX219" fmla="*/ 1077046 w 12198355"/>
              <a:gd name="connsiteY219" fmla="*/ 6346114 h 6858000"/>
              <a:gd name="connsiteX220" fmla="*/ 1077680 w 12198355"/>
              <a:gd name="connsiteY220" fmla="*/ 6344618 h 6858000"/>
              <a:gd name="connsiteX221" fmla="*/ 1081008 w 12198355"/>
              <a:gd name="connsiteY221" fmla="*/ 6335831 h 6858000"/>
              <a:gd name="connsiteX222" fmla="*/ 1082527 w 12198355"/>
              <a:gd name="connsiteY222" fmla="*/ 6330355 h 6858000"/>
              <a:gd name="connsiteX223" fmla="*/ 1083727 w 12198355"/>
              <a:gd name="connsiteY223" fmla="*/ 6324652 h 6858000"/>
              <a:gd name="connsiteX224" fmla="*/ 1084591 w 12198355"/>
              <a:gd name="connsiteY224" fmla="*/ 6318790 h 6858000"/>
              <a:gd name="connsiteX225" fmla="*/ 1085119 w 12198355"/>
              <a:gd name="connsiteY225" fmla="*/ 6312724 h 6858000"/>
              <a:gd name="connsiteX226" fmla="*/ 1085297 w 12198355"/>
              <a:gd name="connsiteY226" fmla="*/ 6306484 h 6858000"/>
              <a:gd name="connsiteX227" fmla="*/ 1085138 w 12198355"/>
              <a:gd name="connsiteY227" fmla="*/ 6300361 h 6858000"/>
              <a:gd name="connsiteX228" fmla="*/ 1084666 w 12198355"/>
              <a:gd name="connsiteY228" fmla="*/ 6294398 h 6858000"/>
              <a:gd name="connsiteX229" fmla="*/ 1083885 w 12198355"/>
              <a:gd name="connsiteY229" fmla="*/ 6288607 h 6858000"/>
              <a:gd name="connsiteX230" fmla="*/ 1082801 w 12198355"/>
              <a:gd name="connsiteY230" fmla="*/ 6283000 h 6858000"/>
              <a:gd name="connsiteX231" fmla="*/ 1081418 w 12198355"/>
              <a:gd name="connsiteY231" fmla="*/ 6277590 h 6858000"/>
              <a:gd name="connsiteX232" fmla="*/ 1079741 w 12198355"/>
              <a:gd name="connsiteY232" fmla="*/ 6272388 h 6858000"/>
              <a:gd name="connsiteX233" fmla="*/ 1078509 w 12198355"/>
              <a:gd name="connsiteY233" fmla="*/ 6269265 h 6858000"/>
              <a:gd name="connsiteX234" fmla="*/ 1077776 w 12198355"/>
              <a:gd name="connsiteY234" fmla="*/ 6267406 h 6858000"/>
              <a:gd name="connsiteX235" fmla="*/ 1075527 w 12198355"/>
              <a:gd name="connsiteY235" fmla="*/ 6262658 h 6858000"/>
              <a:gd name="connsiteX236" fmla="*/ 1072999 w 12198355"/>
              <a:gd name="connsiteY236" fmla="*/ 6258154 h 6858000"/>
              <a:gd name="connsiteX237" fmla="*/ 1070198 w 12198355"/>
              <a:gd name="connsiteY237" fmla="*/ 6253908 h 6858000"/>
              <a:gd name="connsiteX238" fmla="*/ 1067128 w 12198355"/>
              <a:gd name="connsiteY238" fmla="*/ 6249932 h 6858000"/>
              <a:gd name="connsiteX239" fmla="*/ 1064203 w 12198355"/>
              <a:gd name="connsiteY239" fmla="*/ 6246690 h 6858000"/>
              <a:gd name="connsiteX240" fmla="*/ 1060201 w 12198355"/>
              <a:gd name="connsiteY240" fmla="*/ 6242836 h 6858000"/>
              <a:gd name="connsiteX241" fmla="*/ 1056355 w 12198355"/>
              <a:gd name="connsiteY241" fmla="*/ 6239742 h 6858000"/>
              <a:gd name="connsiteX242" fmla="*/ 1052260 w 12198355"/>
              <a:gd name="connsiteY242" fmla="*/ 6236966 h 6858000"/>
              <a:gd name="connsiteX243" fmla="*/ 1047922 w 12198355"/>
              <a:gd name="connsiteY243" fmla="*/ 6234520 h 6858000"/>
              <a:gd name="connsiteX244" fmla="*/ 1043344 w 12198355"/>
              <a:gd name="connsiteY244" fmla="*/ 6232417 h 6858000"/>
              <a:gd name="connsiteX245" fmla="*/ 1038533 w 12198355"/>
              <a:gd name="connsiteY245" fmla="*/ 6230669 h 6858000"/>
              <a:gd name="connsiteX246" fmla="*/ 1033494 w 12198355"/>
              <a:gd name="connsiteY246" fmla="*/ 6229288 h 6858000"/>
              <a:gd name="connsiteX247" fmla="*/ 1028230 w 12198355"/>
              <a:gd name="connsiteY247" fmla="*/ 6228287 h 6858000"/>
              <a:gd name="connsiteX248" fmla="*/ 1022748 w 12198355"/>
              <a:gd name="connsiteY248" fmla="*/ 6227677 h 6858000"/>
              <a:gd name="connsiteX249" fmla="*/ 1017052 w 12198355"/>
              <a:gd name="connsiteY249" fmla="*/ 6227471 h 6858000"/>
              <a:gd name="connsiteX250" fmla="*/ 1518121 w 12198355"/>
              <a:gd name="connsiteY250" fmla="*/ 6226556 h 6858000"/>
              <a:gd name="connsiteX251" fmla="*/ 1512547 w 12198355"/>
              <a:gd name="connsiteY251" fmla="*/ 6226743 h 6858000"/>
              <a:gd name="connsiteX252" fmla="*/ 1507086 w 12198355"/>
              <a:gd name="connsiteY252" fmla="*/ 6227298 h 6858000"/>
              <a:gd name="connsiteX253" fmla="*/ 1501751 w 12198355"/>
              <a:gd name="connsiteY253" fmla="*/ 6228211 h 6858000"/>
              <a:gd name="connsiteX254" fmla="*/ 1496554 w 12198355"/>
              <a:gd name="connsiteY254" fmla="*/ 6229472 h 6858000"/>
              <a:gd name="connsiteX255" fmla="*/ 1491508 w 12198355"/>
              <a:gd name="connsiteY255" fmla="*/ 6231073 h 6858000"/>
              <a:gd name="connsiteX256" fmla="*/ 1486625 w 12198355"/>
              <a:gd name="connsiteY256" fmla="*/ 6233004 h 6858000"/>
              <a:gd name="connsiteX257" fmla="*/ 1481918 w 12198355"/>
              <a:gd name="connsiteY257" fmla="*/ 6235254 h 6858000"/>
              <a:gd name="connsiteX258" fmla="*/ 1477398 w 12198355"/>
              <a:gd name="connsiteY258" fmla="*/ 6237816 h 6858000"/>
              <a:gd name="connsiteX259" fmla="*/ 1473080 w 12198355"/>
              <a:gd name="connsiteY259" fmla="*/ 6240679 h 6858000"/>
              <a:gd name="connsiteX260" fmla="*/ 1468975 w 12198355"/>
              <a:gd name="connsiteY260" fmla="*/ 6243834 h 6858000"/>
              <a:gd name="connsiteX261" fmla="*/ 1465095 w 12198355"/>
              <a:gd name="connsiteY261" fmla="*/ 6247271 h 6858000"/>
              <a:gd name="connsiteX262" fmla="*/ 1461455 w 12198355"/>
              <a:gd name="connsiteY262" fmla="*/ 6250981 h 6858000"/>
              <a:gd name="connsiteX263" fmla="*/ 1458064 w 12198355"/>
              <a:gd name="connsiteY263" fmla="*/ 6254955 h 6858000"/>
              <a:gd name="connsiteX264" fmla="*/ 1454938 w 12198355"/>
              <a:gd name="connsiteY264" fmla="*/ 6259182 h 6858000"/>
              <a:gd name="connsiteX265" fmla="*/ 1452087 w 12198355"/>
              <a:gd name="connsiteY265" fmla="*/ 6263654 h 6858000"/>
              <a:gd name="connsiteX266" fmla="*/ 1449525 w 12198355"/>
              <a:gd name="connsiteY266" fmla="*/ 6268361 h 6858000"/>
              <a:gd name="connsiteX267" fmla="*/ 1447263 w 12198355"/>
              <a:gd name="connsiteY267" fmla="*/ 6273294 h 6858000"/>
              <a:gd name="connsiteX268" fmla="*/ 1445310 w 12198355"/>
              <a:gd name="connsiteY268" fmla="*/ 6278461 h 6858000"/>
              <a:gd name="connsiteX269" fmla="*/ 1443694 w 12198355"/>
              <a:gd name="connsiteY269" fmla="*/ 6283797 h 6858000"/>
              <a:gd name="connsiteX270" fmla="*/ 1442411 w 12198355"/>
              <a:gd name="connsiteY270" fmla="*/ 6289349 h 6858000"/>
              <a:gd name="connsiteX271" fmla="*/ 1441479 w 12198355"/>
              <a:gd name="connsiteY271" fmla="*/ 6295089 h 6858000"/>
              <a:gd name="connsiteX272" fmla="*/ 1440910 w 12198355"/>
              <a:gd name="connsiteY272" fmla="*/ 6301007 h 6858000"/>
              <a:gd name="connsiteX273" fmla="*/ 1440718 w 12198355"/>
              <a:gd name="connsiteY273" fmla="*/ 6307094 h 6858000"/>
              <a:gd name="connsiteX274" fmla="*/ 1440899 w 12198355"/>
              <a:gd name="connsiteY274" fmla="*/ 6312893 h 6858000"/>
              <a:gd name="connsiteX275" fmla="*/ 1441435 w 12198355"/>
              <a:gd name="connsiteY275" fmla="*/ 6318541 h 6858000"/>
              <a:gd name="connsiteX276" fmla="*/ 1442314 w 12198355"/>
              <a:gd name="connsiteY276" fmla="*/ 6324029 h 6858000"/>
              <a:gd name="connsiteX277" fmla="*/ 1443524 w 12198355"/>
              <a:gd name="connsiteY277" fmla="*/ 6329349 h 6858000"/>
              <a:gd name="connsiteX278" fmla="*/ 1445055 w 12198355"/>
              <a:gd name="connsiteY278" fmla="*/ 6334492 h 6858000"/>
              <a:gd name="connsiteX279" fmla="*/ 1446894 w 12198355"/>
              <a:gd name="connsiteY279" fmla="*/ 6339450 h 6858000"/>
              <a:gd name="connsiteX280" fmla="*/ 1449030 w 12198355"/>
              <a:gd name="connsiteY280" fmla="*/ 6344213 h 6858000"/>
              <a:gd name="connsiteX281" fmla="*/ 1451452 w 12198355"/>
              <a:gd name="connsiteY281" fmla="*/ 6348774 h 6858000"/>
              <a:gd name="connsiteX282" fmla="*/ 1454147 w 12198355"/>
              <a:gd name="connsiteY282" fmla="*/ 6353125 h 6858000"/>
              <a:gd name="connsiteX283" fmla="*/ 1457105 w 12198355"/>
              <a:gd name="connsiteY283" fmla="*/ 6357256 h 6858000"/>
              <a:gd name="connsiteX284" fmla="*/ 1460313 w 12198355"/>
              <a:gd name="connsiteY284" fmla="*/ 6361160 h 6858000"/>
              <a:gd name="connsiteX285" fmla="*/ 1463761 w 12198355"/>
              <a:gd name="connsiteY285" fmla="*/ 6364827 h 6858000"/>
              <a:gd name="connsiteX286" fmla="*/ 1467436 w 12198355"/>
              <a:gd name="connsiteY286" fmla="*/ 6368250 h 6858000"/>
              <a:gd name="connsiteX287" fmla="*/ 1471328 w 12198355"/>
              <a:gd name="connsiteY287" fmla="*/ 6371419 h 6858000"/>
              <a:gd name="connsiteX288" fmla="*/ 1475425 w 12198355"/>
              <a:gd name="connsiteY288" fmla="*/ 6374327 h 6858000"/>
              <a:gd name="connsiteX289" fmla="*/ 1479714 w 12198355"/>
              <a:gd name="connsiteY289" fmla="*/ 6376964 h 6858000"/>
              <a:gd name="connsiteX290" fmla="*/ 1484185 w 12198355"/>
              <a:gd name="connsiteY290" fmla="*/ 6379324 h 6858000"/>
              <a:gd name="connsiteX291" fmla="*/ 1488826 w 12198355"/>
              <a:gd name="connsiteY291" fmla="*/ 6381396 h 6858000"/>
              <a:gd name="connsiteX292" fmla="*/ 1493626 w 12198355"/>
              <a:gd name="connsiteY292" fmla="*/ 6383172 h 6858000"/>
              <a:gd name="connsiteX293" fmla="*/ 1498572 w 12198355"/>
              <a:gd name="connsiteY293" fmla="*/ 6384645 h 6858000"/>
              <a:gd name="connsiteX294" fmla="*/ 1503654 w 12198355"/>
              <a:gd name="connsiteY294" fmla="*/ 6385805 h 6858000"/>
              <a:gd name="connsiteX295" fmla="*/ 1508860 w 12198355"/>
              <a:gd name="connsiteY295" fmla="*/ 6386644 h 6858000"/>
              <a:gd name="connsiteX296" fmla="*/ 1514178 w 12198355"/>
              <a:gd name="connsiteY296" fmla="*/ 6387153 h 6858000"/>
              <a:gd name="connsiteX297" fmla="*/ 1519597 w 12198355"/>
              <a:gd name="connsiteY297" fmla="*/ 6387325 h 6858000"/>
              <a:gd name="connsiteX298" fmla="*/ 1526428 w 12198355"/>
              <a:gd name="connsiteY298" fmla="*/ 6387054 h 6858000"/>
              <a:gd name="connsiteX299" fmla="*/ 1532938 w 12198355"/>
              <a:gd name="connsiteY299" fmla="*/ 6386261 h 6858000"/>
              <a:gd name="connsiteX300" fmla="*/ 1539123 w 12198355"/>
              <a:gd name="connsiteY300" fmla="*/ 6384980 h 6858000"/>
              <a:gd name="connsiteX301" fmla="*/ 1544980 w 12198355"/>
              <a:gd name="connsiteY301" fmla="*/ 6383243 h 6858000"/>
              <a:gd name="connsiteX302" fmla="*/ 1550506 w 12198355"/>
              <a:gd name="connsiteY302" fmla="*/ 6381082 h 6858000"/>
              <a:gd name="connsiteX303" fmla="*/ 1555698 w 12198355"/>
              <a:gd name="connsiteY303" fmla="*/ 6378529 h 6858000"/>
              <a:gd name="connsiteX304" fmla="*/ 1560552 w 12198355"/>
              <a:gd name="connsiteY304" fmla="*/ 6375618 h 6858000"/>
              <a:gd name="connsiteX305" fmla="*/ 1565064 w 12198355"/>
              <a:gd name="connsiteY305" fmla="*/ 6372380 h 6858000"/>
              <a:gd name="connsiteX306" fmla="*/ 1569232 w 12198355"/>
              <a:gd name="connsiteY306" fmla="*/ 6368848 h 6858000"/>
              <a:gd name="connsiteX307" fmla="*/ 1573052 w 12198355"/>
              <a:gd name="connsiteY307" fmla="*/ 6365054 h 6858000"/>
              <a:gd name="connsiteX308" fmla="*/ 1576520 w 12198355"/>
              <a:gd name="connsiteY308" fmla="*/ 6361031 h 6858000"/>
              <a:gd name="connsiteX309" fmla="*/ 1579635 w 12198355"/>
              <a:gd name="connsiteY309" fmla="*/ 6356812 h 6858000"/>
              <a:gd name="connsiteX310" fmla="*/ 1582391 w 12198355"/>
              <a:gd name="connsiteY310" fmla="*/ 6352428 h 6858000"/>
              <a:gd name="connsiteX311" fmla="*/ 1584786 w 12198355"/>
              <a:gd name="connsiteY311" fmla="*/ 6347913 h 6858000"/>
              <a:gd name="connsiteX312" fmla="*/ 1586236 w 12198355"/>
              <a:gd name="connsiteY312" fmla="*/ 6344617 h 6858000"/>
              <a:gd name="connsiteX313" fmla="*/ 1586816 w 12198355"/>
              <a:gd name="connsiteY313" fmla="*/ 6343297 h 6858000"/>
              <a:gd name="connsiteX314" fmla="*/ 1588479 w 12198355"/>
              <a:gd name="connsiteY314" fmla="*/ 6338615 h 6858000"/>
              <a:gd name="connsiteX315" fmla="*/ 1588664 w 12198355"/>
              <a:gd name="connsiteY315" fmla="*/ 6336960 h 6858000"/>
              <a:gd name="connsiteX316" fmla="*/ 1588235 w 12198355"/>
              <a:gd name="connsiteY316" fmla="*/ 6335417 h 6858000"/>
              <a:gd name="connsiteX317" fmla="*/ 1587274 w 12198355"/>
              <a:gd name="connsiteY317" fmla="*/ 6334160 h 6858000"/>
              <a:gd name="connsiteX318" fmla="*/ 1585862 w 12198355"/>
              <a:gd name="connsiteY318" fmla="*/ 6333362 h 6858000"/>
              <a:gd name="connsiteX319" fmla="*/ 1553627 w 12198355"/>
              <a:gd name="connsiteY319" fmla="*/ 6323178 h 6858000"/>
              <a:gd name="connsiteX320" fmla="*/ 1552160 w 12198355"/>
              <a:gd name="connsiteY320" fmla="*/ 6323012 h 6858000"/>
              <a:gd name="connsiteX321" fmla="*/ 1550782 w 12198355"/>
              <a:gd name="connsiteY321" fmla="*/ 6323397 h 6858000"/>
              <a:gd name="connsiteX322" fmla="*/ 1549622 w 12198355"/>
              <a:gd name="connsiteY322" fmla="*/ 6324263 h 6858000"/>
              <a:gd name="connsiteX323" fmla="*/ 1548805 w 12198355"/>
              <a:gd name="connsiteY323" fmla="*/ 6325541 h 6858000"/>
              <a:gd name="connsiteX324" fmla="*/ 1546706 w 12198355"/>
              <a:gd name="connsiteY324" fmla="*/ 6329749 h 6858000"/>
              <a:gd name="connsiteX325" fmla="*/ 1543941 w 12198355"/>
              <a:gd name="connsiteY325" fmla="*/ 6333699 h 6858000"/>
              <a:gd name="connsiteX326" fmla="*/ 1540495 w 12198355"/>
              <a:gd name="connsiteY326" fmla="*/ 6337251 h 6858000"/>
              <a:gd name="connsiteX327" fmla="*/ 1536352 w 12198355"/>
              <a:gd name="connsiteY327" fmla="*/ 6340260 h 6858000"/>
              <a:gd name="connsiteX328" fmla="*/ 1531498 w 12198355"/>
              <a:gd name="connsiteY328" fmla="*/ 6342586 h 6858000"/>
              <a:gd name="connsiteX329" fmla="*/ 1525918 w 12198355"/>
              <a:gd name="connsiteY329" fmla="*/ 6344086 h 6858000"/>
              <a:gd name="connsiteX330" fmla="*/ 1519597 w 12198355"/>
              <a:gd name="connsiteY330" fmla="*/ 6344617 h 6858000"/>
              <a:gd name="connsiteX331" fmla="*/ 1514604 w 12198355"/>
              <a:gd name="connsiteY331" fmla="*/ 6344286 h 6858000"/>
              <a:gd name="connsiteX332" fmla="*/ 1509815 w 12198355"/>
              <a:gd name="connsiteY332" fmla="*/ 6343302 h 6858000"/>
              <a:gd name="connsiteX333" fmla="*/ 1505287 w 12198355"/>
              <a:gd name="connsiteY333" fmla="*/ 6341678 h 6858000"/>
              <a:gd name="connsiteX334" fmla="*/ 1501076 w 12198355"/>
              <a:gd name="connsiteY334" fmla="*/ 6339424 h 6858000"/>
              <a:gd name="connsiteX335" fmla="*/ 1497242 w 12198355"/>
              <a:gd name="connsiteY335" fmla="*/ 6336555 h 6858000"/>
              <a:gd name="connsiteX336" fmla="*/ 1493840 w 12198355"/>
              <a:gd name="connsiteY336" fmla="*/ 6333082 h 6858000"/>
              <a:gd name="connsiteX337" fmla="*/ 1490928 w 12198355"/>
              <a:gd name="connsiteY337" fmla="*/ 6329017 h 6858000"/>
              <a:gd name="connsiteX338" fmla="*/ 1488564 w 12198355"/>
              <a:gd name="connsiteY338" fmla="*/ 6324374 h 6858000"/>
              <a:gd name="connsiteX339" fmla="*/ 1486804 w 12198355"/>
              <a:gd name="connsiteY339" fmla="*/ 6319164 h 6858000"/>
              <a:gd name="connsiteX340" fmla="*/ 1485706 w 12198355"/>
              <a:gd name="connsiteY340" fmla="*/ 6313400 h 6858000"/>
              <a:gd name="connsiteX341" fmla="*/ 1485327 w 12198355"/>
              <a:gd name="connsiteY341" fmla="*/ 6307094 h 6858000"/>
              <a:gd name="connsiteX342" fmla="*/ 1485692 w 12198355"/>
              <a:gd name="connsiteY342" fmla="*/ 6300711 h 6858000"/>
              <a:gd name="connsiteX343" fmla="*/ 1486752 w 12198355"/>
              <a:gd name="connsiteY343" fmla="*/ 6294885 h 6858000"/>
              <a:gd name="connsiteX344" fmla="*/ 1488456 w 12198355"/>
              <a:gd name="connsiteY344" fmla="*/ 6289625 h 6858000"/>
              <a:gd name="connsiteX345" fmla="*/ 1490750 w 12198355"/>
              <a:gd name="connsiteY345" fmla="*/ 6284943 h 6858000"/>
              <a:gd name="connsiteX346" fmla="*/ 1493584 w 12198355"/>
              <a:gd name="connsiteY346" fmla="*/ 6280849 h 6858000"/>
              <a:gd name="connsiteX347" fmla="*/ 1496906 w 12198355"/>
              <a:gd name="connsiteY347" fmla="*/ 6277355 h 6858000"/>
              <a:gd name="connsiteX348" fmla="*/ 1500663 w 12198355"/>
              <a:gd name="connsiteY348" fmla="*/ 6274472 h 6858000"/>
              <a:gd name="connsiteX349" fmla="*/ 1504804 w 12198355"/>
              <a:gd name="connsiteY349" fmla="*/ 6272210 h 6858000"/>
              <a:gd name="connsiteX350" fmla="*/ 1509276 w 12198355"/>
              <a:gd name="connsiteY350" fmla="*/ 6270581 h 6858000"/>
              <a:gd name="connsiteX351" fmla="*/ 1514028 w 12198355"/>
              <a:gd name="connsiteY351" fmla="*/ 6269595 h 6858000"/>
              <a:gd name="connsiteX352" fmla="*/ 1519008 w 12198355"/>
              <a:gd name="connsiteY352" fmla="*/ 6269264 h 6858000"/>
              <a:gd name="connsiteX353" fmla="*/ 1525289 w 12198355"/>
              <a:gd name="connsiteY353" fmla="*/ 6269783 h 6858000"/>
              <a:gd name="connsiteX354" fmla="*/ 1530765 w 12198355"/>
              <a:gd name="connsiteY354" fmla="*/ 6271251 h 6858000"/>
              <a:gd name="connsiteX355" fmla="*/ 1535471 w 12198355"/>
              <a:gd name="connsiteY355" fmla="*/ 6273539 h 6858000"/>
              <a:gd name="connsiteX356" fmla="*/ 1539447 w 12198355"/>
              <a:gd name="connsiteY356" fmla="*/ 6276516 h 6858000"/>
              <a:gd name="connsiteX357" fmla="*/ 1542728 w 12198355"/>
              <a:gd name="connsiteY357" fmla="*/ 6280050 h 6858000"/>
              <a:gd name="connsiteX358" fmla="*/ 1545352 w 12198355"/>
              <a:gd name="connsiteY358" fmla="*/ 6284012 h 6858000"/>
              <a:gd name="connsiteX359" fmla="*/ 1547356 w 12198355"/>
              <a:gd name="connsiteY359" fmla="*/ 6288270 h 6858000"/>
              <a:gd name="connsiteX360" fmla="*/ 1548161 w 12198355"/>
              <a:gd name="connsiteY360" fmla="*/ 6289574 h 6858000"/>
              <a:gd name="connsiteX361" fmla="*/ 1549322 w 12198355"/>
              <a:gd name="connsiteY361" fmla="*/ 6290463 h 6858000"/>
              <a:gd name="connsiteX362" fmla="*/ 1550709 w 12198355"/>
              <a:gd name="connsiteY362" fmla="*/ 6290865 h 6858000"/>
              <a:gd name="connsiteX363" fmla="*/ 1552192 w 12198355"/>
              <a:gd name="connsiteY363" fmla="*/ 6290706 h 6858000"/>
              <a:gd name="connsiteX364" fmla="*/ 1584982 w 12198355"/>
              <a:gd name="connsiteY364" fmla="*/ 6280499 h 6858000"/>
              <a:gd name="connsiteX365" fmla="*/ 1586395 w 12198355"/>
              <a:gd name="connsiteY365" fmla="*/ 6279710 h 6858000"/>
              <a:gd name="connsiteX366" fmla="*/ 1587360 w 12198355"/>
              <a:gd name="connsiteY366" fmla="*/ 6278461 h 6858000"/>
              <a:gd name="connsiteX367" fmla="*/ 1587797 w 12198355"/>
              <a:gd name="connsiteY367" fmla="*/ 6276923 h 6858000"/>
              <a:gd name="connsiteX368" fmla="*/ 1587624 w 12198355"/>
              <a:gd name="connsiteY368" fmla="*/ 6275269 h 6858000"/>
              <a:gd name="connsiteX369" fmla="*/ 1586087 w 12198355"/>
              <a:gd name="connsiteY369" fmla="*/ 6270783 h 6858000"/>
              <a:gd name="connsiteX370" fmla="*/ 1585447 w 12198355"/>
              <a:gd name="connsiteY370" fmla="*/ 6269264 h 6858000"/>
              <a:gd name="connsiteX371" fmla="*/ 1584229 w 12198355"/>
              <a:gd name="connsiteY371" fmla="*/ 6266374 h 6858000"/>
              <a:gd name="connsiteX372" fmla="*/ 1582051 w 12198355"/>
              <a:gd name="connsiteY372" fmla="*/ 6262066 h 6858000"/>
              <a:gd name="connsiteX373" fmla="*/ 1579553 w 12198355"/>
              <a:gd name="connsiteY373" fmla="*/ 6257885 h 6858000"/>
              <a:gd name="connsiteX374" fmla="*/ 1576736 w 12198355"/>
              <a:gd name="connsiteY374" fmla="*/ 6253856 h 6858000"/>
              <a:gd name="connsiteX375" fmla="*/ 1573599 w 12198355"/>
              <a:gd name="connsiteY375" fmla="*/ 6250004 h 6858000"/>
              <a:gd name="connsiteX376" fmla="*/ 1570144 w 12198355"/>
              <a:gd name="connsiteY376" fmla="*/ 6246355 h 6858000"/>
              <a:gd name="connsiteX377" fmla="*/ 1566370 w 12198355"/>
              <a:gd name="connsiteY377" fmla="*/ 6242934 h 6858000"/>
              <a:gd name="connsiteX378" fmla="*/ 1562278 w 12198355"/>
              <a:gd name="connsiteY378" fmla="*/ 6239766 h 6858000"/>
              <a:gd name="connsiteX379" fmla="*/ 1557868 w 12198355"/>
              <a:gd name="connsiteY379" fmla="*/ 6236876 h 6858000"/>
              <a:gd name="connsiteX380" fmla="*/ 1553140 w 12198355"/>
              <a:gd name="connsiteY380" fmla="*/ 6234289 h 6858000"/>
              <a:gd name="connsiteX381" fmla="*/ 1548095 w 12198355"/>
              <a:gd name="connsiteY381" fmla="*/ 6232031 h 6858000"/>
              <a:gd name="connsiteX382" fmla="*/ 1542733 w 12198355"/>
              <a:gd name="connsiteY382" fmla="*/ 6230128 h 6858000"/>
              <a:gd name="connsiteX383" fmla="*/ 1537054 w 12198355"/>
              <a:gd name="connsiteY383" fmla="*/ 6228603 h 6858000"/>
              <a:gd name="connsiteX384" fmla="*/ 1531059 w 12198355"/>
              <a:gd name="connsiteY384" fmla="*/ 6227483 h 6858000"/>
              <a:gd name="connsiteX385" fmla="*/ 1524748 w 12198355"/>
              <a:gd name="connsiteY385" fmla="*/ 6226792 h 6858000"/>
              <a:gd name="connsiteX386" fmla="*/ 1518121 w 12198355"/>
              <a:gd name="connsiteY386" fmla="*/ 6226556 h 6858000"/>
              <a:gd name="connsiteX387" fmla="*/ 1349948 w 12198355"/>
              <a:gd name="connsiteY387" fmla="*/ 6226556 h 6858000"/>
              <a:gd name="connsiteX388" fmla="*/ 1344301 w 12198355"/>
              <a:gd name="connsiteY388" fmla="*/ 6226743 h 6858000"/>
              <a:gd name="connsiteX389" fmla="*/ 1338773 w 12198355"/>
              <a:gd name="connsiteY389" fmla="*/ 6227298 h 6858000"/>
              <a:gd name="connsiteX390" fmla="*/ 1333377 w 12198355"/>
              <a:gd name="connsiteY390" fmla="*/ 6228210 h 6858000"/>
              <a:gd name="connsiteX391" fmla="*/ 1328124 w 12198355"/>
              <a:gd name="connsiteY391" fmla="*/ 6229471 h 6858000"/>
              <a:gd name="connsiteX392" fmla="*/ 1323028 w 12198355"/>
              <a:gd name="connsiteY392" fmla="*/ 6231070 h 6858000"/>
              <a:gd name="connsiteX393" fmla="*/ 1318101 w 12198355"/>
              <a:gd name="connsiteY393" fmla="*/ 6232998 h 6858000"/>
              <a:gd name="connsiteX394" fmla="*/ 1313353 w 12198355"/>
              <a:gd name="connsiteY394" fmla="*/ 6235246 h 6858000"/>
              <a:gd name="connsiteX395" fmla="*/ 1308799 w 12198355"/>
              <a:gd name="connsiteY395" fmla="*/ 6237803 h 6858000"/>
              <a:gd name="connsiteX396" fmla="*/ 1304450 w 12198355"/>
              <a:gd name="connsiteY396" fmla="*/ 6240661 h 6858000"/>
              <a:gd name="connsiteX397" fmla="*/ 1300319 w 12198355"/>
              <a:gd name="connsiteY397" fmla="*/ 6243809 h 6858000"/>
              <a:gd name="connsiteX398" fmla="*/ 1296416 w 12198355"/>
              <a:gd name="connsiteY398" fmla="*/ 6247238 h 6858000"/>
              <a:gd name="connsiteX399" fmla="*/ 1292756 w 12198355"/>
              <a:gd name="connsiteY399" fmla="*/ 6250938 h 6858000"/>
              <a:gd name="connsiteX400" fmla="*/ 1289350 w 12198355"/>
              <a:gd name="connsiteY400" fmla="*/ 6254900 h 6858000"/>
              <a:gd name="connsiteX401" fmla="*/ 1286210 w 12198355"/>
              <a:gd name="connsiteY401" fmla="*/ 6259113 h 6858000"/>
              <a:gd name="connsiteX402" fmla="*/ 1283349 w 12198355"/>
              <a:gd name="connsiteY402" fmla="*/ 6263569 h 6858000"/>
              <a:gd name="connsiteX403" fmla="*/ 1280778 w 12198355"/>
              <a:gd name="connsiteY403" fmla="*/ 6268258 h 6858000"/>
              <a:gd name="connsiteX404" fmla="*/ 1278511 w 12198355"/>
              <a:gd name="connsiteY404" fmla="*/ 6273170 h 6858000"/>
              <a:gd name="connsiteX405" fmla="*/ 1276559 w 12198355"/>
              <a:gd name="connsiteY405" fmla="*/ 6278296 h 6858000"/>
              <a:gd name="connsiteX406" fmla="*/ 1274934 w 12198355"/>
              <a:gd name="connsiteY406" fmla="*/ 6283625 h 6858000"/>
              <a:gd name="connsiteX407" fmla="*/ 1273649 w 12198355"/>
              <a:gd name="connsiteY407" fmla="*/ 6289148 h 6858000"/>
              <a:gd name="connsiteX408" fmla="*/ 1272716 w 12198355"/>
              <a:gd name="connsiteY408" fmla="*/ 6294856 h 6858000"/>
              <a:gd name="connsiteX409" fmla="*/ 1272147 w 12198355"/>
              <a:gd name="connsiteY409" fmla="*/ 6300739 h 6858000"/>
              <a:gd name="connsiteX410" fmla="*/ 1271955 w 12198355"/>
              <a:gd name="connsiteY410" fmla="*/ 6306788 h 6858000"/>
              <a:gd name="connsiteX411" fmla="*/ 1272132 w 12198355"/>
              <a:gd name="connsiteY411" fmla="*/ 6312589 h 6858000"/>
              <a:gd name="connsiteX412" fmla="*/ 1272655 w 12198355"/>
              <a:gd name="connsiteY412" fmla="*/ 6318242 h 6858000"/>
              <a:gd name="connsiteX413" fmla="*/ 1273513 w 12198355"/>
              <a:gd name="connsiteY413" fmla="*/ 6323737 h 6858000"/>
              <a:gd name="connsiteX414" fmla="*/ 1274696 w 12198355"/>
              <a:gd name="connsiteY414" fmla="*/ 6329067 h 6858000"/>
              <a:gd name="connsiteX415" fmla="*/ 1276193 w 12198355"/>
              <a:gd name="connsiteY415" fmla="*/ 6334221 h 6858000"/>
              <a:gd name="connsiteX416" fmla="*/ 1277993 w 12198355"/>
              <a:gd name="connsiteY416" fmla="*/ 6339192 h 6858000"/>
              <a:gd name="connsiteX417" fmla="*/ 1280085 w 12198355"/>
              <a:gd name="connsiteY417" fmla="*/ 6343971 h 6858000"/>
              <a:gd name="connsiteX418" fmla="*/ 1282459 w 12198355"/>
              <a:gd name="connsiteY418" fmla="*/ 6348549 h 6858000"/>
              <a:gd name="connsiteX419" fmla="*/ 1285104 w 12198355"/>
              <a:gd name="connsiteY419" fmla="*/ 6352916 h 6858000"/>
              <a:gd name="connsiteX420" fmla="*/ 1288009 w 12198355"/>
              <a:gd name="connsiteY420" fmla="*/ 6357066 h 6858000"/>
              <a:gd name="connsiteX421" fmla="*/ 1291163 w 12198355"/>
              <a:gd name="connsiteY421" fmla="*/ 6360988 h 6858000"/>
              <a:gd name="connsiteX422" fmla="*/ 1294555 w 12198355"/>
              <a:gd name="connsiteY422" fmla="*/ 6364675 h 6858000"/>
              <a:gd name="connsiteX423" fmla="*/ 1298175 w 12198355"/>
              <a:gd name="connsiteY423" fmla="*/ 6368116 h 6858000"/>
              <a:gd name="connsiteX424" fmla="*/ 1302013 w 12198355"/>
              <a:gd name="connsiteY424" fmla="*/ 6371304 h 6858000"/>
              <a:gd name="connsiteX425" fmla="*/ 1306056 w 12198355"/>
              <a:gd name="connsiteY425" fmla="*/ 6374230 h 6858000"/>
              <a:gd name="connsiteX426" fmla="*/ 1310295 w 12198355"/>
              <a:gd name="connsiteY426" fmla="*/ 6376886 h 6858000"/>
              <a:gd name="connsiteX427" fmla="*/ 1314719 w 12198355"/>
              <a:gd name="connsiteY427" fmla="*/ 6379261 h 6858000"/>
              <a:gd name="connsiteX428" fmla="*/ 1319316 w 12198355"/>
              <a:gd name="connsiteY428" fmla="*/ 6381348 h 6858000"/>
              <a:gd name="connsiteX429" fmla="*/ 1324077 w 12198355"/>
              <a:gd name="connsiteY429" fmla="*/ 6383138 h 6858000"/>
              <a:gd name="connsiteX430" fmla="*/ 1328989 w 12198355"/>
              <a:gd name="connsiteY430" fmla="*/ 6384622 h 6858000"/>
              <a:gd name="connsiteX431" fmla="*/ 1334044 w 12198355"/>
              <a:gd name="connsiteY431" fmla="*/ 6385792 h 6858000"/>
              <a:gd name="connsiteX432" fmla="*/ 1339229 w 12198355"/>
              <a:gd name="connsiteY432" fmla="*/ 6386638 h 6858000"/>
              <a:gd name="connsiteX433" fmla="*/ 1344534 w 12198355"/>
              <a:gd name="connsiteY433" fmla="*/ 6387152 h 6858000"/>
              <a:gd name="connsiteX434" fmla="*/ 1349948 w 12198355"/>
              <a:gd name="connsiteY434" fmla="*/ 6387325 h 6858000"/>
              <a:gd name="connsiteX435" fmla="*/ 1355397 w 12198355"/>
              <a:gd name="connsiteY435" fmla="*/ 6387152 h 6858000"/>
              <a:gd name="connsiteX436" fmla="*/ 1360730 w 12198355"/>
              <a:gd name="connsiteY436" fmla="*/ 6386638 h 6858000"/>
              <a:gd name="connsiteX437" fmla="*/ 1365938 w 12198355"/>
              <a:gd name="connsiteY437" fmla="*/ 6385792 h 6858000"/>
              <a:gd name="connsiteX438" fmla="*/ 1371010 w 12198355"/>
              <a:gd name="connsiteY438" fmla="*/ 6384622 h 6858000"/>
              <a:gd name="connsiteX439" fmla="*/ 1375936 w 12198355"/>
              <a:gd name="connsiteY439" fmla="*/ 6383138 h 6858000"/>
              <a:gd name="connsiteX440" fmla="*/ 1380706 w 12198355"/>
              <a:gd name="connsiteY440" fmla="*/ 6381348 h 6858000"/>
              <a:gd name="connsiteX441" fmla="*/ 1385308 w 12198355"/>
              <a:gd name="connsiteY441" fmla="*/ 6379261 h 6858000"/>
              <a:gd name="connsiteX442" fmla="*/ 1389734 w 12198355"/>
              <a:gd name="connsiteY442" fmla="*/ 6376886 h 6858000"/>
              <a:gd name="connsiteX443" fmla="*/ 1393971 w 12198355"/>
              <a:gd name="connsiteY443" fmla="*/ 6374230 h 6858000"/>
              <a:gd name="connsiteX444" fmla="*/ 1398010 w 12198355"/>
              <a:gd name="connsiteY444" fmla="*/ 6371304 h 6858000"/>
              <a:gd name="connsiteX445" fmla="*/ 1401841 w 12198355"/>
              <a:gd name="connsiteY445" fmla="*/ 6368116 h 6858000"/>
              <a:gd name="connsiteX446" fmla="*/ 1405453 w 12198355"/>
              <a:gd name="connsiteY446" fmla="*/ 6364675 h 6858000"/>
              <a:gd name="connsiteX447" fmla="*/ 1408836 w 12198355"/>
              <a:gd name="connsiteY447" fmla="*/ 6360988 h 6858000"/>
              <a:gd name="connsiteX448" fmla="*/ 1411979 w 12198355"/>
              <a:gd name="connsiteY448" fmla="*/ 6357066 h 6858000"/>
              <a:gd name="connsiteX449" fmla="*/ 1414872 w 12198355"/>
              <a:gd name="connsiteY449" fmla="*/ 6352916 h 6858000"/>
              <a:gd name="connsiteX450" fmla="*/ 1417504 w 12198355"/>
              <a:gd name="connsiteY450" fmla="*/ 6348549 h 6858000"/>
              <a:gd name="connsiteX451" fmla="*/ 1419533 w 12198355"/>
              <a:gd name="connsiteY451" fmla="*/ 6344617 h 6858000"/>
              <a:gd name="connsiteX452" fmla="*/ 1421947 w 12198355"/>
              <a:gd name="connsiteY452" fmla="*/ 6339192 h 6858000"/>
              <a:gd name="connsiteX453" fmla="*/ 1423736 w 12198355"/>
              <a:gd name="connsiteY453" fmla="*/ 6334221 h 6858000"/>
              <a:gd name="connsiteX454" fmla="*/ 1425223 w 12198355"/>
              <a:gd name="connsiteY454" fmla="*/ 6329067 h 6858000"/>
              <a:gd name="connsiteX455" fmla="*/ 1426398 w 12198355"/>
              <a:gd name="connsiteY455" fmla="*/ 6323737 h 6858000"/>
              <a:gd name="connsiteX456" fmla="*/ 1427249 w 12198355"/>
              <a:gd name="connsiteY456" fmla="*/ 6318242 h 6858000"/>
              <a:gd name="connsiteX457" fmla="*/ 1427768 w 12198355"/>
              <a:gd name="connsiteY457" fmla="*/ 6312589 h 6858000"/>
              <a:gd name="connsiteX458" fmla="*/ 1427943 w 12198355"/>
              <a:gd name="connsiteY458" fmla="*/ 6306788 h 6858000"/>
              <a:gd name="connsiteX459" fmla="*/ 1427753 w 12198355"/>
              <a:gd name="connsiteY459" fmla="*/ 6300739 h 6858000"/>
              <a:gd name="connsiteX460" fmla="*/ 1427188 w 12198355"/>
              <a:gd name="connsiteY460" fmla="*/ 6294856 h 6858000"/>
              <a:gd name="connsiteX461" fmla="*/ 1426262 w 12198355"/>
              <a:gd name="connsiteY461" fmla="*/ 6289148 h 6858000"/>
              <a:gd name="connsiteX462" fmla="*/ 1424986 w 12198355"/>
              <a:gd name="connsiteY462" fmla="*/ 6283625 h 6858000"/>
              <a:gd name="connsiteX463" fmla="*/ 1423372 w 12198355"/>
              <a:gd name="connsiteY463" fmla="*/ 6278296 h 6858000"/>
              <a:gd name="connsiteX464" fmla="*/ 1421432 w 12198355"/>
              <a:gd name="connsiteY464" fmla="*/ 6273170 h 6858000"/>
              <a:gd name="connsiteX465" fmla="*/ 1419639 w 12198355"/>
              <a:gd name="connsiteY465" fmla="*/ 6269264 h 6858000"/>
              <a:gd name="connsiteX466" fmla="*/ 1419177 w 12198355"/>
              <a:gd name="connsiteY466" fmla="*/ 6268258 h 6858000"/>
              <a:gd name="connsiteX467" fmla="*/ 1416619 w 12198355"/>
              <a:gd name="connsiteY467" fmla="*/ 6263569 h 6858000"/>
              <a:gd name="connsiteX468" fmla="*/ 1413770 w 12198355"/>
              <a:gd name="connsiteY468" fmla="*/ 6259113 h 6858000"/>
              <a:gd name="connsiteX469" fmla="*/ 1410643 w 12198355"/>
              <a:gd name="connsiteY469" fmla="*/ 6254900 h 6858000"/>
              <a:gd name="connsiteX470" fmla="*/ 1407247 w 12198355"/>
              <a:gd name="connsiteY470" fmla="*/ 6250938 h 6858000"/>
              <a:gd name="connsiteX471" fmla="*/ 1403597 w 12198355"/>
              <a:gd name="connsiteY471" fmla="*/ 6247238 h 6858000"/>
              <a:gd name="connsiteX472" fmla="*/ 1399702 w 12198355"/>
              <a:gd name="connsiteY472" fmla="*/ 6243809 h 6858000"/>
              <a:gd name="connsiteX473" fmla="*/ 1395576 w 12198355"/>
              <a:gd name="connsiteY473" fmla="*/ 6240661 h 6858000"/>
              <a:gd name="connsiteX474" fmla="*/ 1391230 w 12198355"/>
              <a:gd name="connsiteY474" fmla="*/ 6237803 h 6858000"/>
              <a:gd name="connsiteX475" fmla="*/ 1386675 w 12198355"/>
              <a:gd name="connsiteY475" fmla="*/ 6235246 h 6858000"/>
              <a:gd name="connsiteX476" fmla="*/ 1381923 w 12198355"/>
              <a:gd name="connsiteY476" fmla="*/ 6232998 h 6858000"/>
              <a:gd name="connsiteX477" fmla="*/ 1376987 w 12198355"/>
              <a:gd name="connsiteY477" fmla="*/ 6231070 h 6858000"/>
              <a:gd name="connsiteX478" fmla="*/ 1371878 w 12198355"/>
              <a:gd name="connsiteY478" fmla="*/ 6229471 h 6858000"/>
              <a:gd name="connsiteX479" fmla="*/ 1366608 w 12198355"/>
              <a:gd name="connsiteY479" fmla="*/ 6228210 h 6858000"/>
              <a:gd name="connsiteX480" fmla="*/ 1361188 w 12198355"/>
              <a:gd name="connsiteY480" fmla="*/ 6227298 h 6858000"/>
              <a:gd name="connsiteX481" fmla="*/ 1355631 w 12198355"/>
              <a:gd name="connsiteY481" fmla="*/ 6226743 h 6858000"/>
              <a:gd name="connsiteX482" fmla="*/ 1349948 w 12198355"/>
              <a:gd name="connsiteY482" fmla="*/ 6226556 h 6858000"/>
              <a:gd name="connsiteX483" fmla="*/ 782044 w 12198355"/>
              <a:gd name="connsiteY483" fmla="*/ 6166457 h 6858000"/>
              <a:gd name="connsiteX484" fmla="*/ 780496 w 12198355"/>
              <a:gd name="connsiteY484" fmla="*/ 6166780 h 6858000"/>
              <a:gd name="connsiteX485" fmla="*/ 779232 w 12198355"/>
              <a:gd name="connsiteY485" fmla="*/ 6167660 h 6858000"/>
              <a:gd name="connsiteX486" fmla="*/ 778380 w 12198355"/>
              <a:gd name="connsiteY486" fmla="*/ 6168966 h 6858000"/>
              <a:gd name="connsiteX487" fmla="*/ 778067 w 12198355"/>
              <a:gd name="connsiteY487" fmla="*/ 6170564 h 6858000"/>
              <a:gd name="connsiteX488" fmla="*/ 778067 w 12198355"/>
              <a:gd name="connsiteY488" fmla="*/ 6378643 h 6858000"/>
              <a:gd name="connsiteX489" fmla="*/ 778380 w 12198355"/>
              <a:gd name="connsiteY489" fmla="*/ 6380242 h 6858000"/>
              <a:gd name="connsiteX490" fmla="*/ 779232 w 12198355"/>
              <a:gd name="connsiteY490" fmla="*/ 6381547 h 6858000"/>
              <a:gd name="connsiteX491" fmla="*/ 780496 w 12198355"/>
              <a:gd name="connsiteY491" fmla="*/ 6382427 h 6858000"/>
              <a:gd name="connsiteX492" fmla="*/ 782044 w 12198355"/>
              <a:gd name="connsiteY492" fmla="*/ 6382750 h 6858000"/>
              <a:gd name="connsiteX493" fmla="*/ 907033 w 12198355"/>
              <a:gd name="connsiteY493" fmla="*/ 6382750 h 6858000"/>
              <a:gd name="connsiteX494" fmla="*/ 908581 w 12198355"/>
              <a:gd name="connsiteY494" fmla="*/ 6382427 h 6858000"/>
              <a:gd name="connsiteX495" fmla="*/ 909845 w 12198355"/>
              <a:gd name="connsiteY495" fmla="*/ 6381547 h 6858000"/>
              <a:gd name="connsiteX496" fmla="*/ 910697 w 12198355"/>
              <a:gd name="connsiteY496" fmla="*/ 6380242 h 6858000"/>
              <a:gd name="connsiteX497" fmla="*/ 911010 w 12198355"/>
              <a:gd name="connsiteY497" fmla="*/ 6378643 h 6858000"/>
              <a:gd name="connsiteX498" fmla="*/ 911010 w 12198355"/>
              <a:gd name="connsiteY498" fmla="*/ 6341097 h 6858000"/>
              <a:gd name="connsiteX499" fmla="*/ 908581 w 12198355"/>
              <a:gd name="connsiteY499" fmla="*/ 6337313 h 6858000"/>
              <a:gd name="connsiteX500" fmla="*/ 828722 w 12198355"/>
              <a:gd name="connsiteY500" fmla="*/ 6336990 h 6858000"/>
              <a:gd name="connsiteX501" fmla="*/ 827174 w 12198355"/>
              <a:gd name="connsiteY501" fmla="*/ 6336667 h 6858000"/>
              <a:gd name="connsiteX502" fmla="*/ 825910 w 12198355"/>
              <a:gd name="connsiteY502" fmla="*/ 6335787 h 6858000"/>
              <a:gd name="connsiteX503" fmla="*/ 825057 w 12198355"/>
              <a:gd name="connsiteY503" fmla="*/ 6334481 h 6858000"/>
              <a:gd name="connsiteX504" fmla="*/ 824744 w 12198355"/>
              <a:gd name="connsiteY504" fmla="*/ 6332883 h 6858000"/>
              <a:gd name="connsiteX505" fmla="*/ 824744 w 12198355"/>
              <a:gd name="connsiteY505" fmla="*/ 6299607 h 6858000"/>
              <a:gd name="connsiteX506" fmla="*/ 825057 w 12198355"/>
              <a:gd name="connsiteY506" fmla="*/ 6298009 h 6858000"/>
              <a:gd name="connsiteX507" fmla="*/ 825910 w 12198355"/>
              <a:gd name="connsiteY507" fmla="*/ 6296703 h 6858000"/>
              <a:gd name="connsiteX508" fmla="*/ 827174 w 12198355"/>
              <a:gd name="connsiteY508" fmla="*/ 6295823 h 6858000"/>
              <a:gd name="connsiteX509" fmla="*/ 828722 w 12198355"/>
              <a:gd name="connsiteY509" fmla="*/ 6295500 h 6858000"/>
              <a:gd name="connsiteX510" fmla="*/ 898759 w 12198355"/>
              <a:gd name="connsiteY510" fmla="*/ 6295500 h 6858000"/>
              <a:gd name="connsiteX511" fmla="*/ 900308 w 12198355"/>
              <a:gd name="connsiteY511" fmla="*/ 6295178 h 6858000"/>
              <a:gd name="connsiteX512" fmla="*/ 901572 w 12198355"/>
              <a:gd name="connsiteY512" fmla="*/ 6294298 h 6858000"/>
              <a:gd name="connsiteX513" fmla="*/ 902425 w 12198355"/>
              <a:gd name="connsiteY513" fmla="*/ 6292992 h 6858000"/>
              <a:gd name="connsiteX514" fmla="*/ 902738 w 12198355"/>
              <a:gd name="connsiteY514" fmla="*/ 6291393 h 6858000"/>
              <a:gd name="connsiteX515" fmla="*/ 902738 w 12198355"/>
              <a:gd name="connsiteY515" fmla="*/ 6257204 h 6858000"/>
              <a:gd name="connsiteX516" fmla="*/ 902425 w 12198355"/>
              <a:gd name="connsiteY516" fmla="*/ 6255605 h 6858000"/>
              <a:gd name="connsiteX517" fmla="*/ 901572 w 12198355"/>
              <a:gd name="connsiteY517" fmla="*/ 6254300 h 6858000"/>
              <a:gd name="connsiteX518" fmla="*/ 900308 w 12198355"/>
              <a:gd name="connsiteY518" fmla="*/ 6253419 h 6858000"/>
              <a:gd name="connsiteX519" fmla="*/ 898759 w 12198355"/>
              <a:gd name="connsiteY519" fmla="*/ 6253097 h 6858000"/>
              <a:gd name="connsiteX520" fmla="*/ 828722 w 12198355"/>
              <a:gd name="connsiteY520" fmla="*/ 6253097 h 6858000"/>
              <a:gd name="connsiteX521" fmla="*/ 827174 w 12198355"/>
              <a:gd name="connsiteY521" fmla="*/ 6252774 h 6858000"/>
              <a:gd name="connsiteX522" fmla="*/ 825910 w 12198355"/>
              <a:gd name="connsiteY522" fmla="*/ 6251894 h 6858000"/>
              <a:gd name="connsiteX523" fmla="*/ 825057 w 12198355"/>
              <a:gd name="connsiteY523" fmla="*/ 6250589 h 6858000"/>
              <a:gd name="connsiteX524" fmla="*/ 824744 w 12198355"/>
              <a:gd name="connsiteY524" fmla="*/ 6248990 h 6858000"/>
              <a:gd name="connsiteX525" fmla="*/ 824744 w 12198355"/>
              <a:gd name="connsiteY525" fmla="*/ 6216020 h 6858000"/>
              <a:gd name="connsiteX526" fmla="*/ 825057 w 12198355"/>
              <a:gd name="connsiteY526" fmla="*/ 6214421 h 6858000"/>
              <a:gd name="connsiteX527" fmla="*/ 825910 w 12198355"/>
              <a:gd name="connsiteY527" fmla="*/ 6213116 h 6858000"/>
              <a:gd name="connsiteX528" fmla="*/ 827174 w 12198355"/>
              <a:gd name="connsiteY528" fmla="*/ 6212236 h 6858000"/>
              <a:gd name="connsiteX529" fmla="*/ 828722 w 12198355"/>
              <a:gd name="connsiteY529" fmla="*/ 6211913 h 6858000"/>
              <a:gd name="connsiteX530" fmla="*/ 906737 w 12198355"/>
              <a:gd name="connsiteY530" fmla="*/ 6211913 h 6858000"/>
              <a:gd name="connsiteX531" fmla="*/ 908285 w 12198355"/>
              <a:gd name="connsiteY531" fmla="*/ 6211590 h 6858000"/>
              <a:gd name="connsiteX532" fmla="*/ 909549 w 12198355"/>
              <a:gd name="connsiteY532" fmla="*/ 6210710 h 6858000"/>
              <a:gd name="connsiteX533" fmla="*/ 910401 w 12198355"/>
              <a:gd name="connsiteY533" fmla="*/ 6209405 h 6858000"/>
              <a:gd name="connsiteX534" fmla="*/ 910714 w 12198355"/>
              <a:gd name="connsiteY534" fmla="*/ 6207806 h 6858000"/>
              <a:gd name="connsiteX535" fmla="*/ 910714 w 12198355"/>
              <a:gd name="connsiteY535" fmla="*/ 6170564 h 6858000"/>
              <a:gd name="connsiteX536" fmla="*/ 910401 w 12198355"/>
              <a:gd name="connsiteY536" fmla="*/ 6168966 h 6858000"/>
              <a:gd name="connsiteX537" fmla="*/ 909549 w 12198355"/>
              <a:gd name="connsiteY537" fmla="*/ 6167660 h 6858000"/>
              <a:gd name="connsiteX538" fmla="*/ 908285 w 12198355"/>
              <a:gd name="connsiteY538" fmla="*/ 6166780 h 6858000"/>
              <a:gd name="connsiteX539" fmla="*/ 906737 w 12198355"/>
              <a:gd name="connsiteY539" fmla="*/ 6166457 h 6858000"/>
              <a:gd name="connsiteX540" fmla="*/ 782044 w 12198355"/>
              <a:gd name="connsiteY540" fmla="*/ 6166457 h 6858000"/>
              <a:gd name="connsiteX541" fmla="*/ 1124613 w 12198355"/>
              <a:gd name="connsiteY541" fmla="*/ 6157611 h 6858000"/>
              <a:gd name="connsiteX542" fmla="*/ 1119425 w 12198355"/>
              <a:gd name="connsiteY542" fmla="*/ 6158165 h 6858000"/>
              <a:gd name="connsiteX543" fmla="*/ 1114569 w 12198355"/>
              <a:gd name="connsiteY543" fmla="*/ 6159751 h 6858000"/>
              <a:gd name="connsiteX544" fmla="*/ 1110156 w 12198355"/>
              <a:gd name="connsiteY544" fmla="*/ 6162260 h 6858000"/>
              <a:gd name="connsiteX545" fmla="*/ 1106297 w 12198355"/>
              <a:gd name="connsiteY545" fmla="*/ 6165581 h 6858000"/>
              <a:gd name="connsiteX546" fmla="*/ 1103103 w 12198355"/>
              <a:gd name="connsiteY546" fmla="*/ 6169602 h 6858000"/>
              <a:gd name="connsiteX547" fmla="*/ 1100684 w 12198355"/>
              <a:gd name="connsiteY547" fmla="*/ 6174213 h 6858000"/>
              <a:gd name="connsiteX548" fmla="*/ 1099151 w 12198355"/>
              <a:gd name="connsiteY548" fmla="*/ 6179304 h 6858000"/>
              <a:gd name="connsiteX549" fmla="*/ 1098616 w 12198355"/>
              <a:gd name="connsiteY549" fmla="*/ 6184762 h 6858000"/>
              <a:gd name="connsiteX550" fmla="*/ 1099151 w 12198355"/>
              <a:gd name="connsiteY550" fmla="*/ 6190221 h 6858000"/>
              <a:gd name="connsiteX551" fmla="*/ 1100684 w 12198355"/>
              <a:gd name="connsiteY551" fmla="*/ 6195311 h 6858000"/>
              <a:gd name="connsiteX552" fmla="*/ 1103103 w 12198355"/>
              <a:gd name="connsiteY552" fmla="*/ 6199922 h 6858000"/>
              <a:gd name="connsiteX553" fmla="*/ 1106297 w 12198355"/>
              <a:gd name="connsiteY553" fmla="*/ 6203943 h 6858000"/>
              <a:gd name="connsiteX554" fmla="*/ 1110156 w 12198355"/>
              <a:gd name="connsiteY554" fmla="*/ 6207264 h 6858000"/>
              <a:gd name="connsiteX555" fmla="*/ 1114569 w 12198355"/>
              <a:gd name="connsiteY555" fmla="*/ 6209773 h 6858000"/>
              <a:gd name="connsiteX556" fmla="*/ 1119425 w 12198355"/>
              <a:gd name="connsiteY556" fmla="*/ 6211360 h 6858000"/>
              <a:gd name="connsiteX557" fmla="*/ 1124613 w 12198355"/>
              <a:gd name="connsiteY557" fmla="*/ 6211913 h 6858000"/>
              <a:gd name="connsiteX558" fmla="*/ 1129997 w 12198355"/>
              <a:gd name="connsiteY558" fmla="*/ 6211360 h 6858000"/>
              <a:gd name="connsiteX559" fmla="*/ 1135000 w 12198355"/>
              <a:gd name="connsiteY559" fmla="*/ 6209773 h 6858000"/>
              <a:gd name="connsiteX560" fmla="*/ 1139518 w 12198355"/>
              <a:gd name="connsiteY560" fmla="*/ 6207264 h 6858000"/>
              <a:gd name="connsiteX561" fmla="*/ 1143447 w 12198355"/>
              <a:gd name="connsiteY561" fmla="*/ 6203943 h 6858000"/>
              <a:gd name="connsiteX562" fmla="*/ 1146685 w 12198355"/>
              <a:gd name="connsiteY562" fmla="*/ 6199922 h 6858000"/>
              <a:gd name="connsiteX563" fmla="*/ 1149125 w 12198355"/>
              <a:gd name="connsiteY563" fmla="*/ 6195311 h 6858000"/>
              <a:gd name="connsiteX564" fmla="*/ 1150666 w 12198355"/>
              <a:gd name="connsiteY564" fmla="*/ 6190221 h 6858000"/>
              <a:gd name="connsiteX565" fmla="*/ 1151203 w 12198355"/>
              <a:gd name="connsiteY565" fmla="*/ 6184762 h 6858000"/>
              <a:gd name="connsiteX566" fmla="*/ 1150666 w 12198355"/>
              <a:gd name="connsiteY566" fmla="*/ 6179304 h 6858000"/>
              <a:gd name="connsiteX567" fmla="*/ 1149125 w 12198355"/>
              <a:gd name="connsiteY567" fmla="*/ 6174213 h 6858000"/>
              <a:gd name="connsiteX568" fmla="*/ 1146685 w 12198355"/>
              <a:gd name="connsiteY568" fmla="*/ 6169602 h 6858000"/>
              <a:gd name="connsiteX569" fmla="*/ 1143447 w 12198355"/>
              <a:gd name="connsiteY569" fmla="*/ 6165581 h 6858000"/>
              <a:gd name="connsiteX570" fmla="*/ 1139518 w 12198355"/>
              <a:gd name="connsiteY570" fmla="*/ 6162260 h 6858000"/>
              <a:gd name="connsiteX571" fmla="*/ 1135000 w 12198355"/>
              <a:gd name="connsiteY571" fmla="*/ 6159751 h 6858000"/>
              <a:gd name="connsiteX572" fmla="*/ 1129997 w 12198355"/>
              <a:gd name="connsiteY572" fmla="*/ 6158165 h 6858000"/>
              <a:gd name="connsiteX573" fmla="*/ 1124613 w 12198355"/>
              <a:gd name="connsiteY573" fmla="*/ 6157611 h 6858000"/>
              <a:gd name="connsiteX574" fmla="*/ 581250 w 12198355"/>
              <a:gd name="connsiteY574" fmla="*/ 6120863 h 6858000"/>
              <a:gd name="connsiteX575" fmla="*/ 575834 w 12198355"/>
              <a:gd name="connsiteY575" fmla="*/ 6121606 h 6858000"/>
              <a:gd name="connsiteX576" fmla="*/ 570703 w 12198355"/>
              <a:gd name="connsiteY576" fmla="*/ 6123833 h 6858000"/>
              <a:gd name="connsiteX577" fmla="*/ 468377 w 12198355"/>
              <a:gd name="connsiteY577" fmla="*/ 6185889 h 6858000"/>
              <a:gd name="connsiteX578" fmla="*/ 463977 w 12198355"/>
              <a:gd name="connsiteY578" fmla="*/ 6189443 h 6858000"/>
              <a:gd name="connsiteX579" fmla="*/ 460658 w 12198355"/>
              <a:gd name="connsiteY579" fmla="*/ 6193998 h 6858000"/>
              <a:gd name="connsiteX580" fmla="*/ 458562 w 12198355"/>
              <a:gd name="connsiteY580" fmla="*/ 6199295 h 6858000"/>
              <a:gd name="connsiteX581" fmla="*/ 457832 w 12198355"/>
              <a:gd name="connsiteY581" fmla="*/ 6205076 h 6858000"/>
              <a:gd name="connsiteX582" fmla="*/ 457832 w 12198355"/>
              <a:gd name="connsiteY582" fmla="*/ 6329188 h 6858000"/>
              <a:gd name="connsiteX583" fmla="*/ 458562 w 12198355"/>
              <a:gd name="connsiteY583" fmla="*/ 6334969 h 6858000"/>
              <a:gd name="connsiteX584" fmla="*/ 460658 w 12198355"/>
              <a:gd name="connsiteY584" fmla="*/ 6340266 h 6858000"/>
              <a:gd name="connsiteX585" fmla="*/ 463977 w 12198355"/>
              <a:gd name="connsiteY585" fmla="*/ 6344822 h 6858000"/>
              <a:gd name="connsiteX586" fmla="*/ 468378 w 12198355"/>
              <a:gd name="connsiteY586" fmla="*/ 6348377 h 6858000"/>
              <a:gd name="connsiteX587" fmla="*/ 570703 w 12198355"/>
              <a:gd name="connsiteY587" fmla="*/ 6410433 h 6858000"/>
              <a:gd name="connsiteX588" fmla="*/ 575834 w 12198355"/>
              <a:gd name="connsiteY588" fmla="*/ 6412659 h 6858000"/>
              <a:gd name="connsiteX589" fmla="*/ 581250 w 12198355"/>
              <a:gd name="connsiteY589" fmla="*/ 6413401 h 6858000"/>
              <a:gd name="connsiteX590" fmla="*/ 586665 w 12198355"/>
              <a:gd name="connsiteY590" fmla="*/ 6412659 h 6858000"/>
              <a:gd name="connsiteX591" fmla="*/ 591796 w 12198355"/>
              <a:gd name="connsiteY591" fmla="*/ 6410433 h 6858000"/>
              <a:gd name="connsiteX592" fmla="*/ 687555 w 12198355"/>
              <a:gd name="connsiteY592" fmla="*/ 6352359 h 6858000"/>
              <a:gd name="connsiteX593" fmla="*/ 694122 w 12198355"/>
              <a:gd name="connsiteY593" fmla="*/ 6348377 h 6858000"/>
              <a:gd name="connsiteX594" fmla="*/ 698523 w 12198355"/>
              <a:gd name="connsiteY594" fmla="*/ 6344822 h 6858000"/>
              <a:gd name="connsiteX595" fmla="*/ 701842 w 12198355"/>
              <a:gd name="connsiteY595" fmla="*/ 6340266 h 6858000"/>
              <a:gd name="connsiteX596" fmla="*/ 703937 w 12198355"/>
              <a:gd name="connsiteY596" fmla="*/ 6334969 h 6858000"/>
              <a:gd name="connsiteX597" fmla="*/ 704667 w 12198355"/>
              <a:gd name="connsiteY597" fmla="*/ 6329188 h 6858000"/>
              <a:gd name="connsiteX598" fmla="*/ 704667 w 12198355"/>
              <a:gd name="connsiteY598" fmla="*/ 6277512 h 6858000"/>
              <a:gd name="connsiteX599" fmla="*/ 581250 w 12198355"/>
              <a:gd name="connsiteY599" fmla="*/ 6352359 h 6858000"/>
              <a:gd name="connsiteX600" fmla="*/ 512614 w 12198355"/>
              <a:gd name="connsiteY600" fmla="*/ 6310735 h 6858000"/>
              <a:gd name="connsiteX601" fmla="*/ 512651 w 12198355"/>
              <a:gd name="connsiteY601" fmla="*/ 6225511 h 6858000"/>
              <a:gd name="connsiteX602" fmla="*/ 576185 w 12198355"/>
              <a:gd name="connsiteY602" fmla="*/ 6186958 h 6858000"/>
              <a:gd name="connsiteX603" fmla="*/ 578647 w 12198355"/>
              <a:gd name="connsiteY603" fmla="*/ 6185889 h 6858000"/>
              <a:gd name="connsiteX604" fmla="*/ 581250 w 12198355"/>
              <a:gd name="connsiteY604" fmla="*/ 6185532 h 6858000"/>
              <a:gd name="connsiteX605" fmla="*/ 583855 w 12198355"/>
              <a:gd name="connsiteY605" fmla="*/ 6185889 h 6858000"/>
              <a:gd name="connsiteX606" fmla="*/ 586321 w 12198355"/>
              <a:gd name="connsiteY606" fmla="*/ 6186960 h 6858000"/>
              <a:gd name="connsiteX607" fmla="*/ 649885 w 12198355"/>
              <a:gd name="connsiteY607" fmla="*/ 6225509 h 6858000"/>
              <a:gd name="connsiteX608" fmla="*/ 589785 w 12198355"/>
              <a:gd name="connsiteY608" fmla="*/ 6261958 h 6858000"/>
              <a:gd name="connsiteX609" fmla="*/ 585633 w 12198355"/>
              <a:gd name="connsiteY609" fmla="*/ 6263759 h 6858000"/>
              <a:gd name="connsiteX610" fmla="*/ 581250 w 12198355"/>
              <a:gd name="connsiteY610" fmla="*/ 6264359 h 6858000"/>
              <a:gd name="connsiteX611" fmla="*/ 576868 w 12198355"/>
              <a:gd name="connsiteY611" fmla="*/ 6263758 h 6858000"/>
              <a:gd name="connsiteX612" fmla="*/ 572716 w 12198355"/>
              <a:gd name="connsiteY612" fmla="*/ 6261956 h 6858000"/>
              <a:gd name="connsiteX613" fmla="*/ 529723 w 12198355"/>
              <a:gd name="connsiteY613" fmla="*/ 6235870 h 6858000"/>
              <a:gd name="connsiteX614" fmla="*/ 529693 w 12198355"/>
              <a:gd name="connsiteY614" fmla="*/ 6300334 h 6858000"/>
              <a:gd name="connsiteX615" fmla="*/ 581250 w 12198355"/>
              <a:gd name="connsiteY615" fmla="*/ 6331602 h 6858000"/>
              <a:gd name="connsiteX616" fmla="*/ 692128 w 12198355"/>
              <a:gd name="connsiteY616" fmla="*/ 6264359 h 6858000"/>
              <a:gd name="connsiteX617" fmla="*/ 704667 w 12198355"/>
              <a:gd name="connsiteY617" fmla="*/ 6256755 h 6858000"/>
              <a:gd name="connsiteX618" fmla="*/ 704667 w 12198355"/>
              <a:gd name="connsiteY618" fmla="*/ 6205076 h 6858000"/>
              <a:gd name="connsiteX619" fmla="*/ 703937 w 12198355"/>
              <a:gd name="connsiteY619" fmla="*/ 6199295 h 6858000"/>
              <a:gd name="connsiteX620" fmla="*/ 701842 w 12198355"/>
              <a:gd name="connsiteY620" fmla="*/ 6193998 h 6858000"/>
              <a:gd name="connsiteX621" fmla="*/ 698523 w 12198355"/>
              <a:gd name="connsiteY621" fmla="*/ 6189443 h 6858000"/>
              <a:gd name="connsiteX622" fmla="*/ 694122 w 12198355"/>
              <a:gd name="connsiteY622" fmla="*/ 6185888 h 6858000"/>
              <a:gd name="connsiteX623" fmla="*/ 693534 w 12198355"/>
              <a:gd name="connsiteY623" fmla="*/ 6185532 h 6858000"/>
              <a:gd name="connsiteX624" fmla="*/ 591796 w 12198355"/>
              <a:gd name="connsiteY624" fmla="*/ 6123833 h 6858000"/>
              <a:gd name="connsiteX625" fmla="*/ 586665 w 12198355"/>
              <a:gd name="connsiteY625" fmla="*/ 6121606 h 6858000"/>
              <a:gd name="connsiteX626" fmla="*/ 581250 w 12198355"/>
              <a:gd name="connsiteY626" fmla="*/ 6120863 h 6858000"/>
              <a:gd name="connsiteX627" fmla="*/ 0 w 12198355"/>
              <a:gd name="connsiteY627" fmla="*/ 0 h 6858000"/>
              <a:gd name="connsiteX628" fmla="*/ 12188825 w 12198355"/>
              <a:gd name="connsiteY628" fmla="*/ 0 h 6858000"/>
              <a:gd name="connsiteX629" fmla="*/ 12198355 w 12198355"/>
              <a:gd name="connsiteY629" fmla="*/ 6858000 h 6858000"/>
              <a:gd name="connsiteX630" fmla="*/ 0 w 12198355"/>
              <a:gd name="connsiteY630" fmla="*/ 6858000 h 6858000"/>
              <a:gd name="connsiteX631" fmla="*/ 0 w 12198355"/>
              <a:gd name="connsiteY631" fmla="*/ 0 h 6858000"/>
              <a:gd name="connsiteX0" fmla="*/ 1007893 w 12199272"/>
              <a:gd name="connsiteY0" fmla="*/ 6269265 h 6858000"/>
              <a:gd name="connsiteX1" fmla="*/ 1012666 w 12199272"/>
              <a:gd name="connsiteY1" fmla="*/ 6269568 h 6858000"/>
              <a:gd name="connsiteX2" fmla="*/ 1017275 w 12199272"/>
              <a:gd name="connsiteY2" fmla="*/ 6270481 h 6858000"/>
              <a:gd name="connsiteX3" fmla="*/ 1021659 w 12199272"/>
              <a:gd name="connsiteY3" fmla="*/ 6272007 h 6858000"/>
              <a:gd name="connsiteX4" fmla="*/ 1025757 w 12199272"/>
              <a:gd name="connsiteY4" fmla="*/ 6274150 h 6858000"/>
              <a:gd name="connsiteX5" fmla="*/ 1029507 w 12199272"/>
              <a:gd name="connsiteY5" fmla="*/ 6276915 h 6858000"/>
              <a:gd name="connsiteX6" fmla="*/ 1032848 w 12199272"/>
              <a:gd name="connsiteY6" fmla="*/ 6280306 h 6858000"/>
              <a:gd name="connsiteX7" fmla="*/ 1035719 w 12199272"/>
              <a:gd name="connsiteY7" fmla="*/ 6284326 h 6858000"/>
              <a:gd name="connsiteX8" fmla="*/ 1038059 w 12199272"/>
              <a:gd name="connsiteY8" fmla="*/ 6288981 h 6858000"/>
              <a:gd name="connsiteX9" fmla="*/ 1039806 w 12199272"/>
              <a:gd name="connsiteY9" fmla="*/ 6294273 h 6858000"/>
              <a:gd name="connsiteX10" fmla="*/ 1040899 w 12199272"/>
              <a:gd name="connsiteY10" fmla="*/ 6300208 h 6858000"/>
              <a:gd name="connsiteX11" fmla="*/ 1041277 w 12199272"/>
              <a:gd name="connsiteY11" fmla="*/ 6306788 h 6858000"/>
              <a:gd name="connsiteX12" fmla="*/ 1040899 w 12199272"/>
              <a:gd name="connsiteY12" fmla="*/ 6313376 h 6858000"/>
              <a:gd name="connsiteX13" fmla="*/ 1039806 w 12199272"/>
              <a:gd name="connsiteY13" fmla="*/ 6319330 h 6858000"/>
              <a:gd name="connsiteX14" fmla="*/ 1038059 w 12199272"/>
              <a:gd name="connsiteY14" fmla="*/ 6324652 h 6858000"/>
              <a:gd name="connsiteX15" fmla="*/ 1035719 w 12199272"/>
              <a:gd name="connsiteY15" fmla="*/ 6329342 h 6858000"/>
              <a:gd name="connsiteX16" fmla="*/ 1032848 w 12199272"/>
              <a:gd name="connsiteY16" fmla="*/ 6333403 h 6858000"/>
              <a:gd name="connsiteX17" fmla="*/ 1029507 w 12199272"/>
              <a:gd name="connsiteY17" fmla="*/ 6336835 h 6858000"/>
              <a:gd name="connsiteX18" fmla="*/ 1025757 w 12199272"/>
              <a:gd name="connsiteY18" fmla="*/ 6339641 h 6858000"/>
              <a:gd name="connsiteX19" fmla="*/ 1021659 w 12199272"/>
              <a:gd name="connsiteY19" fmla="*/ 6341820 h 6858000"/>
              <a:gd name="connsiteX20" fmla="*/ 1017275 w 12199272"/>
              <a:gd name="connsiteY20" fmla="*/ 6343375 h 6858000"/>
              <a:gd name="connsiteX21" fmla="*/ 1012666 w 12199272"/>
              <a:gd name="connsiteY21" fmla="*/ 6344307 h 6858000"/>
              <a:gd name="connsiteX22" fmla="*/ 1007893 w 12199272"/>
              <a:gd name="connsiteY22" fmla="*/ 6344618 h 6858000"/>
              <a:gd name="connsiteX23" fmla="*/ 1003193 w 12199272"/>
              <a:gd name="connsiteY23" fmla="*/ 6344300 h 6858000"/>
              <a:gd name="connsiteX24" fmla="*/ 998645 w 12199272"/>
              <a:gd name="connsiteY24" fmla="*/ 6343350 h 6858000"/>
              <a:gd name="connsiteX25" fmla="*/ 994309 w 12199272"/>
              <a:gd name="connsiteY25" fmla="*/ 6341771 h 6858000"/>
              <a:gd name="connsiteX26" fmla="*/ 990249 w 12199272"/>
              <a:gd name="connsiteY26" fmla="*/ 6339564 h 6858000"/>
              <a:gd name="connsiteX27" fmla="*/ 986527 w 12199272"/>
              <a:gd name="connsiteY27" fmla="*/ 6336732 h 6858000"/>
              <a:gd name="connsiteX28" fmla="*/ 983207 w 12199272"/>
              <a:gd name="connsiteY28" fmla="*/ 6333280 h 6858000"/>
              <a:gd name="connsiteX29" fmla="*/ 980349 w 12199272"/>
              <a:gd name="connsiteY29" fmla="*/ 6329208 h 6858000"/>
              <a:gd name="connsiteX30" fmla="*/ 978018 w 12199272"/>
              <a:gd name="connsiteY30" fmla="*/ 6324520 h 6858000"/>
              <a:gd name="connsiteX31" fmla="*/ 976275 w 12199272"/>
              <a:gd name="connsiteY31" fmla="*/ 6319219 h 6858000"/>
              <a:gd name="connsiteX32" fmla="*/ 975184 w 12199272"/>
              <a:gd name="connsiteY32" fmla="*/ 6313308 h 6858000"/>
              <a:gd name="connsiteX33" fmla="*/ 974806 w 12199272"/>
              <a:gd name="connsiteY33" fmla="*/ 6306788 h 6858000"/>
              <a:gd name="connsiteX34" fmla="*/ 975184 w 12199272"/>
              <a:gd name="connsiteY34" fmla="*/ 6300208 h 6858000"/>
              <a:gd name="connsiteX35" fmla="*/ 976275 w 12199272"/>
              <a:gd name="connsiteY35" fmla="*/ 6294273 h 6858000"/>
              <a:gd name="connsiteX36" fmla="*/ 978018 w 12199272"/>
              <a:gd name="connsiteY36" fmla="*/ 6288981 h 6858000"/>
              <a:gd name="connsiteX37" fmla="*/ 980349 w 12199272"/>
              <a:gd name="connsiteY37" fmla="*/ 6284326 h 6858000"/>
              <a:gd name="connsiteX38" fmla="*/ 983207 w 12199272"/>
              <a:gd name="connsiteY38" fmla="*/ 6280306 h 6858000"/>
              <a:gd name="connsiteX39" fmla="*/ 986527 w 12199272"/>
              <a:gd name="connsiteY39" fmla="*/ 6276915 h 6858000"/>
              <a:gd name="connsiteX40" fmla="*/ 990249 w 12199272"/>
              <a:gd name="connsiteY40" fmla="*/ 6274150 h 6858000"/>
              <a:gd name="connsiteX41" fmla="*/ 994309 w 12199272"/>
              <a:gd name="connsiteY41" fmla="*/ 6272007 h 6858000"/>
              <a:gd name="connsiteX42" fmla="*/ 998645 w 12199272"/>
              <a:gd name="connsiteY42" fmla="*/ 6270481 h 6858000"/>
              <a:gd name="connsiteX43" fmla="*/ 1003193 w 12199272"/>
              <a:gd name="connsiteY43" fmla="*/ 6269568 h 6858000"/>
              <a:gd name="connsiteX44" fmla="*/ 1007893 w 12199272"/>
              <a:gd name="connsiteY44" fmla="*/ 6269265 h 6858000"/>
              <a:gd name="connsiteX45" fmla="*/ 1349948 w 12199272"/>
              <a:gd name="connsiteY45" fmla="*/ 6269264 h 6858000"/>
              <a:gd name="connsiteX46" fmla="*/ 1354581 w 12199272"/>
              <a:gd name="connsiteY46" fmla="*/ 6269561 h 6858000"/>
              <a:gd name="connsiteX47" fmla="*/ 1359089 w 12199272"/>
              <a:gd name="connsiteY47" fmla="*/ 6270455 h 6858000"/>
              <a:gd name="connsiteX48" fmla="*/ 1363405 w 12199272"/>
              <a:gd name="connsiteY48" fmla="*/ 6271956 h 6858000"/>
              <a:gd name="connsiteX49" fmla="*/ 1367462 w 12199272"/>
              <a:gd name="connsiteY49" fmla="*/ 6274072 h 6858000"/>
              <a:gd name="connsiteX50" fmla="*/ 1371195 w 12199272"/>
              <a:gd name="connsiteY50" fmla="*/ 6276811 h 6858000"/>
              <a:gd name="connsiteX51" fmla="*/ 1374536 w 12199272"/>
              <a:gd name="connsiteY51" fmla="*/ 6280181 h 6858000"/>
              <a:gd name="connsiteX52" fmla="*/ 1377418 w 12199272"/>
              <a:gd name="connsiteY52" fmla="*/ 6284190 h 6858000"/>
              <a:gd name="connsiteX53" fmla="*/ 1379777 w 12199272"/>
              <a:gd name="connsiteY53" fmla="*/ 6288848 h 6858000"/>
              <a:gd name="connsiteX54" fmla="*/ 1381543 w 12199272"/>
              <a:gd name="connsiteY54" fmla="*/ 6294161 h 6858000"/>
              <a:gd name="connsiteX55" fmla="*/ 1382652 w 12199272"/>
              <a:gd name="connsiteY55" fmla="*/ 6300138 h 6858000"/>
              <a:gd name="connsiteX56" fmla="*/ 1383037 w 12199272"/>
              <a:gd name="connsiteY56" fmla="*/ 6306788 h 6858000"/>
              <a:gd name="connsiteX57" fmla="*/ 1382652 w 12199272"/>
              <a:gd name="connsiteY57" fmla="*/ 6313445 h 6858000"/>
              <a:gd name="connsiteX58" fmla="*/ 1381543 w 12199272"/>
              <a:gd name="connsiteY58" fmla="*/ 6319442 h 6858000"/>
              <a:gd name="connsiteX59" fmla="*/ 1379777 w 12199272"/>
              <a:gd name="connsiteY59" fmla="*/ 6324784 h 6858000"/>
              <a:gd name="connsiteX60" fmla="*/ 1377418 w 12199272"/>
              <a:gd name="connsiteY60" fmla="*/ 6329478 h 6858000"/>
              <a:gd name="connsiteX61" fmla="*/ 1374536 w 12199272"/>
              <a:gd name="connsiteY61" fmla="*/ 6333527 h 6858000"/>
              <a:gd name="connsiteX62" fmla="*/ 1371195 w 12199272"/>
              <a:gd name="connsiteY62" fmla="*/ 6336939 h 6858000"/>
              <a:gd name="connsiteX63" fmla="*/ 1367462 w 12199272"/>
              <a:gd name="connsiteY63" fmla="*/ 6339718 h 6858000"/>
              <a:gd name="connsiteX64" fmla="*/ 1363405 w 12199272"/>
              <a:gd name="connsiteY64" fmla="*/ 6341869 h 6858000"/>
              <a:gd name="connsiteX65" fmla="*/ 1359089 w 12199272"/>
              <a:gd name="connsiteY65" fmla="*/ 6343400 h 6858000"/>
              <a:gd name="connsiteX66" fmla="*/ 1354581 w 12199272"/>
              <a:gd name="connsiteY66" fmla="*/ 6344314 h 6858000"/>
              <a:gd name="connsiteX67" fmla="*/ 1349948 w 12199272"/>
              <a:gd name="connsiteY67" fmla="*/ 6344617 h 6858000"/>
              <a:gd name="connsiteX68" fmla="*/ 1345382 w 12199272"/>
              <a:gd name="connsiteY68" fmla="*/ 6344307 h 6858000"/>
              <a:gd name="connsiteX69" fmla="*/ 1340916 w 12199272"/>
              <a:gd name="connsiteY69" fmla="*/ 6343375 h 6858000"/>
              <a:gd name="connsiteX70" fmla="*/ 1336620 w 12199272"/>
              <a:gd name="connsiteY70" fmla="*/ 6341820 h 6858000"/>
              <a:gd name="connsiteX71" fmla="*/ 1332565 w 12199272"/>
              <a:gd name="connsiteY71" fmla="*/ 6339640 h 6858000"/>
              <a:gd name="connsiteX72" fmla="*/ 1328822 w 12199272"/>
              <a:gd name="connsiteY72" fmla="*/ 6336835 h 6858000"/>
              <a:gd name="connsiteX73" fmla="*/ 1325461 w 12199272"/>
              <a:gd name="connsiteY73" fmla="*/ 6333403 h 6858000"/>
              <a:gd name="connsiteX74" fmla="*/ 1322553 w 12199272"/>
              <a:gd name="connsiteY74" fmla="*/ 6329343 h 6858000"/>
              <a:gd name="connsiteX75" fmla="*/ 1320168 w 12199272"/>
              <a:gd name="connsiteY75" fmla="*/ 6324652 h 6858000"/>
              <a:gd name="connsiteX76" fmla="*/ 1318378 w 12199272"/>
              <a:gd name="connsiteY76" fmla="*/ 6319330 h 6858000"/>
              <a:gd name="connsiteX77" fmla="*/ 1317251 w 12199272"/>
              <a:gd name="connsiteY77" fmla="*/ 6313376 h 6858000"/>
              <a:gd name="connsiteX78" fmla="*/ 1316860 w 12199272"/>
              <a:gd name="connsiteY78" fmla="*/ 6306788 h 6858000"/>
              <a:gd name="connsiteX79" fmla="*/ 1317251 w 12199272"/>
              <a:gd name="connsiteY79" fmla="*/ 6300138 h 6858000"/>
              <a:gd name="connsiteX80" fmla="*/ 1318378 w 12199272"/>
              <a:gd name="connsiteY80" fmla="*/ 6294161 h 6858000"/>
              <a:gd name="connsiteX81" fmla="*/ 1320168 w 12199272"/>
              <a:gd name="connsiteY81" fmla="*/ 6288848 h 6858000"/>
              <a:gd name="connsiteX82" fmla="*/ 1322553 w 12199272"/>
              <a:gd name="connsiteY82" fmla="*/ 6284190 h 6858000"/>
              <a:gd name="connsiteX83" fmla="*/ 1325461 w 12199272"/>
              <a:gd name="connsiteY83" fmla="*/ 6280181 h 6858000"/>
              <a:gd name="connsiteX84" fmla="*/ 1328822 w 12199272"/>
              <a:gd name="connsiteY84" fmla="*/ 6276811 h 6858000"/>
              <a:gd name="connsiteX85" fmla="*/ 1332565 w 12199272"/>
              <a:gd name="connsiteY85" fmla="*/ 6274072 h 6858000"/>
              <a:gd name="connsiteX86" fmla="*/ 1336620 w 12199272"/>
              <a:gd name="connsiteY86" fmla="*/ 6271956 h 6858000"/>
              <a:gd name="connsiteX87" fmla="*/ 1340916 w 12199272"/>
              <a:gd name="connsiteY87" fmla="*/ 6270455 h 6858000"/>
              <a:gd name="connsiteX88" fmla="*/ 1345382 w 12199272"/>
              <a:gd name="connsiteY88" fmla="*/ 6269561 h 6858000"/>
              <a:gd name="connsiteX89" fmla="*/ 1349948 w 12199272"/>
              <a:gd name="connsiteY89" fmla="*/ 6269264 h 6858000"/>
              <a:gd name="connsiteX90" fmla="*/ 1106434 w 12199272"/>
              <a:gd name="connsiteY90" fmla="*/ 6231132 h 6858000"/>
              <a:gd name="connsiteX91" fmla="*/ 1104886 w 12199272"/>
              <a:gd name="connsiteY91" fmla="*/ 6231455 h 6858000"/>
              <a:gd name="connsiteX92" fmla="*/ 1103622 w 12199272"/>
              <a:gd name="connsiteY92" fmla="*/ 6232335 h 6858000"/>
              <a:gd name="connsiteX93" fmla="*/ 1102769 w 12199272"/>
              <a:gd name="connsiteY93" fmla="*/ 6233641 h 6858000"/>
              <a:gd name="connsiteX94" fmla="*/ 1102457 w 12199272"/>
              <a:gd name="connsiteY94" fmla="*/ 6235239 h 6858000"/>
              <a:gd name="connsiteX95" fmla="*/ 1102457 w 12199272"/>
              <a:gd name="connsiteY95" fmla="*/ 6378643 h 6858000"/>
              <a:gd name="connsiteX96" fmla="*/ 1102769 w 12199272"/>
              <a:gd name="connsiteY96" fmla="*/ 6380242 h 6858000"/>
              <a:gd name="connsiteX97" fmla="*/ 1103622 w 12199272"/>
              <a:gd name="connsiteY97" fmla="*/ 6381547 h 6858000"/>
              <a:gd name="connsiteX98" fmla="*/ 1104886 w 12199272"/>
              <a:gd name="connsiteY98" fmla="*/ 6382427 h 6858000"/>
              <a:gd name="connsiteX99" fmla="*/ 1106434 w 12199272"/>
              <a:gd name="connsiteY99" fmla="*/ 6382750 h 6858000"/>
              <a:gd name="connsiteX100" fmla="*/ 1143384 w 12199272"/>
              <a:gd name="connsiteY100" fmla="*/ 6382750 h 6858000"/>
              <a:gd name="connsiteX101" fmla="*/ 1144932 w 12199272"/>
              <a:gd name="connsiteY101" fmla="*/ 6382427 h 6858000"/>
              <a:gd name="connsiteX102" fmla="*/ 1146197 w 12199272"/>
              <a:gd name="connsiteY102" fmla="*/ 6381547 h 6858000"/>
              <a:gd name="connsiteX103" fmla="*/ 1147050 w 12199272"/>
              <a:gd name="connsiteY103" fmla="*/ 6380242 h 6858000"/>
              <a:gd name="connsiteX104" fmla="*/ 1147362 w 12199272"/>
              <a:gd name="connsiteY104" fmla="*/ 6378643 h 6858000"/>
              <a:gd name="connsiteX105" fmla="*/ 1147362 w 12199272"/>
              <a:gd name="connsiteY105" fmla="*/ 6235239 h 6858000"/>
              <a:gd name="connsiteX106" fmla="*/ 1147050 w 12199272"/>
              <a:gd name="connsiteY106" fmla="*/ 6233641 h 6858000"/>
              <a:gd name="connsiteX107" fmla="*/ 1146197 w 12199272"/>
              <a:gd name="connsiteY107" fmla="*/ 6232335 h 6858000"/>
              <a:gd name="connsiteX108" fmla="*/ 1144932 w 12199272"/>
              <a:gd name="connsiteY108" fmla="*/ 6231455 h 6858000"/>
              <a:gd name="connsiteX109" fmla="*/ 1143384 w 12199272"/>
              <a:gd name="connsiteY109" fmla="*/ 6231132 h 6858000"/>
              <a:gd name="connsiteX110" fmla="*/ 1106434 w 12199272"/>
              <a:gd name="connsiteY110" fmla="*/ 6231132 h 6858000"/>
              <a:gd name="connsiteX111" fmla="*/ 1254739 w 12199272"/>
              <a:gd name="connsiteY111" fmla="*/ 6229607 h 6858000"/>
              <a:gd name="connsiteX112" fmla="*/ 1250024 w 12199272"/>
              <a:gd name="connsiteY112" fmla="*/ 6229850 h 6858000"/>
              <a:gd name="connsiteX113" fmla="*/ 1244879 w 12199272"/>
              <a:gd name="connsiteY113" fmla="*/ 6230637 h 6858000"/>
              <a:gd name="connsiteX114" fmla="*/ 1239513 w 12199272"/>
              <a:gd name="connsiteY114" fmla="*/ 6232052 h 6858000"/>
              <a:gd name="connsiteX115" fmla="*/ 1234133 w 12199272"/>
              <a:gd name="connsiteY115" fmla="*/ 6234183 h 6858000"/>
              <a:gd name="connsiteX116" fmla="*/ 1228947 w 12199272"/>
              <a:gd name="connsiteY116" fmla="*/ 6237114 h 6858000"/>
              <a:gd name="connsiteX117" fmla="*/ 1224162 w 12199272"/>
              <a:gd name="connsiteY117" fmla="*/ 6240933 h 6858000"/>
              <a:gd name="connsiteX118" fmla="*/ 1219987 w 12199272"/>
              <a:gd name="connsiteY118" fmla="*/ 6245723 h 6858000"/>
              <a:gd name="connsiteX119" fmla="*/ 1216628 w 12199272"/>
              <a:gd name="connsiteY119" fmla="*/ 6251572 h 6858000"/>
              <a:gd name="connsiteX120" fmla="*/ 1216628 w 12199272"/>
              <a:gd name="connsiteY120" fmla="*/ 6235238 h 6858000"/>
              <a:gd name="connsiteX121" fmla="*/ 1216316 w 12199272"/>
              <a:gd name="connsiteY121" fmla="*/ 6233640 h 6858000"/>
              <a:gd name="connsiteX122" fmla="*/ 1215463 w 12199272"/>
              <a:gd name="connsiteY122" fmla="*/ 6232335 h 6858000"/>
              <a:gd name="connsiteX123" fmla="*/ 1214199 w 12199272"/>
              <a:gd name="connsiteY123" fmla="*/ 6231454 h 6858000"/>
              <a:gd name="connsiteX124" fmla="*/ 1212650 w 12199272"/>
              <a:gd name="connsiteY124" fmla="*/ 6231132 h 6858000"/>
              <a:gd name="connsiteX125" fmla="*/ 1177178 w 12199272"/>
              <a:gd name="connsiteY125" fmla="*/ 6231132 h 6858000"/>
              <a:gd name="connsiteX126" fmla="*/ 1175630 w 12199272"/>
              <a:gd name="connsiteY126" fmla="*/ 6231454 h 6858000"/>
              <a:gd name="connsiteX127" fmla="*/ 1174366 w 12199272"/>
              <a:gd name="connsiteY127" fmla="*/ 6232335 h 6858000"/>
              <a:gd name="connsiteX128" fmla="*/ 1173513 w 12199272"/>
              <a:gd name="connsiteY128" fmla="*/ 6233640 h 6858000"/>
              <a:gd name="connsiteX129" fmla="*/ 1173201 w 12199272"/>
              <a:gd name="connsiteY129" fmla="*/ 6235238 h 6858000"/>
              <a:gd name="connsiteX130" fmla="*/ 1173201 w 12199272"/>
              <a:gd name="connsiteY130" fmla="*/ 6378642 h 6858000"/>
              <a:gd name="connsiteX131" fmla="*/ 1173513 w 12199272"/>
              <a:gd name="connsiteY131" fmla="*/ 6380242 h 6858000"/>
              <a:gd name="connsiteX132" fmla="*/ 1174366 w 12199272"/>
              <a:gd name="connsiteY132" fmla="*/ 6381548 h 6858000"/>
              <a:gd name="connsiteX133" fmla="*/ 1175630 w 12199272"/>
              <a:gd name="connsiteY133" fmla="*/ 6382428 h 6858000"/>
              <a:gd name="connsiteX134" fmla="*/ 1177178 w 12199272"/>
              <a:gd name="connsiteY134" fmla="*/ 6382751 h 6858000"/>
              <a:gd name="connsiteX135" fmla="*/ 1214127 w 12199272"/>
              <a:gd name="connsiteY135" fmla="*/ 6382751 h 6858000"/>
              <a:gd name="connsiteX136" fmla="*/ 1215676 w 12199272"/>
              <a:gd name="connsiteY136" fmla="*/ 6382428 h 6858000"/>
              <a:gd name="connsiteX137" fmla="*/ 1216940 w 12199272"/>
              <a:gd name="connsiteY137" fmla="*/ 6381548 h 6858000"/>
              <a:gd name="connsiteX138" fmla="*/ 1217792 w 12199272"/>
              <a:gd name="connsiteY138" fmla="*/ 6380242 h 6858000"/>
              <a:gd name="connsiteX139" fmla="*/ 1218105 w 12199272"/>
              <a:gd name="connsiteY139" fmla="*/ 6378642 h 6858000"/>
              <a:gd name="connsiteX140" fmla="*/ 1218105 w 12199272"/>
              <a:gd name="connsiteY140" fmla="*/ 6316549 h 6858000"/>
              <a:gd name="connsiteX141" fmla="*/ 1218497 w 12199272"/>
              <a:gd name="connsiteY141" fmla="*/ 6308781 h 6858000"/>
              <a:gd name="connsiteX142" fmla="*/ 1219630 w 12199272"/>
              <a:gd name="connsiteY142" fmla="*/ 6301926 h 6858000"/>
              <a:gd name="connsiteX143" fmla="*/ 1221437 w 12199272"/>
              <a:gd name="connsiteY143" fmla="*/ 6295946 h 6858000"/>
              <a:gd name="connsiteX144" fmla="*/ 1223855 w 12199272"/>
              <a:gd name="connsiteY144" fmla="*/ 6290807 h 6858000"/>
              <a:gd name="connsiteX145" fmla="*/ 1226817 w 12199272"/>
              <a:gd name="connsiteY145" fmla="*/ 6286470 h 6858000"/>
              <a:gd name="connsiteX146" fmla="*/ 1230259 w 12199272"/>
              <a:gd name="connsiteY146" fmla="*/ 6282901 h 6858000"/>
              <a:gd name="connsiteX147" fmla="*/ 1234115 w 12199272"/>
              <a:gd name="connsiteY147" fmla="*/ 6280062 h 6858000"/>
              <a:gd name="connsiteX148" fmla="*/ 1238320 w 12199272"/>
              <a:gd name="connsiteY148" fmla="*/ 6277917 h 6858000"/>
              <a:gd name="connsiteX149" fmla="*/ 1242809 w 12199272"/>
              <a:gd name="connsiteY149" fmla="*/ 6276430 h 6858000"/>
              <a:gd name="connsiteX150" fmla="*/ 1247516 w 12199272"/>
              <a:gd name="connsiteY150" fmla="*/ 6275565 h 6858000"/>
              <a:gd name="connsiteX151" fmla="*/ 1252376 w 12199272"/>
              <a:gd name="connsiteY151" fmla="*/ 6275284 h 6858000"/>
              <a:gd name="connsiteX152" fmla="*/ 1254599 w 12199272"/>
              <a:gd name="connsiteY152" fmla="*/ 6275312 h 6858000"/>
              <a:gd name="connsiteX153" fmla="*/ 1256730 w 12199272"/>
              <a:gd name="connsiteY153" fmla="*/ 6275402 h 6858000"/>
              <a:gd name="connsiteX154" fmla="*/ 1258821 w 12199272"/>
              <a:gd name="connsiteY154" fmla="*/ 6275565 h 6858000"/>
              <a:gd name="connsiteX155" fmla="*/ 1260894 w 12199272"/>
              <a:gd name="connsiteY155" fmla="*/ 6275809 h 6858000"/>
              <a:gd name="connsiteX156" fmla="*/ 1262471 w 12199272"/>
              <a:gd name="connsiteY156" fmla="*/ 6275713 h 6858000"/>
              <a:gd name="connsiteX157" fmla="*/ 1263347 w 12199272"/>
              <a:gd name="connsiteY157" fmla="*/ 6275284 h 6858000"/>
              <a:gd name="connsiteX158" fmla="*/ 1263848 w 12199272"/>
              <a:gd name="connsiteY158" fmla="*/ 6275039 h 6858000"/>
              <a:gd name="connsiteX159" fmla="*/ 1264877 w 12199272"/>
              <a:gd name="connsiteY159" fmla="*/ 6273889 h 6858000"/>
              <a:gd name="connsiteX160" fmla="*/ 1265415 w 12199272"/>
              <a:gd name="connsiteY160" fmla="*/ 6272363 h 6858000"/>
              <a:gd name="connsiteX161" fmla="*/ 1268444 w 12199272"/>
              <a:gd name="connsiteY161" fmla="*/ 6251572 h 6858000"/>
              <a:gd name="connsiteX162" fmla="*/ 1270750 w 12199272"/>
              <a:gd name="connsiteY162" fmla="*/ 6235738 h 6858000"/>
              <a:gd name="connsiteX163" fmla="*/ 1270687 w 12199272"/>
              <a:gd name="connsiteY163" fmla="*/ 6234167 h 6858000"/>
              <a:gd name="connsiteX164" fmla="*/ 1264312 w 12199272"/>
              <a:gd name="connsiteY164" fmla="*/ 6230481 h 6858000"/>
              <a:gd name="connsiteX165" fmla="*/ 1257574 w 12199272"/>
              <a:gd name="connsiteY165" fmla="*/ 6229712 h 6858000"/>
              <a:gd name="connsiteX166" fmla="*/ 1254739 w 12199272"/>
              <a:gd name="connsiteY166" fmla="*/ 6229607 h 6858000"/>
              <a:gd name="connsiteX167" fmla="*/ 1017052 w 12199272"/>
              <a:gd name="connsiteY167" fmla="*/ 6227471 h 6858000"/>
              <a:gd name="connsiteX168" fmla="*/ 1010253 w 12199272"/>
              <a:gd name="connsiteY168" fmla="*/ 6227809 h 6858000"/>
              <a:gd name="connsiteX169" fmla="*/ 1003864 w 12199272"/>
              <a:gd name="connsiteY169" fmla="*/ 6228772 h 6858000"/>
              <a:gd name="connsiteX170" fmla="*/ 997926 w 12199272"/>
              <a:gd name="connsiteY170" fmla="*/ 6230284 h 6858000"/>
              <a:gd name="connsiteX171" fmla="*/ 992476 w 12199272"/>
              <a:gd name="connsiteY171" fmla="*/ 6232272 h 6858000"/>
              <a:gd name="connsiteX172" fmla="*/ 987553 w 12199272"/>
              <a:gd name="connsiteY172" fmla="*/ 6234658 h 6858000"/>
              <a:gd name="connsiteX173" fmla="*/ 983198 w 12199272"/>
              <a:gd name="connsiteY173" fmla="*/ 6237369 h 6858000"/>
              <a:gd name="connsiteX174" fmla="*/ 979447 w 12199272"/>
              <a:gd name="connsiteY174" fmla="*/ 6240328 h 6858000"/>
              <a:gd name="connsiteX175" fmla="*/ 973919 w 12199272"/>
              <a:gd name="connsiteY175" fmla="*/ 6246690 h 6858000"/>
              <a:gd name="connsiteX176" fmla="*/ 973919 w 12199272"/>
              <a:gd name="connsiteY176" fmla="*/ 6235238 h 6858000"/>
              <a:gd name="connsiteX177" fmla="*/ 973606 w 12199272"/>
              <a:gd name="connsiteY177" fmla="*/ 6233640 h 6858000"/>
              <a:gd name="connsiteX178" fmla="*/ 972754 w 12199272"/>
              <a:gd name="connsiteY178" fmla="*/ 6232335 h 6858000"/>
              <a:gd name="connsiteX179" fmla="*/ 971489 w 12199272"/>
              <a:gd name="connsiteY179" fmla="*/ 6231454 h 6858000"/>
              <a:gd name="connsiteX180" fmla="*/ 969940 w 12199272"/>
              <a:gd name="connsiteY180" fmla="*/ 6231132 h 6858000"/>
              <a:gd name="connsiteX181" fmla="*/ 934469 w 12199272"/>
              <a:gd name="connsiteY181" fmla="*/ 6231132 h 6858000"/>
              <a:gd name="connsiteX182" fmla="*/ 932920 w 12199272"/>
              <a:gd name="connsiteY182" fmla="*/ 6231454 h 6858000"/>
              <a:gd name="connsiteX183" fmla="*/ 931655 w 12199272"/>
              <a:gd name="connsiteY183" fmla="*/ 6232335 h 6858000"/>
              <a:gd name="connsiteX184" fmla="*/ 930803 w 12199272"/>
              <a:gd name="connsiteY184" fmla="*/ 6233640 h 6858000"/>
              <a:gd name="connsiteX185" fmla="*/ 930490 w 12199272"/>
              <a:gd name="connsiteY185" fmla="*/ 6235238 h 6858000"/>
              <a:gd name="connsiteX186" fmla="*/ 930490 w 12199272"/>
              <a:gd name="connsiteY186" fmla="*/ 6436605 h 6858000"/>
              <a:gd name="connsiteX187" fmla="*/ 930803 w 12199272"/>
              <a:gd name="connsiteY187" fmla="*/ 6438204 h 6858000"/>
              <a:gd name="connsiteX188" fmla="*/ 931655 w 12199272"/>
              <a:gd name="connsiteY188" fmla="*/ 6439509 h 6858000"/>
              <a:gd name="connsiteX189" fmla="*/ 932920 w 12199272"/>
              <a:gd name="connsiteY189" fmla="*/ 6440389 h 6858000"/>
              <a:gd name="connsiteX190" fmla="*/ 934469 w 12199272"/>
              <a:gd name="connsiteY190" fmla="*/ 6440712 h 6858000"/>
              <a:gd name="connsiteX191" fmla="*/ 971418 w 12199272"/>
              <a:gd name="connsiteY191" fmla="*/ 6440712 h 6858000"/>
              <a:gd name="connsiteX192" fmla="*/ 972966 w 12199272"/>
              <a:gd name="connsiteY192" fmla="*/ 6440389 h 6858000"/>
              <a:gd name="connsiteX193" fmla="*/ 974230 w 12199272"/>
              <a:gd name="connsiteY193" fmla="*/ 6439509 h 6858000"/>
              <a:gd name="connsiteX194" fmla="*/ 975083 w 12199272"/>
              <a:gd name="connsiteY194" fmla="*/ 6438204 h 6858000"/>
              <a:gd name="connsiteX195" fmla="*/ 975395 w 12199272"/>
              <a:gd name="connsiteY195" fmla="*/ 6436605 h 6858000"/>
              <a:gd name="connsiteX196" fmla="*/ 975395 w 12199272"/>
              <a:gd name="connsiteY196" fmla="*/ 6370853 h 6858000"/>
              <a:gd name="connsiteX197" fmla="*/ 978285 w 12199272"/>
              <a:gd name="connsiteY197" fmla="*/ 6373960 h 6858000"/>
              <a:gd name="connsiteX198" fmla="*/ 981835 w 12199272"/>
              <a:gd name="connsiteY198" fmla="*/ 6376839 h 6858000"/>
              <a:gd name="connsiteX199" fmla="*/ 986016 w 12199272"/>
              <a:gd name="connsiteY199" fmla="*/ 6379433 h 6858000"/>
              <a:gd name="connsiteX200" fmla="*/ 990795 w 12199272"/>
              <a:gd name="connsiteY200" fmla="*/ 6381683 h 6858000"/>
              <a:gd name="connsiteX201" fmla="*/ 996142 w 12199272"/>
              <a:gd name="connsiteY201" fmla="*/ 6383532 h 6858000"/>
              <a:gd name="connsiteX202" fmla="*/ 1002026 w 12199272"/>
              <a:gd name="connsiteY202" fmla="*/ 6384925 h 6858000"/>
              <a:gd name="connsiteX203" fmla="*/ 1008415 w 12199272"/>
              <a:gd name="connsiteY203" fmla="*/ 6385802 h 6858000"/>
              <a:gd name="connsiteX204" fmla="*/ 1015278 w 12199272"/>
              <a:gd name="connsiteY204" fmla="*/ 6386107 h 6858000"/>
              <a:gd name="connsiteX205" fmla="*/ 1020801 w 12199272"/>
              <a:gd name="connsiteY205" fmla="*/ 6385903 h 6858000"/>
              <a:gd name="connsiteX206" fmla="*/ 1026165 w 12199272"/>
              <a:gd name="connsiteY206" fmla="*/ 6385298 h 6858000"/>
              <a:gd name="connsiteX207" fmla="*/ 1031359 w 12199272"/>
              <a:gd name="connsiteY207" fmla="*/ 6384303 h 6858000"/>
              <a:gd name="connsiteX208" fmla="*/ 1036375 w 12199272"/>
              <a:gd name="connsiteY208" fmla="*/ 6382930 h 6858000"/>
              <a:gd name="connsiteX209" fmla="*/ 1041203 w 12199272"/>
              <a:gd name="connsiteY209" fmla="*/ 6381190 h 6858000"/>
              <a:gd name="connsiteX210" fmla="*/ 1045833 w 12199272"/>
              <a:gd name="connsiteY210" fmla="*/ 6379095 h 6858000"/>
              <a:gd name="connsiteX211" fmla="*/ 1050256 w 12199272"/>
              <a:gd name="connsiteY211" fmla="*/ 6376656 h 6858000"/>
              <a:gd name="connsiteX212" fmla="*/ 1054462 w 12199272"/>
              <a:gd name="connsiteY212" fmla="*/ 6373884 h 6858000"/>
              <a:gd name="connsiteX213" fmla="*/ 1058363 w 12199272"/>
              <a:gd name="connsiteY213" fmla="*/ 6370853 h 6858000"/>
              <a:gd name="connsiteX214" fmla="*/ 1062187 w 12199272"/>
              <a:gd name="connsiteY214" fmla="*/ 6367387 h 6858000"/>
              <a:gd name="connsiteX215" fmla="*/ 1065687 w 12199272"/>
              <a:gd name="connsiteY215" fmla="*/ 6363684 h 6858000"/>
              <a:gd name="connsiteX216" fmla="*/ 1068932 w 12199272"/>
              <a:gd name="connsiteY216" fmla="*/ 6359694 h 6858000"/>
              <a:gd name="connsiteX217" fmla="*/ 1071913 w 12199272"/>
              <a:gd name="connsiteY217" fmla="*/ 6355428 h 6858000"/>
              <a:gd name="connsiteX218" fmla="*/ 1074621 w 12199272"/>
              <a:gd name="connsiteY218" fmla="*/ 6350898 h 6858000"/>
              <a:gd name="connsiteX219" fmla="*/ 1077046 w 12199272"/>
              <a:gd name="connsiteY219" fmla="*/ 6346114 h 6858000"/>
              <a:gd name="connsiteX220" fmla="*/ 1077680 w 12199272"/>
              <a:gd name="connsiteY220" fmla="*/ 6344618 h 6858000"/>
              <a:gd name="connsiteX221" fmla="*/ 1081008 w 12199272"/>
              <a:gd name="connsiteY221" fmla="*/ 6335831 h 6858000"/>
              <a:gd name="connsiteX222" fmla="*/ 1082527 w 12199272"/>
              <a:gd name="connsiteY222" fmla="*/ 6330355 h 6858000"/>
              <a:gd name="connsiteX223" fmla="*/ 1083727 w 12199272"/>
              <a:gd name="connsiteY223" fmla="*/ 6324652 h 6858000"/>
              <a:gd name="connsiteX224" fmla="*/ 1084591 w 12199272"/>
              <a:gd name="connsiteY224" fmla="*/ 6318790 h 6858000"/>
              <a:gd name="connsiteX225" fmla="*/ 1085119 w 12199272"/>
              <a:gd name="connsiteY225" fmla="*/ 6312724 h 6858000"/>
              <a:gd name="connsiteX226" fmla="*/ 1085297 w 12199272"/>
              <a:gd name="connsiteY226" fmla="*/ 6306484 h 6858000"/>
              <a:gd name="connsiteX227" fmla="*/ 1085138 w 12199272"/>
              <a:gd name="connsiteY227" fmla="*/ 6300361 h 6858000"/>
              <a:gd name="connsiteX228" fmla="*/ 1084666 w 12199272"/>
              <a:gd name="connsiteY228" fmla="*/ 6294398 h 6858000"/>
              <a:gd name="connsiteX229" fmla="*/ 1083885 w 12199272"/>
              <a:gd name="connsiteY229" fmla="*/ 6288607 h 6858000"/>
              <a:gd name="connsiteX230" fmla="*/ 1082801 w 12199272"/>
              <a:gd name="connsiteY230" fmla="*/ 6283000 h 6858000"/>
              <a:gd name="connsiteX231" fmla="*/ 1081418 w 12199272"/>
              <a:gd name="connsiteY231" fmla="*/ 6277590 h 6858000"/>
              <a:gd name="connsiteX232" fmla="*/ 1079741 w 12199272"/>
              <a:gd name="connsiteY232" fmla="*/ 6272388 h 6858000"/>
              <a:gd name="connsiteX233" fmla="*/ 1078509 w 12199272"/>
              <a:gd name="connsiteY233" fmla="*/ 6269265 h 6858000"/>
              <a:gd name="connsiteX234" fmla="*/ 1077776 w 12199272"/>
              <a:gd name="connsiteY234" fmla="*/ 6267406 h 6858000"/>
              <a:gd name="connsiteX235" fmla="*/ 1075527 w 12199272"/>
              <a:gd name="connsiteY235" fmla="*/ 6262658 h 6858000"/>
              <a:gd name="connsiteX236" fmla="*/ 1072999 w 12199272"/>
              <a:gd name="connsiteY236" fmla="*/ 6258154 h 6858000"/>
              <a:gd name="connsiteX237" fmla="*/ 1070198 w 12199272"/>
              <a:gd name="connsiteY237" fmla="*/ 6253908 h 6858000"/>
              <a:gd name="connsiteX238" fmla="*/ 1067128 w 12199272"/>
              <a:gd name="connsiteY238" fmla="*/ 6249932 h 6858000"/>
              <a:gd name="connsiteX239" fmla="*/ 1064203 w 12199272"/>
              <a:gd name="connsiteY239" fmla="*/ 6246690 h 6858000"/>
              <a:gd name="connsiteX240" fmla="*/ 1060201 w 12199272"/>
              <a:gd name="connsiteY240" fmla="*/ 6242836 h 6858000"/>
              <a:gd name="connsiteX241" fmla="*/ 1056355 w 12199272"/>
              <a:gd name="connsiteY241" fmla="*/ 6239742 h 6858000"/>
              <a:gd name="connsiteX242" fmla="*/ 1052260 w 12199272"/>
              <a:gd name="connsiteY242" fmla="*/ 6236966 h 6858000"/>
              <a:gd name="connsiteX243" fmla="*/ 1047922 w 12199272"/>
              <a:gd name="connsiteY243" fmla="*/ 6234520 h 6858000"/>
              <a:gd name="connsiteX244" fmla="*/ 1043344 w 12199272"/>
              <a:gd name="connsiteY244" fmla="*/ 6232417 h 6858000"/>
              <a:gd name="connsiteX245" fmla="*/ 1038533 w 12199272"/>
              <a:gd name="connsiteY245" fmla="*/ 6230669 h 6858000"/>
              <a:gd name="connsiteX246" fmla="*/ 1033494 w 12199272"/>
              <a:gd name="connsiteY246" fmla="*/ 6229288 h 6858000"/>
              <a:gd name="connsiteX247" fmla="*/ 1028230 w 12199272"/>
              <a:gd name="connsiteY247" fmla="*/ 6228287 h 6858000"/>
              <a:gd name="connsiteX248" fmla="*/ 1022748 w 12199272"/>
              <a:gd name="connsiteY248" fmla="*/ 6227677 h 6858000"/>
              <a:gd name="connsiteX249" fmla="*/ 1017052 w 12199272"/>
              <a:gd name="connsiteY249" fmla="*/ 6227471 h 6858000"/>
              <a:gd name="connsiteX250" fmla="*/ 1518121 w 12199272"/>
              <a:gd name="connsiteY250" fmla="*/ 6226556 h 6858000"/>
              <a:gd name="connsiteX251" fmla="*/ 1512547 w 12199272"/>
              <a:gd name="connsiteY251" fmla="*/ 6226743 h 6858000"/>
              <a:gd name="connsiteX252" fmla="*/ 1507086 w 12199272"/>
              <a:gd name="connsiteY252" fmla="*/ 6227298 h 6858000"/>
              <a:gd name="connsiteX253" fmla="*/ 1501751 w 12199272"/>
              <a:gd name="connsiteY253" fmla="*/ 6228211 h 6858000"/>
              <a:gd name="connsiteX254" fmla="*/ 1496554 w 12199272"/>
              <a:gd name="connsiteY254" fmla="*/ 6229472 h 6858000"/>
              <a:gd name="connsiteX255" fmla="*/ 1491508 w 12199272"/>
              <a:gd name="connsiteY255" fmla="*/ 6231073 h 6858000"/>
              <a:gd name="connsiteX256" fmla="*/ 1486625 w 12199272"/>
              <a:gd name="connsiteY256" fmla="*/ 6233004 h 6858000"/>
              <a:gd name="connsiteX257" fmla="*/ 1481918 w 12199272"/>
              <a:gd name="connsiteY257" fmla="*/ 6235254 h 6858000"/>
              <a:gd name="connsiteX258" fmla="*/ 1477398 w 12199272"/>
              <a:gd name="connsiteY258" fmla="*/ 6237816 h 6858000"/>
              <a:gd name="connsiteX259" fmla="*/ 1473080 w 12199272"/>
              <a:gd name="connsiteY259" fmla="*/ 6240679 h 6858000"/>
              <a:gd name="connsiteX260" fmla="*/ 1468975 w 12199272"/>
              <a:gd name="connsiteY260" fmla="*/ 6243834 h 6858000"/>
              <a:gd name="connsiteX261" fmla="*/ 1465095 w 12199272"/>
              <a:gd name="connsiteY261" fmla="*/ 6247271 h 6858000"/>
              <a:gd name="connsiteX262" fmla="*/ 1461455 w 12199272"/>
              <a:gd name="connsiteY262" fmla="*/ 6250981 h 6858000"/>
              <a:gd name="connsiteX263" fmla="*/ 1458064 w 12199272"/>
              <a:gd name="connsiteY263" fmla="*/ 6254955 h 6858000"/>
              <a:gd name="connsiteX264" fmla="*/ 1454938 w 12199272"/>
              <a:gd name="connsiteY264" fmla="*/ 6259182 h 6858000"/>
              <a:gd name="connsiteX265" fmla="*/ 1452087 w 12199272"/>
              <a:gd name="connsiteY265" fmla="*/ 6263654 h 6858000"/>
              <a:gd name="connsiteX266" fmla="*/ 1449525 w 12199272"/>
              <a:gd name="connsiteY266" fmla="*/ 6268361 h 6858000"/>
              <a:gd name="connsiteX267" fmla="*/ 1447263 w 12199272"/>
              <a:gd name="connsiteY267" fmla="*/ 6273294 h 6858000"/>
              <a:gd name="connsiteX268" fmla="*/ 1445310 w 12199272"/>
              <a:gd name="connsiteY268" fmla="*/ 6278461 h 6858000"/>
              <a:gd name="connsiteX269" fmla="*/ 1443694 w 12199272"/>
              <a:gd name="connsiteY269" fmla="*/ 6283797 h 6858000"/>
              <a:gd name="connsiteX270" fmla="*/ 1442411 w 12199272"/>
              <a:gd name="connsiteY270" fmla="*/ 6289349 h 6858000"/>
              <a:gd name="connsiteX271" fmla="*/ 1441479 w 12199272"/>
              <a:gd name="connsiteY271" fmla="*/ 6295089 h 6858000"/>
              <a:gd name="connsiteX272" fmla="*/ 1440910 w 12199272"/>
              <a:gd name="connsiteY272" fmla="*/ 6301007 h 6858000"/>
              <a:gd name="connsiteX273" fmla="*/ 1440718 w 12199272"/>
              <a:gd name="connsiteY273" fmla="*/ 6307094 h 6858000"/>
              <a:gd name="connsiteX274" fmla="*/ 1440899 w 12199272"/>
              <a:gd name="connsiteY274" fmla="*/ 6312893 h 6858000"/>
              <a:gd name="connsiteX275" fmla="*/ 1441435 w 12199272"/>
              <a:gd name="connsiteY275" fmla="*/ 6318541 h 6858000"/>
              <a:gd name="connsiteX276" fmla="*/ 1442314 w 12199272"/>
              <a:gd name="connsiteY276" fmla="*/ 6324029 h 6858000"/>
              <a:gd name="connsiteX277" fmla="*/ 1443524 w 12199272"/>
              <a:gd name="connsiteY277" fmla="*/ 6329349 h 6858000"/>
              <a:gd name="connsiteX278" fmla="*/ 1445055 w 12199272"/>
              <a:gd name="connsiteY278" fmla="*/ 6334492 h 6858000"/>
              <a:gd name="connsiteX279" fmla="*/ 1446894 w 12199272"/>
              <a:gd name="connsiteY279" fmla="*/ 6339450 h 6858000"/>
              <a:gd name="connsiteX280" fmla="*/ 1449030 w 12199272"/>
              <a:gd name="connsiteY280" fmla="*/ 6344213 h 6858000"/>
              <a:gd name="connsiteX281" fmla="*/ 1451452 w 12199272"/>
              <a:gd name="connsiteY281" fmla="*/ 6348774 h 6858000"/>
              <a:gd name="connsiteX282" fmla="*/ 1454147 w 12199272"/>
              <a:gd name="connsiteY282" fmla="*/ 6353125 h 6858000"/>
              <a:gd name="connsiteX283" fmla="*/ 1457105 w 12199272"/>
              <a:gd name="connsiteY283" fmla="*/ 6357256 h 6858000"/>
              <a:gd name="connsiteX284" fmla="*/ 1460313 w 12199272"/>
              <a:gd name="connsiteY284" fmla="*/ 6361160 h 6858000"/>
              <a:gd name="connsiteX285" fmla="*/ 1463761 w 12199272"/>
              <a:gd name="connsiteY285" fmla="*/ 6364827 h 6858000"/>
              <a:gd name="connsiteX286" fmla="*/ 1467436 w 12199272"/>
              <a:gd name="connsiteY286" fmla="*/ 6368250 h 6858000"/>
              <a:gd name="connsiteX287" fmla="*/ 1471328 w 12199272"/>
              <a:gd name="connsiteY287" fmla="*/ 6371419 h 6858000"/>
              <a:gd name="connsiteX288" fmla="*/ 1475425 w 12199272"/>
              <a:gd name="connsiteY288" fmla="*/ 6374327 h 6858000"/>
              <a:gd name="connsiteX289" fmla="*/ 1479714 w 12199272"/>
              <a:gd name="connsiteY289" fmla="*/ 6376964 h 6858000"/>
              <a:gd name="connsiteX290" fmla="*/ 1484185 w 12199272"/>
              <a:gd name="connsiteY290" fmla="*/ 6379324 h 6858000"/>
              <a:gd name="connsiteX291" fmla="*/ 1488826 w 12199272"/>
              <a:gd name="connsiteY291" fmla="*/ 6381396 h 6858000"/>
              <a:gd name="connsiteX292" fmla="*/ 1493626 w 12199272"/>
              <a:gd name="connsiteY292" fmla="*/ 6383172 h 6858000"/>
              <a:gd name="connsiteX293" fmla="*/ 1498572 w 12199272"/>
              <a:gd name="connsiteY293" fmla="*/ 6384645 h 6858000"/>
              <a:gd name="connsiteX294" fmla="*/ 1503654 w 12199272"/>
              <a:gd name="connsiteY294" fmla="*/ 6385805 h 6858000"/>
              <a:gd name="connsiteX295" fmla="*/ 1508860 w 12199272"/>
              <a:gd name="connsiteY295" fmla="*/ 6386644 h 6858000"/>
              <a:gd name="connsiteX296" fmla="*/ 1514178 w 12199272"/>
              <a:gd name="connsiteY296" fmla="*/ 6387153 h 6858000"/>
              <a:gd name="connsiteX297" fmla="*/ 1519597 w 12199272"/>
              <a:gd name="connsiteY297" fmla="*/ 6387325 h 6858000"/>
              <a:gd name="connsiteX298" fmla="*/ 1526428 w 12199272"/>
              <a:gd name="connsiteY298" fmla="*/ 6387054 h 6858000"/>
              <a:gd name="connsiteX299" fmla="*/ 1532938 w 12199272"/>
              <a:gd name="connsiteY299" fmla="*/ 6386261 h 6858000"/>
              <a:gd name="connsiteX300" fmla="*/ 1539123 w 12199272"/>
              <a:gd name="connsiteY300" fmla="*/ 6384980 h 6858000"/>
              <a:gd name="connsiteX301" fmla="*/ 1544980 w 12199272"/>
              <a:gd name="connsiteY301" fmla="*/ 6383243 h 6858000"/>
              <a:gd name="connsiteX302" fmla="*/ 1550506 w 12199272"/>
              <a:gd name="connsiteY302" fmla="*/ 6381082 h 6858000"/>
              <a:gd name="connsiteX303" fmla="*/ 1555698 w 12199272"/>
              <a:gd name="connsiteY303" fmla="*/ 6378529 h 6858000"/>
              <a:gd name="connsiteX304" fmla="*/ 1560552 w 12199272"/>
              <a:gd name="connsiteY304" fmla="*/ 6375618 h 6858000"/>
              <a:gd name="connsiteX305" fmla="*/ 1565064 w 12199272"/>
              <a:gd name="connsiteY305" fmla="*/ 6372380 h 6858000"/>
              <a:gd name="connsiteX306" fmla="*/ 1569232 w 12199272"/>
              <a:gd name="connsiteY306" fmla="*/ 6368848 h 6858000"/>
              <a:gd name="connsiteX307" fmla="*/ 1573052 w 12199272"/>
              <a:gd name="connsiteY307" fmla="*/ 6365054 h 6858000"/>
              <a:gd name="connsiteX308" fmla="*/ 1576520 w 12199272"/>
              <a:gd name="connsiteY308" fmla="*/ 6361031 h 6858000"/>
              <a:gd name="connsiteX309" fmla="*/ 1579635 w 12199272"/>
              <a:gd name="connsiteY309" fmla="*/ 6356812 h 6858000"/>
              <a:gd name="connsiteX310" fmla="*/ 1582391 w 12199272"/>
              <a:gd name="connsiteY310" fmla="*/ 6352428 h 6858000"/>
              <a:gd name="connsiteX311" fmla="*/ 1584786 w 12199272"/>
              <a:gd name="connsiteY311" fmla="*/ 6347913 h 6858000"/>
              <a:gd name="connsiteX312" fmla="*/ 1586236 w 12199272"/>
              <a:gd name="connsiteY312" fmla="*/ 6344617 h 6858000"/>
              <a:gd name="connsiteX313" fmla="*/ 1586816 w 12199272"/>
              <a:gd name="connsiteY313" fmla="*/ 6343297 h 6858000"/>
              <a:gd name="connsiteX314" fmla="*/ 1588479 w 12199272"/>
              <a:gd name="connsiteY314" fmla="*/ 6338615 h 6858000"/>
              <a:gd name="connsiteX315" fmla="*/ 1588664 w 12199272"/>
              <a:gd name="connsiteY315" fmla="*/ 6336960 h 6858000"/>
              <a:gd name="connsiteX316" fmla="*/ 1588235 w 12199272"/>
              <a:gd name="connsiteY316" fmla="*/ 6335417 h 6858000"/>
              <a:gd name="connsiteX317" fmla="*/ 1587274 w 12199272"/>
              <a:gd name="connsiteY317" fmla="*/ 6334160 h 6858000"/>
              <a:gd name="connsiteX318" fmla="*/ 1585862 w 12199272"/>
              <a:gd name="connsiteY318" fmla="*/ 6333362 h 6858000"/>
              <a:gd name="connsiteX319" fmla="*/ 1553627 w 12199272"/>
              <a:gd name="connsiteY319" fmla="*/ 6323178 h 6858000"/>
              <a:gd name="connsiteX320" fmla="*/ 1552160 w 12199272"/>
              <a:gd name="connsiteY320" fmla="*/ 6323012 h 6858000"/>
              <a:gd name="connsiteX321" fmla="*/ 1550782 w 12199272"/>
              <a:gd name="connsiteY321" fmla="*/ 6323397 h 6858000"/>
              <a:gd name="connsiteX322" fmla="*/ 1549622 w 12199272"/>
              <a:gd name="connsiteY322" fmla="*/ 6324263 h 6858000"/>
              <a:gd name="connsiteX323" fmla="*/ 1548805 w 12199272"/>
              <a:gd name="connsiteY323" fmla="*/ 6325541 h 6858000"/>
              <a:gd name="connsiteX324" fmla="*/ 1546706 w 12199272"/>
              <a:gd name="connsiteY324" fmla="*/ 6329749 h 6858000"/>
              <a:gd name="connsiteX325" fmla="*/ 1543941 w 12199272"/>
              <a:gd name="connsiteY325" fmla="*/ 6333699 h 6858000"/>
              <a:gd name="connsiteX326" fmla="*/ 1540495 w 12199272"/>
              <a:gd name="connsiteY326" fmla="*/ 6337251 h 6858000"/>
              <a:gd name="connsiteX327" fmla="*/ 1536352 w 12199272"/>
              <a:gd name="connsiteY327" fmla="*/ 6340260 h 6858000"/>
              <a:gd name="connsiteX328" fmla="*/ 1531498 w 12199272"/>
              <a:gd name="connsiteY328" fmla="*/ 6342586 h 6858000"/>
              <a:gd name="connsiteX329" fmla="*/ 1525918 w 12199272"/>
              <a:gd name="connsiteY329" fmla="*/ 6344086 h 6858000"/>
              <a:gd name="connsiteX330" fmla="*/ 1519597 w 12199272"/>
              <a:gd name="connsiteY330" fmla="*/ 6344617 h 6858000"/>
              <a:gd name="connsiteX331" fmla="*/ 1514604 w 12199272"/>
              <a:gd name="connsiteY331" fmla="*/ 6344286 h 6858000"/>
              <a:gd name="connsiteX332" fmla="*/ 1509815 w 12199272"/>
              <a:gd name="connsiteY332" fmla="*/ 6343302 h 6858000"/>
              <a:gd name="connsiteX333" fmla="*/ 1505287 w 12199272"/>
              <a:gd name="connsiteY333" fmla="*/ 6341678 h 6858000"/>
              <a:gd name="connsiteX334" fmla="*/ 1501076 w 12199272"/>
              <a:gd name="connsiteY334" fmla="*/ 6339424 h 6858000"/>
              <a:gd name="connsiteX335" fmla="*/ 1497242 w 12199272"/>
              <a:gd name="connsiteY335" fmla="*/ 6336555 h 6858000"/>
              <a:gd name="connsiteX336" fmla="*/ 1493840 w 12199272"/>
              <a:gd name="connsiteY336" fmla="*/ 6333082 h 6858000"/>
              <a:gd name="connsiteX337" fmla="*/ 1490928 w 12199272"/>
              <a:gd name="connsiteY337" fmla="*/ 6329017 h 6858000"/>
              <a:gd name="connsiteX338" fmla="*/ 1488564 w 12199272"/>
              <a:gd name="connsiteY338" fmla="*/ 6324374 h 6858000"/>
              <a:gd name="connsiteX339" fmla="*/ 1486804 w 12199272"/>
              <a:gd name="connsiteY339" fmla="*/ 6319164 h 6858000"/>
              <a:gd name="connsiteX340" fmla="*/ 1485706 w 12199272"/>
              <a:gd name="connsiteY340" fmla="*/ 6313400 h 6858000"/>
              <a:gd name="connsiteX341" fmla="*/ 1485327 w 12199272"/>
              <a:gd name="connsiteY341" fmla="*/ 6307094 h 6858000"/>
              <a:gd name="connsiteX342" fmla="*/ 1485692 w 12199272"/>
              <a:gd name="connsiteY342" fmla="*/ 6300711 h 6858000"/>
              <a:gd name="connsiteX343" fmla="*/ 1486752 w 12199272"/>
              <a:gd name="connsiteY343" fmla="*/ 6294885 h 6858000"/>
              <a:gd name="connsiteX344" fmla="*/ 1488456 w 12199272"/>
              <a:gd name="connsiteY344" fmla="*/ 6289625 h 6858000"/>
              <a:gd name="connsiteX345" fmla="*/ 1490750 w 12199272"/>
              <a:gd name="connsiteY345" fmla="*/ 6284943 h 6858000"/>
              <a:gd name="connsiteX346" fmla="*/ 1493584 w 12199272"/>
              <a:gd name="connsiteY346" fmla="*/ 6280849 h 6858000"/>
              <a:gd name="connsiteX347" fmla="*/ 1496906 w 12199272"/>
              <a:gd name="connsiteY347" fmla="*/ 6277355 h 6858000"/>
              <a:gd name="connsiteX348" fmla="*/ 1500663 w 12199272"/>
              <a:gd name="connsiteY348" fmla="*/ 6274472 h 6858000"/>
              <a:gd name="connsiteX349" fmla="*/ 1504804 w 12199272"/>
              <a:gd name="connsiteY349" fmla="*/ 6272210 h 6858000"/>
              <a:gd name="connsiteX350" fmla="*/ 1509276 w 12199272"/>
              <a:gd name="connsiteY350" fmla="*/ 6270581 h 6858000"/>
              <a:gd name="connsiteX351" fmla="*/ 1514028 w 12199272"/>
              <a:gd name="connsiteY351" fmla="*/ 6269595 h 6858000"/>
              <a:gd name="connsiteX352" fmla="*/ 1519008 w 12199272"/>
              <a:gd name="connsiteY352" fmla="*/ 6269264 h 6858000"/>
              <a:gd name="connsiteX353" fmla="*/ 1525289 w 12199272"/>
              <a:gd name="connsiteY353" fmla="*/ 6269783 h 6858000"/>
              <a:gd name="connsiteX354" fmla="*/ 1530765 w 12199272"/>
              <a:gd name="connsiteY354" fmla="*/ 6271251 h 6858000"/>
              <a:gd name="connsiteX355" fmla="*/ 1535471 w 12199272"/>
              <a:gd name="connsiteY355" fmla="*/ 6273539 h 6858000"/>
              <a:gd name="connsiteX356" fmla="*/ 1539447 w 12199272"/>
              <a:gd name="connsiteY356" fmla="*/ 6276516 h 6858000"/>
              <a:gd name="connsiteX357" fmla="*/ 1542728 w 12199272"/>
              <a:gd name="connsiteY357" fmla="*/ 6280050 h 6858000"/>
              <a:gd name="connsiteX358" fmla="*/ 1545352 w 12199272"/>
              <a:gd name="connsiteY358" fmla="*/ 6284012 h 6858000"/>
              <a:gd name="connsiteX359" fmla="*/ 1547356 w 12199272"/>
              <a:gd name="connsiteY359" fmla="*/ 6288270 h 6858000"/>
              <a:gd name="connsiteX360" fmla="*/ 1548161 w 12199272"/>
              <a:gd name="connsiteY360" fmla="*/ 6289574 h 6858000"/>
              <a:gd name="connsiteX361" fmla="*/ 1549322 w 12199272"/>
              <a:gd name="connsiteY361" fmla="*/ 6290463 h 6858000"/>
              <a:gd name="connsiteX362" fmla="*/ 1550709 w 12199272"/>
              <a:gd name="connsiteY362" fmla="*/ 6290865 h 6858000"/>
              <a:gd name="connsiteX363" fmla="*/ 1552192 w 12199272"/>
              <a:gd name="connsiteY363" fmla="*/ 6290706 h 6858000"/>
              <a:gd name="connsiteX364" fmla="*/ 1584982 w 12199272"/>
              <a:gd name="connsiteY364" fmla="*/ 6280499 h 6858000"/>
              <a:gd name="connsiteX365" fmla="*/ 1586395 w 12199272"/>
              <a:gd name="connsiteY365" fmla="*/ 6279710 h 6858000"/>
              <a:gd name="connsiteX366" fmla="*/ 1587360 w 12199272"/>
              <a:gd name="connsiteY366" fmla="*/ 6278461 h 6858000"/>
              <a:gd name="connsiteX367" fmla="*/ 1587797 w 12199272"/>
              <a:gd name="connsiteY367" fmla="*/ 6276923 h 6858000"/>
              <a:gd name="connsiteX368" fmla="*/ 1587624 w 12199272"/>
              <a:gd name="connsiteY368" fmla="*/ 6275269 h 6858000"/>
              <a:gd name="connsiteX369" fmla="*/ 1586087 w 12199272"/>
              <a:gd name="connsiteY369" fmla="*/ 6270783 h 6858000"/>
              <a:gd name="connsiteX370" fmla="*/ 1585447 w 12199272"/>
              <a:gd name="connsiteY370" fmla="*/ 6269264 h 6858000"/>
              <a:gd name="connsiteX371" fmla="*/ 1584229 w 12199272"/>
              <a:gd name="connsiteY371" fmla="*/ 6266374 h 6858000"/>
              <a:gd name="connsiteX372" fmla="*/ 1582051 w 12199272"/>
              <a:gd name="connsiteY372" fmla="*/ 6262066 h 6858000"/>
              <a:gd name="connsiteX373" fmla="*/ 1579553 w 12199272"/>
              <a:gd name="connsiteY373" fmla="*/ 6257885 h 6858000"/>
              <a:gd name="connsiteX374" fmla="*/ 1576736 w 12199272"/>
              <a:gd name="connsiteY374" fmla="*/ 6253856 h 6858000"/>
              <a:gd name="connsiteX375" fmla="*/ 1573599 w 12199272"/>
              <a:gd name="connsiteY375" fmla="*/ 6250004 h 6858000"/>
              <a:gd name="connsiteX376" fmla="*/ 1570144 w 12199272"/>
              <a:gd name="connsiteY376" fmla="*/ 6246355 h 6858000"/>
              <a:gd name="connsiteX377" fmla="*/ 1566370 w 12199272"/>
              <a:gd name="connsiteY377" fmla="*/ 6242934 h 6858000"/>
              <a:gd name="connsiteX378" fmla="*/ 1562278 w 12199272"/>
              <a:gd name="connsiteY378" fmla="*/ 6239766 h 6858000"/>
              <a:gd name="connsiteX379" fmla="*/ 1557868 w 12199272"/>
              <a:gd name="connsiteY379" fmla="*/ 6236876 h 6858000"/>
              <a:gd name="connsiteX380" fmla="*/ 1553140 w 12199272"/>
              <a:gd name="connsiteY380" fmla="*/ 6234289 h 6858000"/>
              <a:gd name="connsiteX381" fmla="*/ 1548095 w 12199272"/>
              <a:gd name="connsiteY381" fmla="*/ 6232031 h 6858000"/>
              <a:gd name="connsiteX382" fmla="*/ 1542733 w 12199272"/>
              <a:gd name="connsiteY382" fmla="*/ 6230128 h 6858000"/>
              <a:gd name="connsiteX383" fmla="*/ 1537054 w 12199272"/>
              <a:gd name="connsiteY383" fmla="*/ 6228603 h 6858000"/>
              <a:gd name="connsiteX384" fmla="*/ 1531059 w 12199272"/>
              <a:gd name="connsiteY384" fmla="*/ 6227483 h 6858000"/>
              <a:gd name="connsiteX385" fmla="*/ 1524748 w 12199272"/>
              <a:gd name="connsiteY385" fmla="*/ 6226792 h 6858000"/>
              <a:gd name="connsiteX386" fmla="*/ 1518121 w 12199272"/>
              <a:gd name="connsiteY386" fmla="*/ 6226556 h 6858000"/>
              <a:gd name="connsiteX387" fmla="*/ 1349948 w 12199272"/>
              <a:gd name="connsiteY387" fmla="*/ 6226556 h 6858000"/>
              <a:gd name="connsiteX388" fmla="*/ 1344301 w 12199272"/>
              <a:gd name="connsiteY388" fmla="*/ 6226743 h 6858000"/>
              <a:gd name="connsiteX389" fmla="*/ 1338773 w 12199272"/>
              <a:gd name="connsiteY389" fmla="*/ 6227298 h 6858000"/>
              <a:gd name="connsiteX390" fmla="*/ 1333377 w 12199272"/>
              <a:gd name="connsiteY390" fmla="*/ 6228210 h 6858000"/>
              <a:gd name="connsiteX391" fmla="*/ 1328124 w 12199272"/>
              <a:gd name="connsiteY391" fmla="*/ 6229471 h 6858000"/>
              <a:gd name="connsiteX392" fmla="*/ 1323028 w 12199272"/>
              <a:gd name="connsiteY392" fmla="*/ 6231070 h 6858000"/>
              <a:gd name="connsiteX393" fmla="*/ 1318101 w 12199272"/>
              <a:gd name="connsiteY393" fmla="*/ 6232998 h 6858000"/>
              <a:gd name="connsiteX394" fmla="*/ 1313353 w 12199272"/>
              <a:gd name="connsiteY394" fmla="*/ 6235246 h 6858000"/>
              <a:gd name="connsiteX395" fmla="*/ 1308799 w 12199272"/>
              <a:gd name="connsiteY395" fmla="*/ 6237803 h 6858000"/>
              <a:gd name="connsiteX396" fmla="*/ 1304450 w 12199272"/>
              <a:gd name="connsiteY396" fmla="*/ 6240661 h 6858000"/>
              <a:gd name="connsiteX397" fmla="*/ 1300319 w 12199272"/>
              <a:gd name="connsiteY397" fmla="*/ 6243809 h 6858000"/>
              <a:gd name="connsiteX398" fmla="*/ 1296416 w 12199272"/>
              <a:gd name="connsiteY398" fmla="*/ 6247238 h 6858000"/>
              <a:gd name="connsiteX399" fmla="*/ 1292756 w 12199272"/>
              <a:gd name="connsiteY399" fmla="*/ 6250938 h 6858000"/>
              <a:gd name="connsiteX400" fmla="*/ 1289350 w 12199272"/>
              <a:gd name="connsiteY400" fmla="*/ 6254900 h 6858000"/>
              <a:gd name="connsiteX401" fmla="*/ 1286210 w 12199272"/>
              <a:gd name="connsiteY401" fmla="*/ 6259113 h 6858000"/>
              <a:gd name="connsiteX402" fmla="*/ 1283349 w 12199272"/>
              <a:gd name="connsiteY402" fmla="*/ 6263569 h 6858000"/>
              <a:gd name="connsiteX403" fmla="*/ 1280778 w 12199272"/>
              <a:gd name="connsiteY403" fmla="*/ 6268258 h 6858000"/>
              <a:gd name="connsiteX404" fmla="*/ 1278511 w 12199272"/>
              <a:gd name="connsiteY404" fmla="*/ 6273170 h 6858000"/>
              <a:gd name="connsiteX405" fmla="*/ 1276559 w 12199272"/>
              <a:gd name="connsiteY405" fmla="*/ 6278296 h 6858000"/>
              <a:gd name="connsiteX406" fmla="*/ 1274934 w 12199272"/>
              <a:gd name="connsiteY406" fmla="*/ 6283625 h 6858000"/>
              <a:gd name="connsiteX407" fmla="*/ 1273649 w 12199272"/>
              <a:gd name="connsiteY407" fmla="*/ 6289148 h 6858000"/>
              <a:gd name="connsiteX408" fmla="*/ 1272716 w 12199272"/>
              <a:gd name="connsiteY408" fmla="*/ 6294856 h 6858000"/>
              <a:gd name="connsiteX409" fmla="*/ 1272147 w 12199272"/>
              <a:gd name="connsiteY409" fmla="*/ 6300739 h 6858000"/>
              <a:gd name="connsiteX410" fmla="*/ 1271955 w 12199272"/>
              <a:gd name="connsiteY410" fmla="*/ 6306788 h 6858000"/>
              <a:gd name="connsiteX411" fmla="*/ 1272132 w 12199272"/>
              <a:gd name="connsiteY411" fmla="*/ 6312589 h 6858000"/>
              <a:gd name="connsiteX412" fmla="*/ 1272655 w 12199272"/>
              <a:gd name="connsiteY412" fmla="*/ 6318242 h 6858000"/>
              <a:gd name="connsiteX413" fmla="*/ 1273513 w 12199272"/>
              <a:gd name="connsiteY413" fmla="*/ 6323737 h 6858000"/>
              <a:gd name="connsiteX414" fmla="*/ 1274696 w 12199272"/>
              <a:gd name="connsiteY414" fmla="*/ 6329067 h 6858000"/>
              <a:gd name="connsiteX415" fmla="*/ 1276193 w 12199272"/>
              <a:gd name="connsiteY415" fmla="*/ 6334221 h 6858000"/>
              <a:gd name="connsiteX416" fmla="*/ 1277993 w 12199272"/>
              <a:gd name="connsiteY416" fmla="*/ 6339192 h 6858000"/>
              <a:gd name="connsiteX417" fmla="*/ 1280085 w 12199272"/>
              <a:gd name="connsiteY417" fmla="*/ 6343971 h 6858000"/>
              <a:gd name="connsiteX418" fmla="*/ 1282459 w 12199272"/>
              <a:gd name="connsiteY418" fmla="*/ 6348549 h 6858000"/>
              <a:gd name="connsiteX419" fmla="*/ 1285104 w 12199272"/>
              <a:gd name="connsiteY419" fmla="*/ 6352916 h 6858000"/>
              <a:gd name="connsiteX420" fmla="*/ 1288009 w 12199272"/>
              <a:gd name="connsiteY420" fmla="*/ 6357066 h 6858000"/>
              <a:gd name="connsiteX421" fmla="*/ 1291163 w 12199272"/>
              <a:gd name="connsiteY421" fmla="*/ 6360988 h 6858000"/>
              <a:gd name="connsiteX422" fmla="*/ 1294555 w 12199272"/>
              <a:gd name="connsiteY422" fmla="*/ 6364675 h 6858000"/>
              <a:gd name="connsiteX423" fmla="*/ 1298175 w 12199272"/>
              <a:gd name="connsiteY423" fmla="*/ 6368116 h 6858000"/>
              <a:gd name="connsiteX424" fmla="*/ 1302013 w 12199272"/>
              <a:gd name="connsiteY424" fmla="*/ 6371304 h 6858000"/>
              <a:gd name="connsiteX425" fmla="*/ 1306056 w 12199272"/>
              <a:gd name="connsiteY425" fmla="*/ 6374230 h 6858000"/>
              <a:gd name="connsiteX426" fmla="*/ 1310295 w 12199272"/>
              <a:gd name="connsiteY426" fmla="*/ 6376886 h 6858000"/>
              <a:gd name="connsiteX427" fmla="*/ 1314719 w 12199272"/>
              <a:gd name="connsiteY427" fmla="*/ 6379261 h 6858000"/>
              <a:gd name="connsiteX428" fmla="*/ 1319316 w 12199272"/>
              <a:gd name="connsiteY428" fmla="*/ 6381348 h 6858000"/>
              <a:gd name="connsiteX429" fmla="*/ 1324077 w 12199272"/>
              <a:gd name="connsiteY429" fmla="*/ 6383138 h 6858000"/>
              <a:gd name="connsiteX430" fmla="*/ 1328989 w 12199272"/>
              <a:gd name="connsiteY430" fmla="*/ 6384622 h 6858000"/>
              <a:gd name="connsiteX431" fmla="*/ 1334044 w 12199272"/>
              <a:gd name="connsiteY431" fmla="*/ 6385792 h 6858000"/>
              <a:gd name="connsiteX432" fmla="*/ 1339229 w 12199272"/>
              <a:gd name="connsiteY432" fmla="*/ 6386638 h 6858000"/>
              <a:gd name="connsiteX433" fmla="*/ 1344534 w 12199272"/>
              <a:gd name="connsiteY433" fmla="*/ 6387152 h 6858000"/>
              <a:gd name="connsiteX434" fmla="*/ 1349948 w 12199272"/>
              <a:gd name="connsiteY434" fmla="*/ 6387325 h 6858000"/>
              <a:gd name="connsiteX435" fmla="*/ 1355397 w 12199272"/>
              <a:gd name="connsiteY435" fmla="*/ 6387152 h 6858000"/>
              <a:gd name="connsiteX436" fmla="*/ 1360730 w 12199272"/>
              <a:gd name="connsiteY436" fmla="*/ 6386638 h 6858000"/>
              <a:gd name="connsiteX437" fmla="*/ 1365938 w 12199272"/>
              <a:gd name="connsiteY437" fmla="*/ 6385792 h 6858000"/>
              <a:gd name="connsiteX438" fmla="*/ 1371010 w 12199272"/>
              <a:gd name="connsiteY438" fmla="*/ 6384622 h 6858000"/>
              <a:gd name="connsiteX439" fmla="*/ 1375936 w 12199272"/>
              <a:gd name="connsiteY439" fmla="*/ 6383138 h 6858000"/>
              <a:gd name="connsiteX440" fmla="*/ 1380706 w 12199272"/>
              <a:gd name="connsiteY440" fmla="*/ 6381348 h 6858000"/>
              <a:gd name="connsiteX441" fmla="*/ 1385308 w 12199272"/>
              <a:gd name="connsiteY441" fmla="*/ 6379261 h 6858000"/>
              <a:gd name="connsiteX442" fmla="*/ 1389734 w 12199272"/>
              <a:gd name="connsiteY442" fmla="*/ 6376886 h 6858000"/>
              <a:gd name="connsiteX443" fmla="*/ 1393971 w 12199272"/>
              <a:gd name="connsiteY443" fmla="*/ 6374230 h 6858000"/>
              <a:gd name="connsiteX444" fmla="*/ 1398010 w 12199272"/>
              <a:gd name="connsiteY444" fmla="*/ 6371304 h 6858000"/>
              <a:gd name="connsiteX445" fmla="*/ 1401841 w 12199272"/>
              <a:gd name="connsiteY445" fmla="*/ 6368116 h 6858000"/>
              <a:gd name="connsiteX446" fmla="*/ 1405453 w 12199272"/>
              <a:gd name="connsiteY446" fmla="*/ 6364675 h 6858000"/>
              <a:gd name="connsiteX447" fmla="*/ 1408836 w 12199272"/>
              <a:gd name="connsiteY447" fmla="*/ 6360988 h 6858000"/>
              <a:gd name="connsiteX448" fmla="*/ 1411979 w 12199272"/>
              <a:gd name="connsiteY448" fmla="*/ 6357066 h 6858000"/>
              <a:gd name="connsiteX449" fmla="*/ 1414872 w 12199272"/>
              <a:gd name="connsiteY449" fmla="*/ 6352916 h 6858000"/>
              <a:gd name="connsiteX450" fmla="*/ 1417504 w 12199272"/>
              <a:gd name="connsiteY450" fmla="*/ 6348549 h 6858000"/>
              <a:gd name="connsiteX451" fmla="*/ 1419533 w 12199272"/>
              <a:gd name="connsiteY451" fmla="*/ 6344617 h 6858000"/>
              <a:gd name="connsiteX452" fmla="*/ 1421947 w 12199272"/>
              <a:gd name="connsiteY452" fmla="*/ 6339192 h 6858000"/>
              <a:gd name="connsiteX453" fmla="*/ 1423736 w 12199272"/>
              <a:gd name="connsiteY453" fmla="*/ 6334221 h 6858000"/>
              <a:gd name="connsiteX454" fmla="*/ 1425223 w 12199272"/>
              <a:gd name="connsiteY454" fmla="*/ 6329067 h 6858000"/>
              <a:gd name="connsiteX455" fmla="*/ 1426398 w 12199272"/>
              <a:gd name="connsiteY455" fmla="*/ 6323737 h 6858000"/>
              <a:gd name="connsiteX456" fmla="*/ 1427249 w 12199272"/>
              <a:gd name="connsiteY456" fmla="*/ 6318242 h 6858000"/>
              <a:gd name="connsiteX457" fmla="*/ 1427768 w 12199272"/>
              <a:gd name="connsiteY457" fmla="*/ 6312589 h 6858000"/>
              <a:gd name="connsiteX458" fmla="*/ 1427943 w 12199272"/>
              <a:gd name="connsiteY458" fmla="*/ 6306788 h 6858000"/>
              <a:gd name="connsiteX459" fmla="*/ 1427753 w 12199272"/>
              <a:gd name="connsiteY459" fmla="*/ 6300739 h 6858000"/>
              <a:gd name="connsiteX460" fmla="*/ 1427188 w 12199272"/>
              <a:gd name="connsiteY460" fmla="*/ 6294856 h 6858000"/>
              <a:gd name="connsiteX461" fmla="*/ 1426262 w 12199272"/>
              <a:gd name="connsiteY461" fmla="*/ 6289148 h 6858000"/>
              <a:gd name="connsiteX462" fmla="*/ 1424986 w 12199272"/>
              <a:gd name="connsiteY462" fmla="*/ 6283625 h 6858000"/>
              <a:gd name="connsiteX463" fmla="*/ 1423372 w 12199272"/>
              <a:gd name="connsiteY463" fmla="*/ 6278296 h 6858000"/>
              <a:gd name="connsiteX464" fmla="*/ 1421432 w 12199272"/>
              <a:gd name="connsiteY464" fmla="*/ 6273170 h 6858000"/>
              <a:gd name="connsiteX465" fmla="*/ 1419639 w 12199272"/>
              <a:gd name="connsiteY465" fmla="*/ 6269264 h 6858000"/>
              <a:gd name="connsiteX466" fmla="*/ 1419177 w 12199272"/>
              <a:gd name="connsiteY466" fmla="*/ 6268258 h 6858000"/>
              <a:gd name="connsiteX467" fmla="*/ 1416619 w 12199272"/>
              <a:gd name="connsiteY467" fmla="*/ 6263569 h 6858000"/>
              <a:gd name="connsiteX468" fmla="*/ 1413770 w 12199272"/>
              <a:gd name="connsiteY468" fmla="*/ 6259113 h 6858000"/>
              <a:gd name="connsiteX469" fmla="*/ 1410643 w 12199272"/>
              <a:gd name="connsiteY469" fmla="*/ 6254900 h 6858000"/>
              <a:gd name="connsiteX470" fmla="*/ 1407247 w 12199272"/>
              <a:gd name="connsiteY470" fmla="*/ 6250938 h 6858000"/>
              <a:gd name="connsiteX471" fmla="*/ 1403597 w 12199272"/>
              <a:gd name="connsiteY471" fmla="*/ 6247238 h 6858000"/>
              <a:gd name="connsiteX472" fmla="*/ 1399702 w 12199272"/>
              <a:gd name="connsiteY472" fmla="*/ 6243809 h 6858000"/>
              <a:gd name="connsiteX473" fmla="*/ 1395576 w 12199272"/>
              <a:gd name="connsiteY473" fmla="*/ 6240661 h 6858000"/>
              <a:gd name="connsiteX474" fmla="*/ 1391230 w 12199272"/>
              <a:gd name="connsiteY474" fmla="*/ 6237803 h 6858000"/>
              <a:gd name="connsiteX475" fmla="*/ 1386675 w 12199272"/>
              <a:gd name="connsiteY475" fmla="*/ 6235246 h 6858000"/>
              <a:gd name="connsiteX476" fmla="*/ 1381923 w 12199272"/>
              <a:gd name="connsiteY476" fmla="*/ 6232998 h 6858000"/>
              <a:gd name="connsiteX477" fmla="*/ 1376987 w 12199272"/>
              <a:gd name="connsiteY477" fmla="*/ 6231070 h 6858000"/>
              <a:gd name="connsiteX478" fmla="*/ 1371878 w 12199272"/>
              <a:gd name="connsiteY478" fmla="*/ 6229471 h 6858000"/>
              <a:gd name="connsiteX479" fmla="*/ 1366608 w 12199272"/>
              <a:gd name="connsiteY479" fmla="*/ 6228210 h 6858000"/>
              <a:gd name="connsiteX480" fmla="*/ 1361188 w 12199272"/>
              <a:gd name="connsiteY480" fmla="*/ 6227298 h 6858000"/>
              <a:gd name="connsiteX481" fmla="*/ 1355631 w 12199272"/>
              <a:gd name="connsiteY481" fmla="*/ 6226743 h 6858000"/>
              <a:gd name="connsiteX482" fmla="*/ 1349948 w 12199272"/>
              <a:gd name="connsiteY482" fmla="*/ 6226556 h 6858000"/>
              <a:gd name="connsiteX483" fmla="*/ 782044 w 12199272"/>
              <a:gd name="connsiteY483" fmla="*/ 6166457 h 6858000"/>
              <a:gd name="connsiteX484" fmla="*/ 780496 w 12199272"/>
              <a:gd name="connsiteY484" fmla="*/ 6166780 h 6858000"/>
              <a:gd name="connsiteX485" fmla="*/ 779232 w 12199272"/>
              <a:gd name="connsiteY485" fmla="*/ 6167660 h 6858000"/>
              <a:gd name="connsiteX486" fmla="*/ 778380 w 12199272"/>
              <a:gd name="connsiteY486" fmla="*/ 6168966 h 6858000"/>
              <a:gd name="connsiteX487" fmla="*/ 778067 w 12199272"/>
              <a:gd name="connsiteY487" fmla="*/ 6170564 h 6858000"/>
              <a:gd name="connsiteX488" fmla="*/ 778067 w 12199272"/>
              <a:gd name="connsiteY488" fmla="*/ 6378643 h 6858000"/>
              <a:gd name="connsiteX489" fmla="*/ 778380 w 12199272"/>
              <a:gd name="connsiteY489" fmla="*/ 6380242 h 6858000"/>
              <a:gd name="connsiteX490" fmla="*/ 779232 w 12199272"/>
              <a:gd name="connsiteY490" fmla="*/ 6381547 h 6858000"/>
              <a:gd name="connsiteX491" fmla="*/ 780496 w 12199272"/>
              <a:gd name="connsiteY491" fmla="*/ 6382427 h 6858000"/>
              <a:gd name="connsiteX492" fmla="*/ 782044 w 12199272"/>
              <a:gd name="connsiteY492" fmla="*/ 6382750 h 6858000"/>
              <a:gd name="connsiteX493" fmla="*/ 907033 w 12199272"/>
              <a:gd name="connsiteY493" fmla="*/ 6382750 h 6858000"/>
              <a:gd name="connsiteX494" fmla="*/ 908581 w 12199272"/>
              <a:gd name="connsiteY494" fmla="*/ 6382427 h 6858000"/>
              <a:gd name="connsiteX495" fmla="*/ 909845 w 12199272"/>
              <a:gd name="connsiteY495" fmla="*/ 6381547 h 6858000"/>
              <a:gd name="connsiteX496" fmla="*/ 910697 w 12199272"/>
              <a:gd name="connsiteY496" fmla="*/ 6380242 h 6858000"/>
              <a:gd name="connsiteX497" fmla="*/ 911010 w 12199272"/>
              <a:gd name="connsiteY497" fmla="*/ 6378643 h 6858000"/>
              <a:gd name="connsiteX498" fmla="*/ 911010 w 12199272"/>
              <a:gd name="connsiteY498" fmla="*/ 6341097 h 6858000"/>
              <a:gd name="connsiteX499" fmla="*/ 908581 w 12199272"/>
              <a:gd name="connsiteY499" fmla="*/ 6337313 h 6858000"/>
              <a:gd name="connsiteX500" fmla="*/ 828722 w 12199272"/>
              <a:gd name="connsiteY500" fmla="*/ 6336990 h 6858000"/>
              <a:gd name="connsiteX501" fmla="*/ 827174 w 12199272"/>
              <a:gd name="connsiteY501" fmla="*/ 6336667 h 6858000"/>
              <a:gd name="connsiteX502" fmla="*/ 825910 w 12199272"/>
              <a:gd name="connsiteY502" fmla="*/ 6335787 h 6858000"/>
              <a:gd name="connsiteX503" fmla="*/ 825057 w 12199272"/>
              <a:gd name="connsiteY503" fmla="*/ 6334481 h 6858000"/>
              <a:gd name="connsiteX504" fmla="*/ 824744 w 12199272"/>
              <a:gd name="connsiteY504" fmla="*/ 6332883 h 6858000"/>
              <a:gd name="connsiteX505" fmla="*/ 824744 w 12199272"/>
              <a:gd name="connsiteY505" fmla="*/ 6299607 h 6858000"/>
              <a:gd name="connsiteX506" fmla="*/ 825057 w 12199272"/>
              <a:gd name="connsiteY506" fmla="*/ 6298009 h 6858000"/>
              <a:gd name="connsiteX507" fmla="*/ 825910 w 12199272"/>
              <a:gd name="connsiteY507" fmla="*/ 6296703 h 6858000"/>
              <a:gd name="connsiteX508" fmla="*/ 827174 w 12199272"/>
              <a:gd name="connsiteY508" fmla="*/ 6295823 h 6858000"/>
              <a:gd name="connsiteX509" fmla="*/ 828722 w 12199272"/>
              <a:gd name="connsiteY509" fmla="*/ 6295500 h 6858000"/>
              <a:gd name="connsiteX510" fmla="*/ 898759 w 12199272"/>
              <a:gd name="connsiteY510" fmla="*/ 6295500 h 6858000"/>
              <a:gd name="connsiteX511" fmla="*/ 900308 w 12199272"/>
              <a:gd name="connsiteY511" fmla="*/ 6295178 h 6858000"/>
              <a:gd name="connsiteX512" fmla="*/ 901572 w 12199272"/>
              <a:gd name="connsiteY512" fmla="*/ 6294298 h 6858000"/>
              <a:gd name="connsiteX513" fmla="*/ 902425 w 12199272"/>
              <a:gd name="connsiteY513" fmla="*/ 6292992 h 6858000"/>
              <a:gd name="connsiteX514" fmla="*/ 902738 w 12199272"/>
              <a:gd name="connsiteY514" fmla="*/ 6291393 h 6858000"/>
              <a:gd name="connsiteX515" fmla="*/ 902738 w 12199272"/>
              <a:gd name="connsiteY515" fmla="*/ 6257204 h 6858000"/>
              <a:gd name="connsiteX516" fmla="*/ 902425 w 12199272"/>
              <a:gd name="connsiteY516" fmla="*/ 6255605 h 6858000"/>
              <a:gd name="connsiteX517" fmla="*/ 901572 w 12199272"/>
              <a:gd name="connsiteY517" fmla="*/ 6254300 h 6858000"/>
              <a:gd name="connsiteX518" fmla="*/ 900308 w 12199272"/>
              <a:gd name="connsiteY518" fmla="*/ 6253419 h 6858000"/>
              <a:gd name="connsiteX519" fmla="*/ 898759 w 12199272"/>
              <a:gd name="connsiteY519" fmla="*/ 6253097 h 6858000"/>
              <a:gd name="connsiteX520" fmla="*/ 828722 w 12199272"/>
              <a:gd name="connsiteY520" fmla="*/ 6253097 h 6858000"/>
              <a:gd name="connsiteX521" fmla="*/ 827174 w 12199272"/>
              <a:gd name="connsiteY521" fmla="*/ 6252774 h 6858000"/>
              <a:gd name="connsiteX522" fmla="*/ 825910 w 12199272"/>
              <a:gd name="connsiteY522" fmla="*/ 6251894 h 6858000"/>
              <a:gd name="connsiteX523" fmla="*/ 825057 w 12199272"/>
              <a:gd name="connsiteY523" fmla="*/ 6250589 h 6858000"/>
              <a:gd name="connsiteX524" fmla="*/ 824744 w 12199272"/>
              <a:gd name="connsiteY524" fmla="*/ 6248990 h 6858000"/>
              <a:gd name="connsiteX525" fmla="*/ 824744 w 12199272"/>
              <a:gd name="connsiteY525" fmla="*/ 6216020 h 6858000"/>
              <a:gd name="connsiteX526" fmla="*/ 825057 w 12199272"/>
              <a:gd name="connsiteY526" fmla="*/ 6214421 h 6858000"/>
              <a:gd name="connsiteX527" fmla="*/ 825910 w 12199272"/>
              <a:gd name="connsiteY527" fmla="*/ 6213116 h 6858000"/>
              <a:gd name="connsiteX528" fmla="*/ 827174 w 12199272"/>
              <a:gd name="connsiteY528" fmla="*/ 6212236 h 6858000"/>
              <a:gd name="connsiteX529" fmla="*/ 828722 w 12199272"/>
              <a:gd name="connsiteY529" fmla="*/ 6211913 h 6858000"/>
              <a:gd name="connsiteX530" fmla="*/ 906737 w 12199272"/>
              <a:gd name="connsiteY530" fmla="*/ 6211913 h 6858000"/>
              <a:gd name="connsiteX531" fmla="*/ 908285 w 12199272"/>
              <a:gd name="connsiteY531" fmla="*/ 6211590 h 6858000"/>
              <a:gd name="connsiteX532" fmla="*/ 909549 w 12199272"/>
              <a:gd name="connsiteY532" fmla="*/ 6210710 h 6858000"/>
              <a:gd name="connsiteX533" fmla="*/ 910401 w 12199272"/>
              <a:gd name="connsiteY533" fmla="*/ 6209405 h 6858000"/>
              <a:gd name="connsiteX534" fmla="*/ 910714 w 12199272"/>
              <a:gd name="connsiteY534" fmla="*/ 6207806 h 6858000"/>
              <a:gd name="connsiteX535" fmla="*/ 910714 w 12199272"/>
              <a:gd name="connsiteY535" fmla="*/ 6170564 h 6858000"/>
              <a:gd name="connsiteX536" fmla="*/ 910401 w 12199272"/>
              <a:gd name="connsiteY536" fmla="*/ 6168966 h 6858000"/>
              <a:gd name="connsiteX537" fmla="*/ 909549 w 12199272"/>
              <a:gd name="connsiteY537" fmla="*/ 6167660 h 6858000"/>
              <a:gd name="connsiteX538" fmla="*/ 908285 w 12199272"/>
              <a:gd name="connsiteY538" fmla="*/ 6166780 h 6858000"/>
              <a:gd name="connsiteX539" fmla="*/ 906737 w 12199272"/>
              <a:gd name="connsiteY539" fmla="*/ 6166457 h 6858000"/>
              <a:gd name="connsiteX540" fmla="*/ 782044 w 12199272"/>
              <a:gd name="connsiteY540" fmla="*/ 6166457 h 6858000"/>
              <a:gd name="connsiteX541" fmla="*/ 1124613 w 12199272"/>
              <a:gd name="connsiteY541" fmla="*/ 6157611 h 6858000"/>
              <a:gd name="connsiteX542" fmla="*/ 1119425 w 12199272"/>
              <a:gd name="connsiteY542" fmla="*/ 6158165 h 6858000"/>
              <a:gd name="connsiteX543" fmla="*/ 1114569 w 12199272"/>
              <a:gd name="connsiteY543" fmla="*/ 6159751 h 6858000"/>
              <a:gd name="connsiteX544" fmla="*/ 1110156 w 12199272"/>
              <a:gd name="connsiteY544" fmla="*/ 6162260 h 6858000"/>
              <a:gd name="connsiteX545" fmla="*/ 1106297 w 12199272"/>
              <a:gd name="connsiteY545" fmla="*/ 6165581 h 6858000"/>
              <a:gd name="connsiteX546" fmla="*/ 1103103 w 12199272"/>
              <a:gd name="connsiteY546" fmla="*/ 6169602 h 6858000"/>
              <a:gd name="connsiteX547" fmla="*/ 1100684 w 12199272"/>
              <a:gd name="connsiteY547" fmla="*/ 6174213 h 6858000"/>
              <a:gd name="connsiteX548" fmla="*/ 1099151 w 12199272"/>
              <a:gd name="connsiteY548" fmla="*/ 6179304 h 6858000"/>
              <a:gd name="connsiteX549" fmla="*/ 1098616 w 12199272"/>
              <a:gd name="connsiteY549" fmla="*/ 6184762 h 6858000"/>
              <a:gd name="connsiteX550" fmla="*/ 1099151 w 12199272"/>
              <a:gd name="connsiteY550" fmla="*/ 6190221 h 6858000"/>
              <a:gd name="connsiteX551" fmla="*/ 1100684 w 12199272"/>
              <a:gd name="connsiteY551" fmla="*/ 6195311 h 6858000"/>
              <a:gd name="connsiteX552" fmla="*/ 1103103 w 12199272"/>
              <a:gd name="connsiteY552" fmla="*/ 6199922 h 6858000"/>
              <a:gd name="connsiteX553" fmla="*/ 1106297 w 12199272"/>
              <a:gd name="connsiteY553" fmla="*/ 6203943 h 6858000"/>
              <a:gd name="connsiteX554" fmla="*/ 1110156 w 12199272"/>
              <a:gd name="connsiteY554" fmla="*/ 6207264 h 6858000"/>
              <a:gd name="connsiteX555" fmla="*/ 1114569 w 12199272"/>
              <a:gd name="connsiteY555" fmla="*/ 6209773 h 6858000"/>
              <a:gd name="connsiteX556" fmla="*/ 1119425 w 12199272"/>
              <a:gd name="connsiteY556" fmla="*/ 6211360 h 6858000"/>
              <a:gd name="connsiteX557" fmla="*/ 1124613 w 12199272"/>
              <a:gd name="connsiteY557" fmla="*/ 6211913 h 6858000"/>
              <a:gd name="connsiteX558" fmla="*/ 1129997 w 12199272"/>
              <a:gd name="connsiteY558" fmla="*/ 6211360 h 6858000"/>
              <a:gd name="connsiteX559" fmla="*/ 1135000 w 12199272"/>
              <a:gd name="connsiteY559" fmla="*/ 6209773 h 6858000"/>
              <a:gd name="connsiteX560" fmla="*/ 1139518 w 12199272"/>
              <a:gd name="connsiteY560" fmla="*/ 6207264 h 6858000"/>
              <a:gd name="connsiteX561" fmla="*/ 1143447 w 12199272"/>
              <a:gd name="connsiteY561" fmla="*/ 6203943 h 6858000"/>
              <a:gd name="connsiteX562" fmla="*/ 1146685 w 12199272"/>
              <a:gd name="connsiteY562" fmla="*/ 6199922 h 6858000"/>
              <a:gd name="connsiteX563" fmla="*/ 1149125 w 12199272"/>
              <a:gd name="connsiteY563" fmla="*/ 6195311 h 6858000"/>
              <a:gd name="connsiteX564" fmla="*/ 1150666 w 12199272"/>
              <a:gd name="connsiteY564" fmla="*/ 6190221 h 6858000"/>
              <a:gd name="connsiteX565" fmla="*/ 1151203 w 12199272"/>
              <a:gd name="connsiteY565" fmla="*/ 6184762 h 6858000"/>
              <a:gd name="connsiteX566" fmla="*/ 1150666 w 12199272"/>
              <a:gd name="connsiteY566" fmla="*/ 6179304 h 6858000"/>
              <a:gd name="connsiteX567" fmla="*/ 1149125 w 12199272"/>
              <a:gd name="connsiteY567" fmla="*/ 6174213 h 6858000"/>
              <a:gd name="connsiteX568" fmla="*/ 1146685 w 12199272"/>
              <a:gd name="connsiteY568" fmla="*/ 6169602 h 6858000"/>
              <a:gd name="connsiteX569" fmla="*/ 1143447 w 12199272"/>
              <a:gd name="connsiteY569" fmla="*/ 6165581 h 6858000"/>
              <a:gd name="connsiteX570" fmla="*/ 1139518 w 12199272"/>
              <a:gd name="connsiteY570" fmla="*/ 6162260 h 6858000"/>
              <a:gd name="connsiteX571" fmla="*/ 1135000 w 12199272"/>
              <a:gd name="connsiteY571" fmla="*/ 6159751 h 6858000"/>
              <a:gd name="connsiteX572" fmla="*/ 1129997 w 12199272"/>
              <a:gd name="connsiteY572" fmla="*/ 6158165 h 6858000"/>
              <a:gd name="connsiteX573" fmla="*/ 1124613 w 12199272"/>
              <a:gd name="connsiteY573" fmla="*/ 6157611 h 6858000"/>
              <a:gd name="connsiteX574" fmla="*/ 581250 w 12199272"/>
              <a:gd name="connsiteY574" fmla="*/ 6120863 h 6858000"/>
              <a:gd name="connsiteX575" fmla="*/ 575834 w 12199272"/>
              <a:gd name="connsiteY575" fmla="*/ 6121606 h 6858000"/>
              <a:gd name="connsiteX576" fmla="*/ 570703 w 12199272"/>
              <a:gd name="connsiteY576" fmla="*/ 6123833 h 6858000"/>
              <a:gd name="connsiteX577" fmla="*/ 468377 w 12199272"/>
              <a:gd name="connsiteY577" fmla="*/ 6185889 h 6858000"/>
              <a:gd name="connsiteX578" fmla="*/ 463977 w 12199272"/>
              <a:gd name="connsiteY578" fmla="*/ 6189443 h 6858000"/>
              <a:gd name="connsiteX579" fmla="*/ 460658 w 12199272"/>
              <a:gd name="connsiteY579" fmla="*/ 6193998 h 6858000"/>
              <a:gd name="connsiteX580" fmla="*/ 458562 w 12199272"/>
              <a:gd name="connsiteY580" fmla="*/ 6199295 h 6858000"/>
              <a:gd name="connsiteX581" fmla="*/ 457832 w 12199272"/>
              <a:gd name="connsiteY581" fmla="*/ 6205076 h 6858000"/>
              <a:gd name="connsiteX582" fmla="*/ 457832 w 12199272"/>
              <a:gd name="connsiteY582" fmla="*/ 6329188 h 6858000"/>
              <a:gd name="connsiteX583" fmla="*/ 458562 w 12199272"/>
              <a:gd name="connsiteY583" fmla="*/ 6334969 h 6858000"/>
              <a:gd name="connsiteX584" fmla="*/ 460658 w 12199272"/>
              <a:gd name="connsiteY584" fmla="*/ 6340266 h 6858000"/>
              <a:gd name="connsiteX585" fmla="*/ 463977 w 12199272"/>
              <a:gd name="connsiteY585" fmla="*/ 6344822 h 6858000"/>
              <a:gd name="connsiteX586" fmla="*/ 468378 w 12199272"/>
              <a:gd name="connsiteY586" fmla="*/ 6348377 h 6858000"/>
              <a:gd name="connsiteX587" fmla="*/ 570703 w 12199272"/>
              <a:gd name="connsiteY587" fmla="*/ 6410433 h 6858000"/>
              <a:gd name="connsiteX588" fmla="*/ 575834 w 12199272"/>
              <a:gd name="connsiteY588" fmla="*/ 6412659 h 6858000"/>
              <a:gd name="connsiteX589" fmla="*/ 581250 w 12199272"/>
              <a:gd name="connsiteY589" fmla="*/ 6413401 h 6858000"/>
              <a:gd name="connsiteX590" fmla="*/ 586665 w 12199272"/>
              <a:gd name="connsiteY590" fmla="*/ 6412659 h 6858000"/>
              <a:gd name="connsiteX591" fmla="*/ 591796 w 12199272"/>
              <a:gd name="connsiteY591" fmla="*/ 6410433 h 6858000"/>
              <a:gd name="connsiteX592" fmla="*/ 687555 w 12199272"/>
              <a:gd name="connsiteY592" fmla="*/ 6352359 h 6858000"/>
              <a:gd name="connsiteX593" fmla="*/ 694122 w 12199272"/>
              <a:gd name="connsiteY593" fmla="*/ 6348377 h 6858000"/>
              <a:gd name="connsiteX594" fmla="*/ 698523 w 12199272"/>
              <a:gd name="connsiteY594" fmla="*/ 6344822 h 6858000"/>
              <a:gd name="connsiteX595" fmla="*/ 701842 w 12199272"/>
              <a:gd name="connsiteY595" fmla="*/ 6340266 h 6858000"/>
              <a:gd name="connsiteX596" fmla="*/ 703937 w 12199272"/>
              <a:gd name="connsiteY596" fmla="*/ 6334969 h 6858000"/>
              <a:gd name="connsiteX597" fmla="*/ 704667 w 12199272"/>
              <a:gd name="connsiteY597" fmla="*/ 6329188 h 6858000"/>
              <a:gd name="connsiteX598" fmla="*/ 704667 w 12199272"/>
              <a:gd name="connsiteY598" fmla="*/ 6277512 h 6858000"/>
              <a:gd name="connsiteX599" fmla="*/ 581250 w 12199272"/>
              <a:gd name="connsiteY599" fmla="*/ 6352359 h 6858000"/>
              <a:gd name="connsiteX600" fmla="*/ 512614 w 12199272"/>
              <a:gd name="connsiteY600" fmla="*/ 6310735 h 6858000"/>
              <a:gd name="connsiteX601" fmla="*/ 512651 w 12199272"/>
              <a:gd name="connsiteY601" fmla="*/ 6225511 h 6858000"/>
              <a:gd name="connsiteX602" fmla="*/ 576185 w 12199272"/>
              <a:gd name="connsiteY602" fmla="*/ 6186958 h 6858000"/>
              <a:gd name="connsiteX603" fmla="*/ 578647 w 12199272"/>
              <a:gd name="connsiteY603" fmla="*/ 6185889 h 6858000"/>
              <a:gd name="connsiteX604" fmla="*/ 581250 w 12199272"/>
              <a:gd name="connsiteY604" fmla="*/ 6185532 h 6858000"/>
              <a:gd name="connsiteX605" fmla="*/ 583855 w 12199272"/>
              <a:gd name="connsiteY605" fmla="*/ 6185889 h 6858000"/>
              <a:gd name="connsiteX606" fmla="*/ 586321 w 12199272"/>
              <a:gd name="connsiteY606" fmla="*/ 6186960 h 6858000"/>
              <a:gd name="connsiteX607" fmla="*/ 649885 w 12199272"/>
              <a:gd name="connsiteY607" fmla="*/ 6225509 h 6858000"/>
              <a:gd name="connsiteX608" fmla="*/ 589785 w 12199272"/>
              <a:gd name="connsiteY608" fmla="*/ 6261958 h 6858000"/>
              <a:gd name="connsiteX609" fmla="*/ 585633 w 12199272"/>
              <a:gd name="connsiteY609" fmla="*/ 6263759 h 6858000"/>
              <a:gd name="connsiteX610" fmla="*/ 581250 w 12199272"/>
              <a:gd name="connsiteY610" fmla="*/ 6264359 h 6858000"/>
              <a:gd name="connsiteX611" fmla="*/ 576868 w 12199272"/>
              <a:gd name="connsiteY611" fmla="*/ 6263758 h 6858000"/>
              <a:gd name="connsiteX612" fmla="*/ 572716 w 12199272"/>
              <a:gd name="connsiteY612" fmla="*/ 6261956 h 6858000"/>
              <a:gd name="connsiteX613" fmla="*/ 529723 w 12199272"/>
              <a:gd name="connsiteY613" fmla="*/ 6235870 h 6858000"/>
              <a:gd name="connsiteX614" fmla="*/ 529693 w 12199272"/>
              <a:gd name="connsiteY614" fmla="*/ 6300334 h 6858000"/>
              <a:gd name="connsiteX615" fmla="*/ 581250 w 12199272"/>
              <a:gd name="connsiteY615" fmla="*/ 6331602 h 6858000"/>
              <a:gd name="connsiteX616" fmla="*/ 692128 w 12199272"/>
              <a:gd name="connsiteY616" fmla="*/ 6264359 h 6858000"/>
              <a:gd name="connsiteX617" fmla="*/ 704667 w 12199272"/>
              <a:gd name="connsiteY617" fmla="*/ 6256755 h 6858000"/>
              <a:gd name="connsiteX618" fmla="*/ 704667 w 12199272"/>
              <a:gd name="connsiteY618" fmla="*/ 6205076 h 6858000"/>
              <a:gd name="connsiteX619" fmla="*/ 703937 w 12199272"/>
              <a:gd name="connsiteY619" fmla="*/ 6199295 h 6858000"/>
              <a:gd name="connsiteX620" fmla="*/ 701842 w 12199272"/>
              <a:gd name="connsiteY620" fmla="*/ 6193998 h 6858000"/>
              <a:gd name="connsiteX621" fmla="*/ 698523 w 12199272"/>
              <a:gd name="connsiteY621" fmla="*/ 6189443 h 6858000"/>
              <a:gd name="connsiteX622" fmla="*/ 694122 w 12199272"/>
              <a:gd name="connsiteY622" fmla="*/ 6185888 h 6858000"/>
              <a:gd name="connsiteX623" fmla="*/ 693534 w 12199272"/>
              <a:gd name="connsiteY623" fmla="*/ 6185532 h 6858000"/>
              <a:gd name="connsiteX624" fmla="*/ 591796 w 12199272"/>
              <a:gd name="connsiteY624" fmla="*/ 6123833 h 6858000"/>
              <a:gd name="connsiteX625" fmla="*/ 586665 w 12199272"/>
              <a:gd name="connsiteY625" fmla="*/ 6121606 h 6858000"/>
              <a:gd name="connsiteX626" fmla="*/ 581250 w 12199272"/>
              <a:gd name="connsiteY626" fmla="*/ 6120863 h 6858000"/>
              <a:gd name="connsiteX627" fmla="*/ 0 w 12199272"/>
              <a:gd name="connsiteY627" fmla="*/ 0 h 6858000"/>
              <a:gd name="connsiteX628" fmla="*/ 12198355 w 12199272"/>
              <a:gd name="connsiteY628" fmla="*/ 3175 h 6858000"/>
              <a:gd name="connsiteX629" fmla="*/ 12198355 w 12199272"/>
              <a:gd name="connsiteY629" fmla="*/ 6858000 h 6858000"/>
              <a:gd name="connsiteX630" fmla="*/ 0 w 12199272"/>
              <a:gd name="connsiteY630" fmla="*/ 6858000 h 6858000"/>
              <a:gd name="connsiteX631" fmla="*/ 0 w 12199272"/>
              <a:gd name="connsiteY631" fmla="*/ 0 h 6858000"/>
              <a:gd name="connsiteX0" fmla="*/ 1007893 w 12199272"/>
              <a:gd name="connsiteY0" fmla="*/ 6278790 h 6867525"/>
              <a:gd name="connsiteX1" fmla="*/ 1012666 w 12199272"/>
              <a:gd name="connsiteY1" fmla="*/ 6279093 h 6867525"/>
              <a:gd name="connsiteX2" fmla="*/ 1017275 w 12199272"/>
              <a:gd name="connsiteY2" fmla="*/ 6280006 h 6867525"/>
              <a:gd name="connsiteX3" fmla="*/ 1021659 w 12199272"/>
              <a:gd name="connsiteY3" fmla="*/ 6281532 h 6867525"/>
              <a:gd name="connsiteX4" fmla="*/ 1025757 w 12199272"/>
              <a:gd name="connsiteY4" fmla="*/ 6283675 h 6867525"/>
              <a:gd name="connsiteX5" fmla="*/ 1029507 w 12199272"/>
              <a:gd name="connsiteY5" fmla="*/ 6286440 h 6867525"/>
              <a:gd name="connsiteX6" fmla="*/ 1032848 w 12199272"/>
              <a:gd name="connsiteY6" fmla="*/ 6289831 h 6867525"/>
              <a:gd name="connsiteX7" fmla="*/ 1035719 w 12199272"/>
              <a:gd name="connsiteY7" fmla="*/ 6293851 h 6867525"/>
              <a:gd name="connsiteX8" fmla="*/ 1038059 w 12199272"/>
              <a:gd name="connsiteY8" fmla="*/ 6298506 h 6867525"/>
              <a:gd name="connsiteX9" fmla="*/ 1039806 w 12199272"/>
              <a:gd name="connsiteY9" fmla="*/ 6303798 h 6867525"/>
              <a:gd name="connsiteX10" fmla="*/ 1040899 w 12199272"/>
              <a:gd name="connsiteY10" fmla="*/ 6309733 h 6867525"/>
              <a:gd name="connsiteX11" fmla="*/ 1041277 w 12199272"/>
              <a:gd name="connsiteY11" fmla="*/ 6316313 h 6867525"/>
              <a:gd name="connsiteX12" fmla="*/ 1040899 w 12199272"/>
              <a:gd name="connsiteY12" fmla="*/ 6322901 h 6867525"/>
              <a:gd name="connsiteX13" fmla="*/ 1039806 w 12199272"/>
              <a:gd name="connsiteY13" fmla="*/ 6328855 h 6867525"/>
              <a:gd name="connsiteX14" fmla="*/ 1038059 w 12199272"/>
              <a:gd name="connsiteY14" fmla="*/ 6334177 h 6867525"/>
              <a:gd name="connsiteX15" fmla="*/ 1035719 w 12199272"/>
              <a:gd name="connsiteY15" fmla="*/ 6338867 h 6867525"/>
              <a:gd name="connsiteX16" fmla="*/ 1032848 w 12199272"/>
              <a:gd name="connsiteY16" fmla="*/ 6342928 h 6867525"/>
              <a:gd name="connsiteX17" fmla="*/ 1029507 w 12199272"/>
              <a:gd name="connsiteY17" fmla="*/ 6346360 h 6867525"/>
              <a:gd name="connsiteX18" fmla="*/ 1025757 w 12199272"/>
              <a:gd name="connsiteY18" fmla="*/ 6349166 h 6867525"/>
              <a:gd name="connsiteX19" fmla="*/ 1021659 w 12199272"/>
              <a:gd name="connsiteY19" fmla="*/ 6351345 h 6867525"/>
              <a:gd name="connsiteX20" fmla="*/ 1017275 w 12199272"/>
              <a:gd name="connsiteY20" fmla="*/ 6352900 h 6867525"/>
              <a:gd name="connsiteX21" fmla="*/ 1012666 w 12199272"/>
              <a:gd name="connsiteY21" fmla="*/ 6353832 h 6867525"/>
              <a:gd name="connsiteX22" fmla="*/ 1007893 w 12199272"/>
              <a:gd name="connsiteY22" fmla="*/ 6354143 h 6867525"/>
              <a:gd name="connsiteX23" fmla="*/ 1003193 w 12199272"/>
              <a:gd name="connsiteY23" fmla="*/ 6353825 h 6867525"/>
              <a:gd name="connsiteX24" fmla="*/ 998645 w 12199272"/>
              <a:gd name="connsiteY24" fmla="*/ 6352875 h 6867525"/>
              <a:gd name="connsiteX25" fmla="*/ 994309 w 12199272"/>
              <a:gd name="connsiteY25" fmla="*/ 6351296 h 6867525"/>
              <a:gd name="connsiteX26" fmla="*/ 990249 w 12199272"/>
              <a:gd name="connsiteY26" fmla="*/ 6349089 h 6867525"/>
              <a:gd name="connsiteX27" fmla="*/ 986527 w 12199272"/>
              <a:gd name="connsiteY27" fmla="*/ 6346257 h 6867525"/>
              <a:gd name="connsiteX28" fmla="*/ 983207 w 12199272"/>
              <a:gd name="connsiteY28" fmla="*/ 6342805 h 6867525"/>
              <a:gd name="connsiteX29" fmla="*/ 980349 w 12199272"/>
              <a:gd name="connsiteY29" fmla="*/ 6338733 h 6867525"/>
              <a:gd name="connsiteX30" fmla="*/ 978018 w 12199272"/>
              <a:gd name="connsiteY30" fmla="*/ 6334045 h 6867525"/>
              <a:gd name="connsiteX31" fmla="*/ 976275 w 12199272"/>
              <a:gd name="connsiteY31" fmla="*/ 6328744 h 6867525"/>
              <a:gd name="connsiteX32" fmla="*/ 975184 w 12199272"/>
              <a:gd name="connsiteY32" fmla="*/ 6322833 h 6867525"/>
              <a:gd name="connsiteX33" fmla="*/ 974806 w 12199272"/>
              <a:gd name="connsiteY33" fmla="*/ 6316313 h 6867525"/>
              <a:gd name="connsiteX34" fmla="*/ 975184 w 12199272"/>
              <a:gd name="connsiteY34" fmla="*/ 6309733 h 6867525"/>
              <a:gd name="connsiteX35" fmla="*/ 976275 w 12199272"/>
              <a:gd name="connsiteY35" fmla="*/ 6303798 h 6867525"/>
              <a:gd name="connsiteX36" fmla="*/ 978018 w 12199272"/>
              <a:gd name="connsiteY36" fmla="*/ 6298506 h 6867525"/>
              <a:gd name="connsiteX37" fmla="*/ 980349 w 12199272"/>
              <a:gd name="connsiteY37" fmla="*/ 6293851 h 6867525"/>
              <a:gd name="connsiteX38" fmla="*/ 983207 w 12199272"/>
              <a:gd name="connsiteY38" fmla="*/ 6289831 h 6867525"/>
              <a:gd name="connsiteX39" fmla="*/ 986527 w 12199272"/>
              <a:gd name="connsiteY39" fmla="*/ 6286440 h 6867525"/>
              <a:gd name="connsiteX40" fmla="*/ 990249 w 12199272"/>
              <a:gd name="connsiteY40" fmla="*/ 6283675 h 6867525"/>
              <a:gd name="connsiteX41" fmla="*/ 994309 w 12199272"/>
              <a:gd name="connsiteY41" fmla="*/ 6281532 h 6867525"/>
              <a:gd name="connsiteX42" fmla="*/ 998645 w 12199272"/>
              <a:gd name="connsiteY42" fmla="*/ 6280006 h 6867525"/>
              <a:gd name="connsiteX43" fmla="*/ 1003193 w 12199272"/>
              <a:gd name="connsiteY43" fmla="*/ 6279093 h 6867525"/>
              <a:gd name="connsiteX44" fmla="*/ 1007893 w 12199272"/>
              <a:gd name="connsiteY44" fmla="*/ 6278790 h 6867525"/>
              <a:gd name="connsiteX45" fmla="*/ 1349948 w 12199272"/>
              <a:gd name="connsiteY45" fmla="*/ 6278789 h 6867525"/>
              <a:gd name="connsiteX46" fmla="*/ 1354581 w 12199272"/>
              <a:gd name="connsiteY46" fmla="*/ 6279086 h 6867525"/>
              <a:gd name="connsiteX47" fmla="*/ 1359089 w 12199272"/>
              <a:gd name="connsiteY47" fmla="*/ 6279980 h 6867525"/>
              <a:gd name="connsiteX48" fmla="*/ 1363405 w 12199272"/>
              <a:gd name="connsiteY48" fmla="*/ 6281481 h 6867525"/>
              <a:gd name="connsiteX49" fmla="*/ 1367462 w 12199272"/>
              <a:gd name="connsiteY49" fmla="*/ 6283597 h 6867525"/>
              <a:gd name="connsiteX50" fmla="*/ 1371195 w 12199272"/>
              <a:gd name="connsiteY50" fmla="*/ 6286336 h 6867525"/>
              <a:gd name="connsiteX51" fmla="*/ 1374536 w 12199272"/>
              <a:gd name="connsiteY51" fmla="*/ 6289706 h 6867525"/>
              <a:gd name="connsiteX52" fmla="*/ 1377418 w 12199272"/>
              <a:gd name="connsiteY52" fmla="*/ 6293715 h 6867525"/>
              <a:gd name="connsiteX53" fmla="*/ 1379777 w 12199272"/>
              <a:gd name="connsiteY53" fmla="*/ 6298373 h 6867525"/>
              <a:gd name="connsiteX54" fmla="*/ 1381543 w 12199272"/>
              <a:gd name="connsiteY54" fmla="*/ 6303686 h 6867525"/>
              <a:gd name="connsiteX55" fmla="*/ 1382652 w 12199272"/>
              <a:gd name="connsiteY55" fmla="*/ 6309663 h 6867525"/>
              <a:gd name="connsiteX56" fmla="*/ 1383037 w 12199272"/>
              <a:gd name="connsiteY56" fmla="*/ 6316313 h 6867525"/>
              <a:gd name="connsiteX57" fmla="*/ 1382652 w 12199272"/>
              <a:gd name="connsiteY57" fmla="*/ 6322970 h 6867525"/>
              <a:gd name="connsiteX58" fmla="*/ 1381543 w 12199272"/>
              <a:gd name="connsiteY58" fmla="*/ 6328967 h 6867525"/>
              <a:gd name="connsiteX59" fmla="*/ 1379777 w 12199272"/>
              <a:gd name="connsiteY59" fmla="*/ 6334309 h 6867525"/>
              <a:gd name="connsiteX60" fmla="*/ 1377418 w 12199272"/>
              <a:gd name="connsiteY60" fmla="*/ 6339003 h 6867525"/>
              <a:gd name="connsiteX61" fmla="*/ 1374536 w 12199272"/>
              <a:gd name="connsiteY61" fmla="*/ 6343052 h 6867525"/>
              <a:gd name="connsiteX62" fmla="*/ 1371195 w 12199272"/>
              <a:gd name="connsiteY62" fmla="*/ 6346464 h 6867525"/>
              <a:gd name="connsiteX63" fmla="*/ 1367462 w 12199272"/>
              <a:gd name="connsiteY63" fmla="*/ 6349243 h 6867525"/>
              <a:gd name="connsiteX64" fmla="*/ 1363405 w 12199272"/>
              <a:gd name="connsiteY64" fmla="*/ 6351394 h 6867525"/>
              <a:gd name="connsiteX65" fmla="*/ 1359089 w 12199272"/>
              <a:gd name="connsiteY65" fmla="*/ 6352925 h 6867525"/>
              <a:gd name="connsiteX66" fmla="*/ 1354581 w 12199272"/>
              <a:gd name="connsiteY66" fmla="*/ 6353839 h 6867525"/>
              <a:gd name="connsiteX67" fmla="*/ 1349948 w 12199272"/>
              <a:gd name="connsiteY67" fmla="*/ 6354142 h 6867525"/>
              <a:gd name="connsiteX68" fmla="*/ 1345382 w 12199272"/>
              <a:gd name="connsiteY68" fmla="*/ 6353832 h 6867525"/>
              <a:gd name="connsiteX69" fmla="*/ 1340916 w 12199272"/>
              <a:gd name="connsiteY69" fmla="*/ 6352900 h 6867525"/>
              <a:gd name="connsiteX70" fmla="*/ 1336620 w 12199272"/>
              <a:gd name="connsiteY70" fmla="*/ 6351345 h 6867525"/>
              <a:gd name="connsiteX71" fmla="*/ 1332565 w 12199272"/>
              <a:gd name="connsiteY71" fmla="*/ 6349165 h 6867525"/>
              <a:gd name="connsiteX72" fmla="*/ 1328822 w 12199272"/>
              <a:gd name="connsiteY72" fmla="*/ 6346360 h 6867525"/>
              <a:gd name="connsiteX73" fmla="*/ 1325461 w 12199272"/>
              <a:gd name="connsiteY73" fmla="*/ 6342928 h 6867525"/>
              <a:gd name="connsiteX74" fmla="*/ 1322553 w 12199272"/>
              <a:gd name="connsiteY74" fmla="*/ 6338868 h 6867525"/>
              <a:gd name="connsiteX75" fmla="*/ 1320168 w 12199272"/>
              <a:gd name="connsiteY75" fmla="*/ 6334177 h 6867525"/>
              <a:gd name="connsiteX76" fmla="*/ 1318378 w 12199272"/>
              <a:gd name="connsiteY76" fmla="*/ 6328855 h 6867525"/>
              <a:gd name="connsiteX77" fmla="*/ 1317251 w 12199272"/>
              <a:gd name="connsiteY77" fmla="*/ 6322901 h 6867525"/>
              <a:gd name="connsiteX78" fmla="*/ 1316860 w 12199272"/>
              <a:gd name="connsiteY78" fmla="*/ 6316313 h 6867525"/>
              <a:gd name="connsiteX79" fmla="*/ 1317251 w 12199272"/>
              <a:gd name="connsiteY79" fmla="*/ 6309663 h 6867525"/>
              <a:gd name="connsiteX80" fmla="*/ 1318378 w 12199272"/>
              <a:gd name="connsiteY80" fmla="*/ 6303686 h 6867525"/>
              <a:gd name="connsiteX81" fmla="*/ 1320168 w 12199272"/>
              <a:gd name="connsiteY81" fmla="*/ 6298373 h 6867525"/>
              <a:gd name="connsiteX82" fmla="*/ 1322553 w 12199272"/>
              <a:gd name="connsiteY82" fmla="*/ 6293715 h 6867525"/>
              <a:gd name="connsiteX83" fmla="*/ 1325461 w 12199272"/>
              <a:gd name="connsiteY83" fmla="*/ 6289706 h 6867525"/>
              <a:gd name="connsiteX84" fmla="*/ 1328822 w 12199272"/>
              <a:gd name="connsiteY84" fmla="*/ 6286336 h 6867525"/>
              <a:gd name="connsiteX85" fmla="*/ 1332565 w 12199272"/>
              <a:gd name="connsiteY85" fmla="*/ 6283597 h 6867525"/>
              <a:gd name="connsiteX86" fmla="*/ 1336620 w 12199272"/>
              <a:gd name="connsiteY86" fmla="*/ 6281481 h 6867525"/>
              <a:gd name="connsiteX87" fmla="*/ 1340916 w 12199272"/>
              <a:gd name="connsiteY87" fmla="*/ 6279980 h 6867525"/>
              <a:gd name="connsiteX88" fmla="*/ 1345382 w 12199272"/>
              <a:gd name="connsiteY88" fmla="*/ 6279086 h 6867525"/>
              <a:gd name="connsiteX89" fmla="*/ 1349948 w 12199272"/>
              <a:gd name="connsiteY89" fmla="*/ 6278789 h 6867525"/>
              <a:gd name="connsiteX90" fmla="*/ 1106434 w 12199272"/>
              <a:gd name="connsiteY90" fmla="*/ 6240657 h 6867525"/>
              <a:gd name="connsiteX91" fmla="*/ 1104886 w 12199272"/>
              <a:gd name="connsiteY91" fmla="*/ 6240980 h 6867525"/>
              <a:gd name="connsiteX92" fmla="*/ 1103622 w 12199272"/>
              <a:gd name="connsiteY92" fmla="*/ 6241860 h 6867525"/>
              <a:gd name="connsiteX93" fmla="*/ 1102769 w 12199272"/>
              <a:gd name="connsiteY93" fmla="*/ 6243166 h 6867525"/>
              <a:gd name="connsiteX94" fmla="*/ 1102457 w 12199272"/>
              <a:gd name="connsiteY94" fmla="*/ 6244764 h 6867525"/>
              <a:gd name="connsiteX95" fmla="*/ 1102457 w 12199272"/>
              <a:gd name="connsiteY95" fmla="*/ 6388168 h 6867525"/>
              <a:gd name="connsiteX96" fmla="*/ 1102769 w 12199272"/>
              <a:gd name="connsiteY96" fmla="*/ 6389767 h 6867525"/>
              <a:gd name="connsiteX97" fmla="*/ 1103622 w 12199272"/>
              <a:gd name="connsiteY97" fmla="*/ 6391072 h 6867525"/>
              <a:gd name="connsiteX98" fmla="*/ 1104886 w 12199272"/>
              <a:gd name="connsiteY98" fmla="*/ 6391952 h 6867525"/>
              <a:gd name="connsiteX99" fmla="*/ 1106434 w 12199272"/>
              <a:gd name="connsiteY99" fmla="*/ 6392275 h 6867525"/>
              <a:gd name="connsiteX100" fmla="*/ 1143384 w 12199272"/>
              <a:gd name="connsiteY100" fmla="*/ 6392275 h 6867525"/>
              <a:gd name="connsiteX101" fmla="*/ 1144932 w 12199272"/>
              <a:gd name="connsiteY101" fmla="*/ 6391952 h 6867525"/>
              <a:gd name="connsiteX102" fmla="*/ 1146197 w 12199272"/>
              <a:gd name="connsiteY102" fmla="*/ 6391072 h 6867525"/>
              <a:gd name="connsiteX103" fmla="*/ 1147050 w 12199272"/>
              <a:gd name="connsiteY103" fmla="*/ 6389767 h 6867525"/>
              <a:gd name="connsiteX104" fmla="*/ 1147362 w 12199272"/>
              <a:gd name="connsiteY104" fmla="*/ 6388168 h 6867525"/>
              <a:gd name="connsiteX105" fmla="*/ 1147362 w 12199272"/>
              <a:gd name="connsiteY105" fmla="*/ 6244764 h 6867525"/>
              <a:gd name="connsiteX106" fmla="*/ 1147050 w 12199272"/>
              <a:gd name="connsiteY106" fmla="*/ 6243166 h 6867525"/>
              <a:gd name="connsiteX107" fmla="*/ 1146197 w 12199272"/>
              <a:gd name="connsiteY107" fmla="*/ 6241860 h 6867525"/>
              <a:gd name="connsiteX108" fmla="*/ 1144932 w 12199272"/>
              <a:gd name="connsiteY108" fmla="*/ 6240980 h 6867525"/>
              <a:gd name="connsiteX109" fmla="*/ 1143384 w 12199272"/>
              <a:gd name="connsiteY109" fmla="*/ 6240657 h 6867525"/>
              <a:gd name="connsiteX110" fmla="*/ 1106434 w 12199272"/>
              <a:gd name="connsiteY110" fmla="*/ 6240657 h 6867525"/>
              <a:gd name="connsiteX111" fmla="*/ 1254739 w 12199272"/>
              <a:gd name="connsiteY111" fmla="*/ 6239132 h 6867525"/>
              <a:gd name="connsiteX112" fmla="*/ 1250024 w 12199272"/>
              <a:gd name="connsiteY112" fmla="*/ 6239375 h 6867525"/>
              <a:gd name="connsiteX113" fmla="*/ 1244879 w 12199272"/>
              <a:gd name="connsiteY113" fmla="*/ 6240162 h 6867525"/>
              <a:gd name="connsiteX114" fmla="*/ 1239513 w 12199272"/>
              <a:gd name="connsiteY114" fmla="*/ 6241577 h 6867525"/>
              <a:gd name="connsiteX115" fmla="*/ 1234133 w 12199272"/>
              <a:gd name="connsiteY115" fmla="*/ 6243708 h 6867525"/>
              <a:gd name="connsiteX116" fmla="*/ 1228947 w 12199272"/>
              <a:gd name="connsiteY116" fmla="*/ 6246639 h 6867525"/>
              <a:gd name="connsiteX117" fmla="*/ 1224162 w 12199272"/>
              <a:gd name="connsiteY117" fmla="*/ 6250458 h 6867525"/>
              <a:gd name="connsiteX118" fmla="*/ 1219987 w 12199272"/>
              <a:gd name="connsiteY118" fmla="*/ 6255248 h 6867525"/>
              <a:gd name="connsiteX119" fmla="*/ 1216628 w 12199272"/>
              <a:gd name="connsiteY119" fmla="*/ 6261097 h 6867525"/>
              <a:gd name="connsiteX120" fmla="*/ 1216628 w 12199272"/>
              <a:gd name="connsiteY120" fmla="*/ 6244763 h 6867525"/>
              <a:gd name="connsiteX121" fmla="*/ 1216316 w 12199272"/>
              <a:gd name="connsiteY121" fmla="*/ 6243165 h 6867525"/>
              <a:gd name="connsiteX122" fmla="*/ 1215463 w 12199272"/>
              <a:gd name="connsiteY122" fmla="*/ 6241860 h 6867525"/>
              <a:gd name="connsiteX123" fmla="*/ 1214199 w 12199272"/>
              <a:gd name="connsiteY123" fmla="*/ 6240979 h 6867525"/>
              <a:gd name="connsiteX124" fmla="*/ 1212650 w 12199272"/>
              <a:gd name="connsiteY124" fmla="*/ 6240657 h 6867525"/>
              <a:gd name="connsiteX125" fmla="*/ 1177178 w 12199272"/>
              <a:gd name="connsiteY125" fmla="*/ 6240657 h 6867525"/>
              <a:gd name="connsiteX126" fmla="*/ 1175630 w 12199272"/>
              <a:gd name="connsiteY126" fmla="*/ 6240979 h 6867525"/>
              <a:gd name="connsiteX127" fmla="*/ 1174366 w 12199272"/>
              <a:gd name="connsiteY127" fmla="*/ 6241860 h 6867525"/>
              <a:gd name="connsiteX128" fmla="*/ 1173513 w 12199272"/>
              <a:gd name="connsiteY128" fmla="*/ 6243165 h 6867525"/>
              <a:gd name="connsiteX129" fmla="*/ 1173201 w 12199272"/>
              <a:gd name="connsiteY129" fmla="*/ 6244763 h 6867525"/>
              <a:gd name="connsiteX130" fmla="*/ 1173201 w 12199272"/>
              <a:gd name="connsiteY130" fmla="*/ 6388167 h 6867525"/>
              <a:gd name="connsiteX131" fmla="*/ 1173513 w 12199272"/>
              <a:gd name="connsiteY131" fmla="*/ 6389767 h 6867525"/>
              <a:gd name="connsiteX132" fmla="*/ 1174366 w 12199272"/>
              <a:gd name="connsiteY132" fmla="*/ 6391073 h 6867525"/>
              <a:gd name="connsiteX133" fmla="*/ 1175630 w 12199272"/>
              <a:gd name="connsiteY133" fmla="*/ 6391953 h 6867525"/>
              <a:gd name="connsiteX134" fmla="*/ 1177178 w 12199272"/>
              <a:gd name="connsiteY134" fmla="*/ 6392276 h 6867525"/>
              <a:gd name="connsiteX135" fmla="*/ 1214127 w 12199272"/>
              <a:gd name="connsiteY135" fmla="*/ 6392276 h 6867525"/>
              <a:gd name="connsiteX136" fmla="*/ 1215676 w 12199272"/>
              <a:gd name="connsiteY136" fmla="*/ 6391953 h 6867525"/>
              <a:gd name="connsiteX137" fmla="*/ 1216940 w 12199272"/>
              <a:gd name="connsiteY137" fmla="*/ 6391073 h 6867525"/>
              <a:gd name="connsiteX138" fmla="*/ 1217792 w 12199272"/>
              <a:gd name="connsiteY138" fmla="*/ 6389767 h 6867525"/>
              <a:gd name="connsiteX139" fmla="*/ 1218105 w 12199272"/>
              <a:gd name="connsiteY139" fmla="*/ 6388167 h 6867525"/>
              <a:gd name="connsiteX140" fmla="*/ 1218105 w 12199272"/>
              <a:gd name="connsiteY140" fmla="*/ 6326074 h 6867525"/>
              <a:gd name="connsiteX141" fmla="*/ 1218497 w 12199272"/>
              <a:gd name="connsiteY141" fmla="*/ 6318306 h 6867525"/>
              <a:gd name="connsiteX142" fmla="*/ 1219630 w 12199272"/>
              <a:gd name="connsiteY142" fmla="*/ 6311451 h 6867525"/>
              <a:gd name="connsiteX143" fmla="*/ 1221437 w 12199272"/>
              <a:gd name="connsiteY143" fmla="*/ 6305471 h 6867525"/>
              <a:gd name="connsiteX144" fmla="*/ 1223855 w 12199272"/>
              <a:gd name="connsiteY144" fmla="*/ 6300332 h 6867525"/>
              <a:gd name="connsiteX145" fmla="*/ 1226817 w 12199272"/>
              <a:gd name="connsiteY145" fmla="*/ 6295995 h 6867525"/>
              <a:gd name="connsiteX146" fmla="*/ 1230259 w 12199272"/>
              <a:gd name="connsiteY146" fmla="*/ 6292426 h 6867525"/>
              <a:gd name="connsiteX147" fmla="*/ 1234115 w 12199272"/>
              <a:gd name="connsiteY147" fmla="*/ 6289587 h 6867525"/>
              <a:gd name="connsiteX148" fmla="*/ 1238320 w 12199272"/>
              <a:gd name="connsiteY148" fmla="*/ 6287442 h 6867525"/>
              <a:gd name="connsiteX149" fmla="*/ 1242809 w 12199272"/>
              <a:gd name="connsiteY149" fmla="*/ 6285955 h 6867525"/>
              <a:gd name="connsiteX150" fmla="*/ 1247516 w 12199272"/>
              <a:gd name="connsiteY150" fmla="*/ 6285090 h 6867525"/>
              <a:gd name="connsiteX151" fmla="*/ 1252376 w 12199272"/>
              <a:gd name="connsiteY151" fmla="*/ 6284809 h 6867525"/>
              <a:gd name="connsiteX152" fmla="*/ 1254599 w 12199272"/>
              <a:gd name="connsiteY152" fmla="*/ 6284837 h 6867525"/>
              <a:gd name="connsiteX153" fmla="*/ 1256730 w 12199272"/>
              <a:gd name="connsiteY153" fmla="*/ 6284927 h 6867525"/>
              <a:gd name="connsiteX154" fmla="*/ 1258821 w 12199272"/>
              <a:gd name="connsiteY154" fmla="*/ 6285090 h 6867525"/>
              <a:gd name="connsiteX155" fmla="*/ 1260894 w 12199272"/>
              <a:gd name="connsiteY155" fmla="*/ 6285334 h 6867525"/>
              <a:gd name="connsiteX156" fmla="*/ 1262471 w 12199272"/>
              <a:gd name="connsiteY156" fmla="*/ 6285238 h 6867525"/>
              <a:gd name="connsiteX157" fmla="*/ 1263347 w 12199272"/>
              <a:gd name="connsiteY157" fmla="*/ 6284809 h 6867525"/>
              <a:gd name="connsiteX158" fmla="*/ 1263848 w 12199272"/>
              <a:gd name="connsiteY158" fmla="*/ 6284564 h 6867525"/>
              <a:gd name="connsiteX159" fmla="*/ 1264877 w 12199272"/>
              <a:gd name="connsiteY159" fmla="*/ 6283414 h 6867525"/>
              <a:gd name="connsiteX160" fmla="*/ 1265415 w 12199272"/>
              <a:gd name="connsiteY160" fmla="*/ 6281888 h 6867525"/>
              <a:gd name="connsiteX161" fmla="*/ 1268444 w 12199272"/>
              <a:gd name="connsiteY161" fmla="*/ 6261097 h 6867525"/>
              <a:gd name="connsiteX162" fmla="*/ 1270750 w 12199272"/>
              <a:gd name="connsiteY162" fmla="*/ 6245263 h 6867525"/>
              <a:gd name="connsiteX163" fmla="*/ 1270687 w 12199272"/>
              <a:gd name="connsiteY163" fmla="*/ 6243692 h 6867525"/>
              <a:gd name="connsiteX164" fmla="*/ 1264312 w 12199272"/>
              <a:gd name="connsiteY164" fmla="*/ 6240006 h 6867525"/>
              <a:gd name="connsiteX165" fmla="*/ 1257574 w 12199272"/>
              <a:gd name="connsiteY165" fmla="*/ 6239237 h 6867525"/>
              <a:gd name="connsiteX166" fmla="*/ 1254739 w 12199272"/>
              <a:gd name="connsiteY166" fmla="*/ 6239132 h 6867525"/>
              <a:gd name="connsiteX167" fmla="*/ 1017052 w 12199272"/>
              <a:gd name="connsiteY167" fmla="*/ 6236996 h 6867525"/>
              <a:gd name="connsiteX168" fmla="*/ 1010253 w 12199272"/>
              <a:gd name="connsiteY168" fmla="*/ 6237334 h 6867525"/>
              <a:gd name="connsiteX169" fmla="*/ 1003864 w 12199272"/>
              <a:gd name="connsiteY169" fmla="*/ 6238297 h 6867525"/>
              <a:gd name="connsiteX170" fmla="*/ 997926 w 12199272"/>
              <a:gd name="connsiteY170" fmla="*/ 6239809 h 6867525"/>
              <a:gd name="connsiteX171" fmla="*/ 992476 w 12199272"/>
              <a:gd name="connsiteY171" fmla="*/ 6241797 h 6867525"/>
              <a:gd name="connsiteX172" fmla="*/ 987553 w 12199272"/>
              <a:gd name="connsiteY172" fmla="*/ 6244183 h 6867525"/>
              <a:gd name="connsiteX173" fmla="*/ 983198 w 12199272"/>
              <a:gd name="connsiteY173" fmla="*/ 6246894 h 6867525"/>
              <a:gd name="connsiteX174" fmla="*/ 979447 w 12199272"/>
              <a:gd name="connsiteY174" fmla="*/ 6249853 h 6867525"/>
              <a:gd name="connsiteX175" fmla="*/ 973919 w 12199272"/>
              <a:gd name="connsiteY175" fmla="*/ 6256215 h 6867525"/>
              <a:gd name="connsiteX176" fmla="*/ 973919 w 12199272"/>
              <a:gd name="connsiteY176" fmla="*/ 6244763 h 6867525"/>
              <a:gd name="connsiteX177" fmla="*/ 973606 w 12199272"/>
              <a:gd name="connsiteY177" fmla="*/ 6243165 h 6867525"/>
              <a:gd name="connsiteX178" fmla="*/ 972754 w 12199272"/>
              <a:gd name="connsiteY178" fmla="*/ 6241860 h 6867525"/>
              <a:gd name="connsiteX179" fmla="*/ 971489 w 12199272"/>
              <a:gd name="connsiteY179" fmla="*/ 6240979 h 6867525"/>
              <a:gd name="connsiteX180" fmla="*/ 969940 w 12199272"/>
              <a:gd name="connsiteY180" fmla="*/ 6240657 h 6867525"/>
              <a:gd name="connsiteX181" fmla="*/ 934469 w 12199272"/>
              <a:gd name="connsiteY181" fmla="*/ 6240657 h 6867525"/>
              <a:gd name="connsiteX182" fmla="*/ 932920 w 12199272"/>
              <a:gd name="connsiteY182" fmla="*/ 6240979 h 6867525"/>
              <a:gd name="connsiteX183" fmla="*/ 931655 w 12199272"/>
              <a:gd name="connsiteY183" fmla="*/ 6241860 h 6867525"/>
              <a:gd name="connsiteX184" fmla="*/ 930803 w 12199272"/>
              <a:gd name="connsiteY184" fmla="*/ 6243165 h 6867525"/>
              <a:gd name="connsiteX185" fmla="*/ 930490 w 12199272"/>
              <a:gd name="connsiteY185" fmla="*/ 6244763 h 6867525"/>
              <a:gd name="connsiteX186" fmla="*/ 930490 w 12199272"/>
              <a:gd name="connsiteY186" fmla="*/ 6446130 h 6867525"/>
              <a:gd name="connsiteX187" fmla="*/ 930803 w 12199272"/>
              <a:gd name="connsiteY187" fmla="*/ 6447729 h 6867525"/>
              <a:gd name="connsiteX188" fmla="*/ 931655 w 12199272"/>
              <a:gd name="connsiteY188" fmla="*/ 6449034 h 6867525"/>
              <a:gd name="connsiteX189" fmla="*/ 932920 w 12199272"/>
              <a:gd name="connsiteY189" fmla="*/ 6449914 h 6867525"/>
              <a:gd name="connsiteX190" fmla="*/ 934469 w 12199272"/>
              <a:gd name="connsiteY190" fmla="*/ 6450237 h 6867525"/>
              <a:gd name="connsiteX191" fmla="*/ 971418 w 12199272"/>
              <a:gd name="connsiteY191" fmla="*/ 6450237 h 6867525"/>
              <a:gd name="connsiteX192" fmla="*/ 972966 w 12199272"/>
              <a:gd name="connsiteY192" fmla="*/ 6449914 h 6867525"/>
              <a:gd name="connsiteX193" fmla="*/ 974230 w 12199272"/>
              <a:gd name="connsiteY193" fmla="*/ 6449034 h 6867525"/>
              <a:gd name="connsiteX194" fmla="*/ 975083 w 12199272"/>
              <a:gd name="connsiteY194" fmla="*/ 6447729 h 6867525"/>
              <a:gd name="connsiteX195" fmla="*/ 975395 w 12199272"/>
              <a:gd name="connsiteY195" fmla="*/ 6446130 h 6867525"/>
              <a:gd name="connsiteX196" fmla="*/ 975395 w 12199272"/>
              <a:gd name="connsiteY196" fmla="*/ 6380378 h 6867525"/>
              <a:gd name="connsiteX197" fmla="*/ 978285 w 12199272"/>
              <a:gd name="connsiteY197" fmla="*/ 6383485 h 6867525"/>
              <a:gd name="connsiteX198" fmla="*/ 981835 w 12199272"/>
              <a:gd name="connsiteY198" fmla="*/ 6386364 h 6867525"/>
              <a:gd name="connsiteX199" fmla="*/ 986016 w 12199272"/>
              <a:gd name="connsiteY199" fmla="*/ 6388958 h 6867525"/>
              <a:gd name="connsiteX200" fmla="*/ 990795 w 12199272"/>
              <a:gd name="connsiteY200" fmla="*/ 6391208 h 6867525"/>
              <a:gd name="connsiteX201" fmla="*/ 996142 w 12199272"/>
              <a:gd name="connsiteY201" fmla="*/ 6393057 h 6867525"/>
              <a:gd name="connsiteX202" fmla="*/ 1002026 w 12199272"/>
              <a:gd name="connsiteY202" fmla="*/ 6394450 h 6867525"/>
              <a:gd name="connsiteX203" fmla="*/ 1008415 w 12199272"/>
              <a:gd name="connsiteY203" fmla="*/ 6395327 h 6867525"/>
              <a:gd name="connsiteX204" fmla="*/ 1015278 w 12199272"/>
              <a:gd name="connsiteY204" fmla="*/ 6395632 h 6867525"/>
              <a:gd name="connsiteX205" fmla="*/ 1020801 w 12199272"/>
              <a:gd name="connsiteY205" fmla="*/ 6395428 h 6867525"/>
              <a:gd name="connsiteX206" fmla="*/ 1026165 w 12199272"/>
              <a:gd name="connsiteY206" fmla="*/ 6394823 h 6867525"/>
              <a:gd name="connsiteX207" fmla="*/ 1031359 w 12199272"/>
              <a:gd name="connsiteY207" fmla="*/ 6393828 h 6867525"/>
              <a:gd name="connsiteX208" fmla="*/ 1036375 w 12199272"/>
              <a:gd name="connsiteY208" fmla="*/ 6392455 h 6867525"/>
              <a:gd name="connsiteX209" fmla="*/ 1041203 w 12199272"/>
              <a:gd name="connsiteY209" fmla="*/ 6390715 h 6867525"/>
              <a:gd name="connsiteX210" fmla="*/ 1045833 w 12199272"/>
              <a:gd name="connsiteY210" fmla="*/ 6388620 h 6867525"/>
              <a:gd name="connsiteX211" fmla="*/ 1050256 w 12199272"/>
              <a:gd name="connsiteY211" fmla="*/ 6386181 h 6867525"/>
              <a:gd name="connsiteX212" fmla="*/ 1054462 w 12199272"/>
              <a:gd name="connsiteY212" fmla="*/ 6383409 h 6867525"/>
              <a:gd name="connsiteX213" fmla="*/ 1058363 w 12199272"/>
              <a:gd name="connsiteY213" fmla="*/ 6380378 h 6867525"/>
              <a:gd name="connsiteX214" fmla="*/ 1062187 w 12199272"/>
              <a:gd name="connsiteY214" fmla="*/ 6376912 h 6867525"/>
              <a:gd name="connsiteX215" fmla="*/ 1065687 w 12199272"/>
              <a:gd name="connsiteY215" fmla="*/ 6373209 h 6867525"/>
              <a:gd name="connsiteX216" fmla="*/ 1068932 w 12199272"/>
              <a:gd name="connsiteY216" fmla="*/ 6369219 h 6867525"/>
              <a:gd name="connsiteX217" fmla="*/ 1071913 w 12199272"/>
              <a:gd name="connsiteY217" fmla="*/ 6364953 h 6867525"/>
              <a:gd name="connsiteX218" fmla="*/ 1074621 w 12199272"/>
              <a:gd name="connsiteY218" fmla="*/ 6360423 h 6867525"/>
              <a:gd name="connsiteX219" fmla="*/ 1077046 w 12199272"/>
              <a:gd name="connsiteY219" fmla="*/ 6355639 h 6867525"/>
              <a:gd name="connsiteX220" fmla="*/ 1077680 w 12199272"/>
              <a:gd name="connsiteY220" fmla="*/ 6354143 h 6867525"/>
              <a:gd name="connsiteX221" fmla="*/ 1081008 w 12199272"/>
              <a:gd name="connsiteY221" fmla="*/ 6345356 h 6867525"/>
              <a:gd name="connsiteX222" fmla="*/ 1082527 w 12199272"/>
              <a:gd name="connsiteY222" fmla="*/ 6339880 h 6867525"/>
              <a:gd name="connsiteX223" fmla="*/ 1083727 w 12199272"/>
              <a:gd name="connsiteY223" fmla="*/ 6334177 h 6867525"/>
              <a:gd name="connsiteX224" fmla="*/ 1084591 w 12199272"/>
              <a:gd name="connsiteY224" fmla="*/ 6328315 h 6867525"/>
              <a:gd name="connsiteX225" fmla="*/ 1085119 w 12199272"/>
              <a:gd name="connsiteY225" fmla="*/ 6322249 h 6867525"/>
              <a:gd name="connsiteX226" fmla="*/ 1085297 w 12199272"/>
              <a:gd name="connsiteY226" fmla="*/ 6316009 h 6867525"/>
              <a:gd name="connsiteX227" fmla="*/ 1085138 w 12199272"/>
              <a:gd name="connsiteY227" fmla="*/ 6309886 h 6867525"/>
              <a:gd name="connsiteX228" fmla="*/ 1084666 w 12199272"/>
              <a:gd name="connsiteY228" fmla="*/ 6303923 h 6867525"/>
              <a:gd name="connsiteX229" fmla="*/ 1083885 w 12199272"/>
              <a:gd name="connsiteY229" fmla="*/ 6298132 h 6867525"/>
              <a:gd name="connsiteX230" fmla="*/ 1082801 w 12199272"/>
              <a:gd name="connsiteY230" fmla="*/ 6292525 h 6867525"/>
              <a:gd name="connsiteX231" fmla="*/ 1081418 w 12199272"/>
              <a:gd name="connsiteY231" fmla="*/ 6287115 h 6867525"/>
              <a:gd name="connsiteX232" fmla="*/ 1079741 w 12199272"/>
              <a:gd name="connsiteY232" fmla="*/ 6281913 h 6867525"/>
              <a:gd name="connsiteX233" fmla="*/ 1078509 w 12199272"/>
              <a:gd name="connsiteY233" fmla="*/ 6278790 h 6867525"/>
              <a:gd name="connsiteX234" fmla="*/ 1077776 w 12199272"/>
              <a:gd name="connsiteY234" fmla="*/ 6276931 h 6867525"/>
              <a:gd name="connsiteX235" fmla="*/ 1075527 w 12199272"/>
              <a:gd name="connsiteY235" fmla="*/ 6272183 h 6867525"/>
              <a:gd name="connsiteX236" fmla="*/ 1072999 w 12199272"/>
              <a:gd name="connsiteY236" fmla="*/ 6267679 h 6867525"/>
              <a:gd name="connsiteX237" fmla="*/ 1070198 w 12199272"/>
              <a:gd name="connsiteY237" fmla="*/ 6263433 h 6867525"/>
              <a:gd name="connsiteX238" fmla="*/ 1067128 w 12199272"/>
              <a:gd name="connsiteY238" fmla="*/ 6259457 h 6867525"/>
              <a:gd name="connsiteX239" fmla="*/ 1064203 w 12199272"/>
              <a:gd name="connsiteY239" fmla="*/ 6256215 h 6867525"/>
              <a:gd name="connsiteX240" fmla="*/ 1060201 w 12199272"/>
              <a:gd name="connsiteY240" fmla="*/ 6252361 h 6867525"/>
              <a:gd name="connsiteX241" fmla="*/ 1056355 w 12199272"/>
              <a:gd name="connsiteY241" fmla="*/ 6249267 h 6867525"/>
              <a:gd name="connsiteX242" fmla="*/ 1052260 w 12199272"/>
              <a:gd name="connsiteY242" fmla="*/ 6246491 h 6867525"/>
              <a:gd name="connsiteX243" fmla="*/ 1047922 w 12199272"/>
              <a:gd name="connsiteY243" fmla="*/ 6244045 h 6867525"/>
              <a:gd name="connsiteX244" fmla="*/ 1043344 w 12199272"/>
              <a:gd name="connsiteY244" fmla="*/ 6241942 h 6867525"/>
              <a:gd name="connsiteX245" fmla="*/ 1038533 w 12199272"/>
              <a:gd name="connsiteY245" fmla="*/ 6240194 h 6867525"/>
              <a:gd name="connsiteX246" fmla="*/ 1033494 w 12199272"/>
              <a:gd name="connsiteY246" fmla="*/ 6238813 h 6867525"/>
              <a:gd name="connsiteX247" fmla="*/ 1028230 w 12199272"/>
              <a:gd name="connsiteY247" fmla="*/ 6237812 h 6867525"/>
              <a:gd name="connsiteX248" fmla="*/ 1022748 w 12199272"/>
              <a:gd name="connsiteY248" fmla="*/ 6237202 h 6867525"/>
              <a:gd name="connsiteX249" fmla="*/ 1017052 w 12199272"/>
              <a:gd name="connsiteY249" fmla="*/ 6236996 h 6867525"/>
              <a:gd name="connsiteX250" fmla="*/ 1518121 w 12199272"/>
              <a:gd name="connsiteY250" fmla="*/ 6236081 h 6867525"/>
              <a:gd name="connsiteX251" fmla="*/ 1512547 w 12199272"/>
              <a:gd name="connsiteY251" fmla="*/ 6236268 h 6867525"/>
              <a:gd name="connsiteX252" fmla="*/ 1507086 w 12199272"/>
              <a:gd name="connsiteY252" fmla="*/ 6236823 h 6867525"/>
              <a:gd name="connsiteX253" fmla="*/ 1501751 w 12199272"/>
              <a:gd name="connsiteY253" fmla="*/ 6237736 h 6867525"/>
              <a:gd name="connsiteX254" fmla="*/ 1496554 w 12199272"/>
              <a:gd name="connsiteY254" fmla="*/ 6238997 h 6867525"/>
              <a:gd name="connsiteX255" fmla="*/ 1491508 w 12199272"/>
              <a:gd name="connsiteY255" fmla="*/ 6240598 h 6867525"/>
              <a:gd name="connsiteX256" fmla="*/ 1486625 w 12199272"/>
              <a:gd name="connsiteY256" fmla="*/ 6242529 h 6867525"/>
              <a:gd name="connsiteX257" fmla="*/ 1481918 w 12199272"/>
              <a:gd name="connsiteY257" fmla="*/ 6244779 h 6867525"/>
              <a:gd name="connsiteX258" fmla="*/ 1477398 w 12199272"/>
              <a:gd name="connsiteY258" fmla="*/ 6247341 h 6867525"/>
              <a:gd name="connsiteX259" fmla="*/ 1473080 w 12199272"/>
              <a:gd name="connsiteY259" fmla="*/ 6250204 h 6867525"/>
              <a:gd name="connsiteX260" fmla="*/ 1468975 w 12199272"/>
              <a:gd name="connsiteY260" fmla="*/ 6253359 h 6867525"/>
              <a:gd name="connsiteX261" fmla="*/ 1465095 w 12199272"/>
              <a:gd name="connsiteY261" fmla="*/ 6256796 h 6867525"/>
              <a:gd name="connsiteX262" fmla="*/ 1461455 w 12199272"/>
              <a:gd name="connsiteY262" fmla="*/ 6260506 h 6867525"/>
              <a:gd name="connsiteX263" fmla="*/ 1458064 w 12199272"/>
              <a:gd name="connsiteY263" fmla="*/ 6264480 h 6867525"/>
              <a:gd name="connsiteX264" fmla="*/ 1454938 w 12199272"/>
              <a:gd name="connsiteY264" fmla="*/ 6268707 h 6867525"/>
              <a:gd name="connsiteX265" fmla="*/ 1452087 w 12199272"/>
              <a:gd name="connsiteY265" fmla="*/ 6273179 h 6867525"/>
              <a:gd name="connsiteX266" fmla="*/ 1449525 w 12199272"/>
              <a:gd name="connsiteY266" fmla="*/ 6277886 h 6867525"/>
              <a:gd name="connsiteX267" fmla="*/ 1447263 w 12199272"/>
              <a:gd name="connsiteY267" fmla="*/ 6282819 h 6867525"/>
              <a:gd name="connsiteX268" fmla="*/ 1445310 w 12199272"/>
              <a:gd name="connsiteY268" fmla="*/ 6287986 h 6867525"/>
              <a:gd name="connsiteX269" fmla="*/ 1443694 w 12199272"/>
              <a:gd name="connsiteY269" fmla="*/ 6293322 h 6867525"/>
              <a:gd name="connsiteX270" fmla="*/ 1442411 w 12199272"/>
              <a:gd name="connsiteY270" fmla="*/ 6298874 h 6867525"/>
              <a:gd name="connsiteX271" fmla="*/ 1441479 w 12199272"/>
              <a:gd name="connsiteY271" fmla="*/ 6304614 h 6867525"/>
              <a:gd name="connsiteX272" fmla="*/ 1440910 w 12199272"/>
              <a:gd name="connsiteY272" fmla="*/ 6310532 h 6867525"/>
              <a:gd name="connsiteX273" fmla="*/ 1440718 w 12199272"/>
              <a:gd name="connsiteY273" fmla="*/ 6316619 h 6867525"/>
              <a:gd name="connsiteX274" fmla="*/ 1440899 w 12199272"/>
              <a:gd name="connsiteY274" fmla="*/ 6322418 h 6867525"/>
              <a:gd name="connsiteX275" fmla="*/ 1441435 w 12199272"/>
              <a:gd name="connsiteY275" fmla="*/ 6328066 h 6867525"/>
              <a:gd name="connsiteX276" fmla="*/ 1442314 w 12199272"/>
              <a:gd name="connsiteY276" fmla="*/ 6333554 h 6867525"/>
              <a:gd name="connsiteX277" fmla="*/ 1443524 w 12199272"/>
              <a:gd name="connsiteY277" fmla="*/ 6338874 h 6867525"/>
              <a:gd name="connsiteX278" fmla="*/ 1445055 w 12199272"/>
              <a:gd name="connsiteY278" fmla="*/ 6344017 h 6867525"/>
              <a:gd name="connsiteX279" fmla="*/ 1446894 w 12199272"/>
              <a:gd name="connsiteY279" fmla="*/ 6348975 h 6867525"/>
              <a:gd name="connsiteX280" fmla="*/ 1449030 w 12199272"/>
              <a:gd name="connsiteY280" fmla="*/ 6353738 h 6867525"/>
              <a:gd name="connsiteX281" fmla="*/ 1451452 w 12199272"/>
              <a:gd name="connsiteY281" fmla="*/ 6358299 h 6867525"/>
              <a:gd name="connsiteX282" fmla="*/ 1454147 w 12199272"/>
              <a:gd name="connsiteY282" fmla="*/ 6362650 h 6867525"/>
              <a:gd name="connsiteX283" fmla="*/ 1457105 w 12199272"/>
              <a:gd name="connsiteY283" fmla="*/ 6366781 h 6867525"/>
              <a:gd name="connsiteX284" fmla="*/ 1460313 w 12199272"/>
              <a:gd name="connsiteY284" fmla="*/ 6370685 h 6867525"/>
              <a:gd name="connsiteX285" fmla="*/ 1463761 w 12199272"/>
              <a:gd name="connsiteY285" fmla="*/ 6374352 h 6867525"/>
              <a:gd name="connsiteX286" fmla="*/ 1467436 w 12199272"/>
              <a:gd name="connsiteY286" fmla="*/ 6377775 h 6867525"/>
              <a:gd name="connsiteX287" fmla="*/ 1471328 w 12199272"/>
              <a:gd name="connsiteY287" fmla="*/ 6380944 h 6867525"/>
              <a:gd name="connsiteX288" fmla="*/ 1475425 w 12199272"/>
              <a:gd name="connsiteY288" fmla="*/ 6383852 h 6867525"/>
              <a:gd name="connsiteX289" fmla="*/ 1479714 w 12199272"/>
              <a:gd name="connsiteY289" fmla="*/ 6386489 h 6867525"/>
              <a:gd name="connsiteX290" fmla="*/ 1484185 w 12199272"/>
              <a:gd name="connsiteY290" fmla="*/ 6388849 h 6867525"/>
              <a:gd name="connsiteX291" fmla="*/ 1488826 w 12199272"/>
              <a:gd name="connsiteY291" fmla="*/ 6390921 h 6867525"/>
              <a:gd name="connsiteX292" fmla="*/ 1493626 w 12199272"/>
              <a:gd name="connsiteY292" fmla="*/ 6392697 h 6867525"/>
              <a:gd name="connsiteX293" fmla="*/ 1498572 w 12199272"/>
              <a:gd name="connsiteY293" fmla="*/ 6394170 h 6867525"/>
              <a:gd name="connsiteX294" fmla="*/ 1503654 w 12199272"/>
              <a:gd name="connsiteY294" fmla="*/ 6395330 h 6867525"/>
              <a:gd name="connsiteX295" fmla="*/ 1508860 w 12199272"/>
              <a:gd name="connsiteY295" fmla="*/ 6396169 h 6867525"/>
              <a:gd name="connsiteX296" fmla="*/ 1514178 w 12199272"/>
              <a:gd name="connsiteY296" fmla="*/ 6396678 h 6867525"/>
              <a:gd name="connsiteX297" fmla="*/ 1519597 w 12199272"/>
              <a:gd name="connsiteY297" fmla="*/ 6396850 h 6867525"/>
              <a:gd name="connsiteX298" fmla="*/ 1526428 w 12199272"/>
              <a:gd name="connsiteY298" fmla="*/ 6396579 h 6867525"/>
              <a:gd name="connsiteX299" fmla="*/ 1532938 w 12199272"/>
              <a:gd name="connsiteY299" fmla="*/ 6395786 h 6867525"/>
              <a:gd name="connsiteX300" fmla="*/ 1539123 w 12199272"/>
              <a:gd name="connsiteY300" fmla="*/ 6394505 h 6867525"/>
              <a:gd name="connsiteX301" fmla="*/ 1544980 w 12199272"/>
              <a:gd name="connsiteY301" fmla="*/ 6392768 h 6867525"/>
              <a:gd name="connsiteX302" fmla="*/ 1550506 w 12199272"/>
              <a:gd name="connsiteY302" fmla="*/ 6390607 h 6867525"/>
              <a:gd name="connsiteX303" fmla="*/ 1555698 w 12199272"/>
              <a:gd name="connsiteY303" fmla="*/ 6388054 h 6867525"/>
              <a:gd name="connsiteX304" fmla="*/ 1560552 w 12199272"/>
              <a:gd name="connsiteY304" fmla="*/ 6385143 h 6867525"/>
              <a:gd name="connsiteX305" fmla="*/ 1565064 w 12199272"/>
              <a:gd name="connsiteY305" fmla="*/ 6381905 h 6867525"/>
              <a:gd name="connsiteX306" fmla="*/ 1569232 w 12199272"/>
              <a:gd name="connsiteY306" fmla="*/ 6378373 h 6867525"/>
              <a:gd name="connsiteX307" fmla="*/ 1573052 w 12199272"/>
              <a:gd name="connsiteY307" fmla="*/ 6374579 h 6867525"/>
              <a:gd name="connsiteX308" fmla="*/ 1576520 w 12199272"/>
              <a:gd name="connsiteY308" fmla="*/ 6370556 h 6867525"/>
              <a:gd name="connsiteX309" fmla="*/ 1579635 w 12199272"/>
              <a:gd name="connsiteY309" fmla="*/ 6366337 h 6867525"/>
              <a:gd name="connsiteX310" fmla="*/ 1582391 w 12199272"/>
              <a:gd name="connsiteY310" fmla="*/ 6361953 h 6867525"/>
              <a:gd name="connsiteX311" fmla="*/ 1584786 w 12199272"/>
              <a:gd name="connsiteY311" fmla="*/ 6357438 h 6867525"/>
              <a:gd name="connsiteX312" fmla="*/ 1586236 w 12199272"/>
              <a:gd name="connsiteY312" fmla="*/ 6354142 h 6867525"/>
              <a:gd name="connsiteX313" fmla="*/ 1586816 w 12199272"/>
              <a:gd name="connsiteY313" fmla="*/ 6352822 h 6867525"/>
              <a:gd name="connsiteX314" fmla="*/ 1588479 w 12199272"/>
              <a:gd name="connsiteY314" fmla="*/ 6348140 h 6867525"/>
              <a:gd name="connsiteX315" fmla="*/ 1588664 w 12199272"/>
              <a:gd name="connsiteY315" fmla="*/ 6346485 h 6867525"/>
              <a:gd name="connsiteX316" fmla="*/ 1588235 w 12199272"/>
              <a:gd name="connsiteY316" fmla="*/ 6344942 h 6867525"/>
              <a:gd name="connsiteX317" fmla="*/ 1587274 w 12199272"/>
              <a:gd name="connsiteY317" fmla="*/ 6343685 h 6867525"/>
              <a:gd name="connsiteX318" fmla="*/ 1585862 w 12199272"/>
              <a:gd name="connsiteY318" fmla="*/ 6342887 h 6867525"/>
              <a:gd name="connsiteX319" fmla="*/ 1553627 w 12199272"/>
              <a:gd name="connsiteY319" fmla="*/ 6332703 h 6867525"/>
              <a:gd name="connsiteX320" fmla="*/ 1552160 w 12199272"/>
              <a:gd name="connsiteY320" fmla="*/ 6332537 h 6867525"/>
              <a:gd name="connsiteX321" fmla="*/ 1550782 w 12199272"/>
              <a:gd name="connsiteY321" fmla="*/ 6332922 h 6867525"/>
              <a:gd name="connsiteX322" fmla="*/ 1549622 w 12199272"/>
              <a:gd name="connsiteY322" fmla="*/ 6333788 h 6867525"/>
              <a:gd name="connsiteX323" fmla="*/ 1548805 w 12199272"/>
              <a:gd name="connsiteY323" fmla="*/ 6335066 h 6867525"/>
              <a:gd name="connsiteX324" fmla="*/ 1546706 w 12199272"/>
              <a:gd name="connsiteY324" fmla="*/ 6339274 h 6867525"/>
              <a:gd name="connsiteX325" fmla="*/ 1543941 w 12199272"/>
              <a:gd name="connsiteY325" fmla="*/ 6343224 h 6867525"/>
              <a:gd name="connsiteX326" fmla="*/ 1540495 w 12199272"/>
              <a:gd name="connsiteY326" fmla="*/ 6346776 h 6867525"/>
              <a:gd name="connsiteX327" fmla="*/ 1536352 w 12199272"/>
              <a:gd name="connsiteY327" fmla="*/ 6349785 h 6867525"/>
              <a:gd name="connsiteX328" fmla="*/ 1531498 w 12199272"/>
              <a:gd name="connsiteY328" fmla="*/ 6352111 h 6867525"/>
              <a:gd name="connsiteX329" fmla="*/ 1525918 w 12199272"/>
              <a:gd name="connsiteY329" fmla="*/ 6353611 h 6867525"/>
              <a:gd name="connsiteX330" fmla="*/ 1519597 w 12199272"/>
              <a:gd name="connsiteY330" fmla="*/ 6354142 h 6867525"/>
              <a:gd name="connsiteX331" fmla="*/ 1514604 w 12199272"/>
              <a:gd name="connsiteY331" fmla="*/ 6353811 h 6867525"/>
              <a:gd name="connsiteX332" fmla="*/ 1509815 w 12199272"/>
              <a:gd name="connsiteY332" fmla="*/ 6352827 h 6867525"/>
              <a:gd name="connsiteX333" fmla="*/ 1505287 w 12199272"/>
              <a:gd name="connsiteY333" fmla="*/ 6351203 h 6867525"/>
              <a:gd name="connsiteX334" fmla="*/ 1501076 w 12199272"/>
              <a:gd name="connsiteY334" fmla="*/ 6348949 h 6867525"/>
              <a:gd name="connsiteX335" fmla="*/ 1497242 w 12199272"/>
              <a:gd name="connsiteY335" fmla="*/ 6346080 h 6867525"/>
              <a:gd name="connsiteX336" fmla="*/ 1493840 w 12199272"/>
              <a:gd name="connsiteY336" fmla="*/ 6342607 h 6867525"/>
              <a:gd name="connsiteX337" fmla="*/ 1490928 w 12199272"/>
              <a:gd name="connsiteY337" fmla="*/ 6338542 h 6867525"/>
              <a:gd name="connsiteX338" fmla="*/ 1488564 w 12199272"/>
              <a:gd name="connsiteY338" fmla="*/ 6333899 h 6867525"/>
              <a:gd name="connsiteX339" fmla="*/ 1486804 w 12199272"/>
              <a:gd name="connsiteY339" fmla="*/ 6328689 h 6867525"/>
              <a:gd name="connsiteX340" fmla="*/ 1485706 w 12199272"/>
              <a:gd name="connsiteY340" fmla="*/ 6322925 h 6867525"/>
              <a:gd name="connsiteX341" fmla="*/ 1485327 w 12199272"/>
              <a:gd name="connsiteY341" fmla="*/ 6316619 h 6867525"/>
              <a:gd name="connsiteX342" fmla="*/ 1485692 w 12199272"/>
              <a:gd name="connsiteY342" fmla="*/ 6310236 h 6867525"/>
              <a:gd name="connsiteX343" fmla="*/ 1486752 w 12199272"/>
              <a:gd name="connsiteY343" fmla="*/ 6304410 h 6867525"/>
              <a:gd name="connsiteX344" fmla="*/ 1488456 w 12199272"/>
              <a:gd name="connsiteY344" fmla="*/ 6299150 h 6867525"/>
              <a:gd name="connsiteX345" fmla="*/ 1490750 w 12199272"/>
              <a:gd name="connsiteY345" fmla="*/ 6294468 h 6867525"/>
              <a:gd name="connsiteX346" fmla="*/ 1493584 w 12199272"/>
              <a:gd name="connsiteY346" fmla="*/ 6290374 h 6867525"/>
              <a:gd name="connsiteX347" fmla="*/ 1496906 w 12199272"/>
              <a:gd name="connsiteY347" fmla="*/ 6286880 h 6867525"/>
              <a:gd name="connsiteX348" fmla="*/ 1500663 w 12199272"/>
              <a:gd name="connsiteY348" fmla="*/ 6283997 h 6867525"/>
              <a:gd name="connsiteX349" fmla="*/ 1504804 w 12199272"/>
              <a:gd name="connsiteY349" fmla="*/ 6281735 h 6867525"/>
              <a:gd name="connsiteX350" fmla="*/ 1509276 w 12199272"/>
              <a:gd name="connsiteY350" fmla="*/ 6280106 h 6867525"/>
              <a:gd name="connsiteX351" fmla="*/ 1514028 w 12199272"/>
              <a:gd name="connsiteY351" fmla="*/ 6279120 h 6867525"/>
              <a:gd name="connsiteX352" fmla="*/ 1519008 w 12199272"/>
              <a:gd name="connsiteY352" fmla="*/ 6278789 h 6867525"/>
              <a:gd name="connsiteX353" fmla="*/ 1525289 w 12199272"/>
              <a:gd name="connsiteY353" fmla="*/ 6279308 h 6867525"/>
              <a:gd name="connsiteX354" fmla="*/ 1530765 w 12199272"/>
              <a:gd name="connsiteY354" fmla="*/ 6280776 h 6867525"/>
              <a:gd name="connsiteX355" fmla="*/ 1535471 w 12199272"/>
              <a:gd name="connsiteY355" fmla="*/ 6283064 h 6867525"/>
              <a:gd name="connsiteX356" fmla="*/ 1539447 w 12199272"/>
              <a:gd name="connsiteY356" fmla="*/ 6286041 h 6867525"/>
              <a:gd name="connsiteX357" fmla="*/ 1542728 w 12199272"/>
              <a:gd name="connsiteY357" fmla="*/ 6289575 h 6867525"/>
              <a:gd name="connsiteX358" fmla="*/ 1545352 w 12199272"/>
              <a:gd name="connsiteY358" fmla="*/ 6293537 h 6867525"/>
              <a:gd name="connsiteX359" fmla="*/ 1547356 w 12199272"/>
              <a:gd name="connsiteY359" fmla="*/ 6297795 h 6867525"/>
              <a:gd name="connsiteX360" fmla="*/ 1548161 w 12199272"/>
              <a:gd name="connsiteY360" fmla="*/ 6299099 h 6867525"/>
              <a:gd name="connsiteX361" fmla="*/ 1549322 w 12199272"/>
              <a:gd name="connsiteY361" fmla="*/ 6299988 h 6867525"/>
              <a:gd name="connsiteX362" fmla="*/ 1550709 w 12199272"/>
              <a:gd name="connsiteY362" fmla="*/ 6300390 h 6867525"/>
              <a:gd name="connsiteX363" fmla="*/ 1552192 w 12199272"/>
              <a:gd name="connsiteY363" fmla="*/ 6300231 h 6867525"/>
              <a:gd name="connsiteX364" fmla="*/ 1584982 w 12199272"/>
              <a:gd name="connsiteY364" fmla="*/ 6290024 h 6867525"/>
              <a:gd name="connsiteX365" fmla="*/ 1586395 w 12199272"/>
              <a:gd name="connsiteY365" fmla="*/ 6289235 h 6867525"/>
              <a:gd name="connsiteX366" fmla="*/ 1587360 w 12199272"/>
              <a:gd name="connsiteY366" fmla="*/ 6287986 h 6867525"/>
              <a:gd name="connsiteX367" fmla="*/ 1587797 w 12199272"/>
              <a:gd name="connsiteY367" fmla="*/ 6286448 h 6867525"/>
              <a:gd name="connsiteX368" fmla="*/ 1587624 w 12199272"/>
              <a:gd name="connsiteY368" fmla="*/ 6284794 h 6867525"/>
              <a:gd name="connsiteX369" fmla="*/ 1586087 w 12199272"/>
              <a:gd name="connsiteY369" fmla="*/ 6280308 h 6867525"/>
              <a:gd name="connsiteX370" fmla="*/ 1585447 w 12199272"/>
              <a:gd name="connsiteY370" fmla="*/ 6278789 h 6867525"/>
              <a:gd name="connsiteX371" fmla="*/ 1584229 w 12199272"/>
              <a:gd name="connsiteY371" fmla="*/ 6275899 h 6867525"/>
              <a:gd name="connsiteX372" fmla="*/ 1582051 w 12199272"/>
              <a:gd name="connsiteY372" fmla="*/ 6271591 h 6867525"/>
              <a:gd name="connsiteX373" fmla="*/ 1579553 w 12199272"/>
              <a:gd name="connsiteY373" fmla="*/ 6267410 h 6867525"/>
              <a:gd name="connsiteX374" fmla="*/ 1576736 w 12199272"/>
              <a:gd name="connsiteY374" fmla="*/ 6263381 h 6867525"/>
              <a:gd name="connsiteX375" fmla="*/ 1573599 w 12199272"/>
              <a:gd name="connsiteY375" fmla="*/ 6259529 h 6867525"/>
              <a:gd name="connsiteX376" fmla="*/ 1570144 w 12199272"/>
              <a:gd name="connsiteY376" fmla="*/ 6255880 h 6867525"/>
              <a:gd name="connsiteX377" fmla="*/ 1566370 w 12199272"/>
              <a:gd name="connsiteY377" fmla="*/ 6252459 h 6867525"/>
              <a:gd name="connsiteX378" fmla="*/ 1562278 w 12199272"/>
              <a:gd name="connsiteY378" fmla="*/ 6249291 h 6867525"/>
              <a:gd name="connsiteX379" fmla="*/ 1557868 w 12199272"/>
              <a:gd name="connsiteY379" fmla="*/ 6246401 h 6867525"/>
              <a:gd name="connsiteX380" fmla="*/ 1553140 w 12199272"/>
              <a:gd name="connsiteY380" fmla="*/ 6243814 h 6867525"/>
              <a:gd name="connsiteX381" fmla="*/ 1548095 w 12199272"/>
              <a:gd name="connsiteY381" fmla="*/ 6241556 h 6867525"/>
              <a:gd name="connsiteX382" fmla="*/ 1542733 w 12199272"/>
              <a:gd name="connsiteY382" fmla="*/ 6239653 h 6867525"/>
              <a:gd name="connsiteX383" fmla="*/ 1537054 w 12199272"/>
              <a:gd name="connsiteY383" fmla="*/ 6238128 h 6867525"/>
              <a:gd name="connsiteX384" fmla="*/ 1531059 w 12199272"/>
              <a:gd name="connsiteY384" fmla="*/ 6237008 h 6867525"/>
              <a:gd name="connsiteX385" fmla="*/ 1524748 w 12199272"/>
              <a:gd name="connsiteY385" fmla="*/ 6236317 h 6867525"/>
              <a:gd name="connsiteX386" fmla="*/ 1518121 w 12199272"/>
              <a:gd name="connsiteY386" fmla="*/ 6236081 h 6867525"/>
              <a:gd name="connsiteX387" fmla="*/ 1349948 w 12199272"/>
              <a:gd name="connsiteY387" fmla="*/ 6236081 h 6867525"/>
              <a:gd name="connsiteX388" fmla="*/ 1344301 w 12199272"/>
              <a:gd name="connsiteY388" fmla="*/ 6236268 h 6867525"/>
              <a:gd name="connsiteX389" fmla="*/ 1338773 w 12199272"/>
              <a:gd name="connsiteY389" fmla="*/ 6236823 h 6867525"/>
              <a:gd name="connsiteX390" fmla="*/ 1333377 w 12199272"/>
              <a:gd name="connsiteY390" fmla="*/ 6237735 h 6867525"/>
              <a:gd name="connsiteX391" fmla="*/ 1328124 w 12199272"/>
              <a:gd name="connsiteY391" fmla="*/ 6238996 h 6867525"/>
              <a:gd name="connsiteX392" fmla="*/ 1323028 w 12199272"/>
              <a:gd name="connsiteY392" fmla="*/ 6240595 h 6867525"/>
              <a:gd name="connsiteX393" fmla="*/ 1318101 w 12199272"/>
              <a:gd name="connsiteY393" fmla="*/ 6242523 h 6867525"/>
              <a:gd name="connsiteX394" fmla="*/ 1313353 w 12199272"/>
              <a:gd name="connsiteY394" fmla="*/ 6244771 h 6867525"/>
              <a:gd name="connsiteX395" fmla="*/ 1308799 w 12199272"/>
              <a:gd name="connsiteY395" fmla="*/ 6247328 h 6867525"/>
              <a:gd name="connsiteX396" fmla="*/ 1304450 w 12199272"/>
              <a:gd name="connsiteY396" fmla="*/ 6250186 h 6867525"/>
              <a:gd name="connsiteX397" fmla="*/ 1300319 w 12199272"/>
              <a:gd name="connsiteY397" fmla="*/ 6253334 h 6867525"/>
              <a:gd name="connsiteX398" fmla="*/ 1296416 w 12199272"/>
              <a:gd name="connsiteY398" fmla="*/ 6256763 h 6867525"/>
              <a:gd name="connsiteX399" fmla="*/ 1292756 w 12199272"/>
              <a:gd name="connsiteY399" fmla="*/ 6260463 h 6867525"/>
              <a:gd name="connsiteX400" fmla="*/ 1289350 w 12199272"/>
              <a:gd name="connsiteY400" fmla="*/ 6264425 h 6867525"/>
              <a:gd name="connsiteX401" fmla="*/ 1286210 w 12199272"/>
              <a:gd name="connsiteY401" fmla="*/ 6268638 h 6867525"/>
              <a:gd name="connsiteX402" fmla="*/ 1283349 w 12199272"/>
              <a:gd name="connsiteY402" fmla="*/ 6273094 h 6867525"/>
              <a:gd name="connsiteX403" fmla="*/ 1280778 w 12199272"/>
              <a:gd name="connsiteY403" fmla="*/ 6277783 h 6867525"/>
              <a:gd name="connsiteX404" fmla="*/ 1278511 w 12199272"/>
              <a:gd name="connsiteY404" fmla="*/ 6282695 h 6867525"/>
              <a:gd name="connsiteX405" fmla="*/ 1276559 w 12199272"/>
              <a:gd name="connsiteY405" fmla="*/ 6287821 h 6867525"/>
              <a:gd name="connsiteX406" fmla="*/ 1274934 w 12199272"/>
              <a:gd name="connsiteY406" fmla="*/ 6293150 h 6867525"/>
              <a:gd name="connsiteX407" fmla="*/ 1273649 w 12199272"/>
              <a:gd name="connsiteY407" fmla="*/ 6298673 h 6867525"/>
              <a:gd name="connsiteX408" fmla="*/ 1272716 w 12199272"/>
              <a:gd name="connsiteY408" fmla="*/ 6304381 h 6867525"/>
              <a:gd name="connsiteX409" fmla="*/ 1272147 w 12199272"/>
              <a:gd name="connsiteY409" fmla="*/ 6310264 h 6867525"/>
              <a:gd name="connsiteX410" fmla="*/ 1271955 w 12199272"/>
              <a:gd name="connsiteY410" fmla="*/ 6316313 h 6867525"/>
              <a:gd name="connsiteX411" fmla="*/ 1272132 w 12199272"/>
              <a:gd name="connsiteY411" fmla="*/ 6322114 h 6867525"/>
              <a:gd name="connsiteX412" fmla="*/ 1272655 w 12199272"/>
              <a:gd name="connsiteY412" fmla="*/ 6327767 h 6867525"/>
              <a:gd name="connsiteX413" fmla="*/ 1273513 w 12199272"/>
              <a:gd name="connsiteY413" fmla="*/ 6333262 h 6867525"/>
              <a:gd name="connsiteX414" fmla="*/ 1274696 w 12199272"/>
              <a:gd name="connsiteY414" fmla="*/ 6338592 h 6867525"/>
              <a:gd name="connsiteX415" fmla="*/ 1276193 w 12199272"/>
              <a:gd name="connsiteY415" fmla="*/ 6343746 h 6867525"/>
              <a:gd name="connsiteX416" fmla="*/ 1277993 w 12199272"/>
              <a:gd name="connsiteY416" fmla="*/ 6348717 h 6867525"/>
              <a:gd name="connsiteX417" fmla="*/ 1280085 w 12199272"/>
              <a:gd name="connsiteY417" fmla="*/ 6353496 h 6867525"/>
              <a:gd name="connsiteX418" fmla="*/ 1282459 w 12199272"/>
              <a:gd name="connsiteY418" fmla="*/ 6358074 h 6867525"/>
              <a:gd name="connsiteX419" fmla="*/ 1285104 w 12199272"/>
              <a:gd name="connsiteY419" fmla="*/ 6362441 h 6867525"/>
              <a:gd name="connsiteX420" fmla="*/ 1288009 w 12199272"/>
              <a:gd name="connsiteY420" fmla="*/ 6366591 h 6867525"/>
              <a:gd name="connsiteX421" fmla="*/ 1291163 w 12199272"/>
              <a:gd name="connsiteY421" fmla="*/ 6370513 h 6867525"/>
              <a:gd name="connsiteX422" fmla="*/ 1294555 w 12199272"/>
              <a:gd name="connsiteY422" fmla="*/ 6374200 h 6867525"/>
              <a:gd name="connsiteX423" fmla="*/ 1298175 w 12199272"/>
              <a:gd name="connsiteY423" fmla="*/ 6377641 h 6867525"/>
              <a:gd name="connsiteX424" fmla="*/ 1302013 w 12199272"/>
              <a:gd name="connsiteY424" fmla="*/ 6380829 h 6867525"/>
              <a:gd name="connsiteX425" fmla="*/ 1306056 w 12199272"/>
              <a:gd name="connsiteY425" fmla="*/ 6383755 h 6867525"/>
              <a:gd name="connsiteX426" fmla="*/ 1310295 w 12199272"/>
              <a:gd name="connsiteY426" fmla="*/ 6386411 h 6867525"/>
              <a:gd name="connsiteX427" fmla="*/ 1314719 w 12199272"/>
              <a:gd name="connsiteY427" fmla="*/ 6388786 h 6867525"/>
              <a:gd name="connsiteX428" fmla="*/ 1319316 w 12199272"/>
              <a:gd name="connsiteY428" fmla="*/ 6390873 h 6867525"/>
              <a:gd name="connsiteX429" fmla="*/ 1324077 w 12199272"/>
              <a:gd name="connsiteY429" fmla="*/ 6392663 h 6867525"/>
              <a:gd name="connsiteX430" fmla="*/ 1328989 w 12199272"/>
              <a:gd name="connsiteY430" fmla="*/ 6394147 h 6867525"/>
              <a:gd name="connsiteX431" fmla="*/ 1334044 w 12199272"/>
              <a:gd name="connsiteY431" fmla="*/ 6395317 h 6867525"/>
              <a:gd name="connsiteX432" fmla="*/ 1339229 w 12199272"/>
              <a:gd name="connsiteY432" fmla="*/ 6396163 h 6867525"/>
              <a:gd name="connsiteX433" fmla="*/ 1344534 w 12199272"/>
              <a:gd name="connsiteY433" fmla="*/ 6396677 h 6867525"/>
              <a:gd name="connsiteX434" fmla="*/ 1349948 w 12199272"/>
              <a:gd name="connsiteY434" fmla="*/ 6396850 h 6867525"/>
              <a:gd name="connsiteX435" fmla="*/ 1355397 w 12199272"/>
              <a:gd name="connsiteY435" fmla="*/ 6396677 h 6867525"/>
              <a:gd name="connsiteX436" fmla="*/ 1360730 w 12199272"/>
              <a:gd name="connsiteY436" fmla="*/ 6396163 h 6867525"/>
              <a:gd name="connsiteX437" fmla="*/ 1365938 w 12199272"/>
              <a:gd name="connsiteY437" fmla="*/ 6395317 h 6867525"/>
              <a:gd name="connsiteX438" fmla="*/ 1371010 w 12199272"/>
              <a:gd name="connsiteY438" fmla="*/ 6394147 h 6867525"/>
              <a:gd name="connsiteX439" fmla="*/ 1375936 w 12199272"/>
              <a:gd name="connsiteY439" fmla="*/ 6392663 h 6867525"/>
              <a:gd name="connsiteX440" fmla="*/ 1380706 w 12199272"/>
              <a:gd name="connsiteY440" fmla="*/ 6390873 h 6867525"/>
              <a:gd name="connsiteX441" fmla="*/ 1385308 w 12199272"/>
              <a:gd name="connsiteY441" fmla="*/ 6388786 h 6867525"/>
              <a:gd name="connsiteX442" fmla="*/ 1389734 w 12199272"/>
              <a:gd name="connsiteY442" fmla="*/ 6386411 h 6867525"/>
              <a:gd name="connsiteX443" fmla="*/ 1393971 w 12199272"/>
              <a:gd name="connsiteY443" fmla="*/ 6383755 h 6867525"/>
              <a:gd name="connsiteX444" fmla="*/ 1398010 w 12199272"/>
              <a:gd name="connsiteY444" fmla="*/ 6380829 h 6867525"/>
              <a:gd name="connsiteX445" fmla="*/ 1401841 w 12199272"/>
              <a:gd name="connsiteY445" fmla="*/ 6377641 h 6867525"/>
              <a:gd name="connsiteX446" fmla="*/ 1405453 w 12199272"/>
              <a:gd name="connsiteY446" fmla="*/ 6374200 h 6867525"/>
              <a:gd name="connsiteX447" fmla="*/ 1408836 w 12199272"/>
              <a:gd name="connsiteY447" fmla="*/ 6370513 h 6867525"/>
              <a:gd name="connsiteX448" fmla="*/ 1411979 w 12199272"/>
              <a:gd name="connsiteY448" fmla="*/ 6366591 h 6867525"/>
              <a:gd name="connsiteX449" fmla="*/ 1414872 w 12199272"/>
              <a:gd name="connsiteY449" fmla="*/ 6362441 h 6867525"/>
              <a:gd name="connsiteX450" fmla="*/ 1417504 w 12199272"/>
              <a:gd name="connsiteY450" fmla="*/ 6358074 h 6867525"/>
              <a:gd name="connsiteX451" fmla="*/ 1419533 w 12199272"/>
              <a:gd name="connsiteY451" fmla="*/ 6354142 h 6867525"/>
              <a:gd name="connsiteX452" fmla="*/ 1421947 w 12199272"/>
              <a:gd name="connsiteY452" fmla="*/ 6348717 h 6867525"/>
              <a:gd name="connsiteX453" fmla="*/ 1423736 w 12199272"/>
              <a:gd name="connsiteY453" fmla="*/ 6343746 h 6867525"/>
              <a:gd name="connsiteX454" fmla="*/ 1425223 w 12199272"/>
              <a:gd name="connsiteY454" fmla="*/ 6338592 h 6867525"/>
              <a:gd name="connsiteX455" fmla="*/ 1426398 w 12199272"/>
              <a:gd name="connsiteY455" fmla="*/ 6333262 h 6867525"/>
              <a:gd name="connsiteX456" fmla="*/ 1427249 w 12199272"/>
              <a:gd name="connsiteY456" fmla="*/ 6327767 h 6867525"/>
              <a:gd name="connsiteX457" fmla="*/ 1427768 w 12199272"/>
              <a:gd name="connsiteY457" fmla="*/ 6322114 h 6867525"/>
              <a:gd name="connsiteX458" fmla="*/ 1427943 w 12199272"/>
              <a:gd name="connsiteY458" fmla="*/ 6316313 h 6867525"/>
              <a:gd name="connsiteX459" fmla="*/ 1427753 w 12199272"/>
              <a:gd name="connsiteY459" fmla="*/ 6310264 h 6867525"/>
              <a:gd name="connsiteX460" fmla="*/ 1427188 w 12199272"/>
              <a:gd name="connsiteY460" fmla="*/ 6304381 h 6867525"/>
              <a:gd name="connsiteX461" fmla="*/ 1426262 w 12199272"/>
              <a:gd name="connsiteY461" fmla="*/ 6298673 h 6867525"/>
              <a:gd name="connsiteX462" fmla="*/ 1424986 w 12199272"/>
              <a:gd name="connsiteY462" fmla="*/ 6293150 h 6867525"/>
              <a:gd name="connsiteX463" fmla="*/ 1423372 w 12199272"/>
              <a:gd name="connsiteY463" fmla="*/ 6287821 h 6867525"/>
              <a:gd name="connsiteX464" fmla="*/ 1421432 w 12199272"/>
              <a:gd name="connsiteY464" fmla="*/ 6282695 h 6867525"/>
              <a:gd name="connsiteX465" fmla="*/ 1419639 w 12199272"/>
              <a:gd name="connsiteY465" fmla="*/ 6278789 h 6867525"/>
              <a:gd name="connsiteX466" fmla="*/ 1419177 w 12199272"/>
              <a:gd name="connsiteY466" fmla="*/ 6277783 h 6867525"/>
              <a:gd name="connsiteX467" fmla="*/ 1416619 w 12199272"/>
              <a:gd name="connsiteY467" fmla="*/ 6273094 h 6867525"/>
              <a:gd name="connsiteX468" fmla="*/ 1413770 w 12199272"/>
              <a:gd name="connsiteY468" fmla="*/ 6268638 h 6867525"/>
              <a:gd name="connsiteX469" fmla="*/ 1410643 w 12199272"/>
              <a:gd name="connsiteY469" fmla="*/ 6264425 h 6867525"/>
              <a:gd name="connsiteX470" fmla="*/ 1407247 w 12199272"/>
              <a:gd name="connsiteY470" fmla="*/ 6260463 h 6867525"/>
              <a:gd name="connsiteX471" fmla="*/ 1403597 w 12199272"/>
              <a:gd name="connsiteY471" fmla="*/ 6256763 h 6867525"/>
              <a:gd name="connsiteX472" fmla="*/ 1399702 w 12199272"/>
              <a:gd name="connsiteY472" fmla="*/ 6253334 h 6867525"/>
              <a:gd name="connsiteX473" fmla="*/ 1395576 w 12199272"/>
              <a:gd name="connsiteY473" fmla="*/ 6250186 h 6867525"/>
              <a:gd name="connsiteX474" fmla="*/ 1391230 w 12199272"/>
              <a:gd name="connsiteY474" fmla="*/ 6247328 h 6867525"/>
              <a:gd name="connsiteX475" fmla="*/ 1386675 w 12199272"/>
              <a:gd name="connsiteY475" fmla="*/ 6244771 h 6867525"/>
              <a:gd name="connsiteX476" fmla="*/ 1381923 w 12199272"/>
              <a:gd name="connsiteY476" fmla="*/ 6242523 h 6867525"/>
              <a:gd name="connsiteX477" fmla="*/ 1376987 w 12199272"/>
              <a:gd name="connsiteY477" fmla="*/ 6240595 h 6867525"/>
              <a:gd name="connsiteX478" fmla="*/ 1371878 w 12199272"/>
              <a:gd name="connsiteY478" fmla="*/ 6238996 h 6867525"/>
              <a:gd name="connsiteX479" fmla="*/ 1366608 w 12199272"/>
              <a:gd name="connsiteY479" fmla="*/ 6237735 h 6867525"/>
              <a:gd name="connsiteX480" fmla="*/ 1361188 w 12199272"/>
              <a:gd name="connsiteY480" fmla="*/ 6236823 h 6867525"/>
              <a:gd name="connsiteX481" fmla="*/ 1355631 w 12199272"/>
              <a:gd name="connsiteY481" fmla="*/ 6236268 h 6867525"/>
              <a:gd name="connsiteX482" fmla="*/ 1349948 w 12199272"/>
              <a:gd name="connsiteY482" fmla="*/ 6236081 h 6867525"/>
              <a:gd name="connsiteX483" fmla="*/ 782044 w 12199272"/>
              <a:gd name="connsiteY483" fmla="*/ 6175982 h 6867525"/>
              <a:gd name="connsiteX484" fmla="*/ 780496 w 12199272"/>
              <a:gd name="connsiteY484" fmla="*/ 6176305 h 6867525"/>
              <a:gd name="connsiteX485" fmla="*/ 779232 w 12199272"/>
              <a:gd name="connsiteY485" fmla="*/ 6177185 h 6867525"/>
              <a:gd name="connsiteX486" fmla="*/ 778380 w 12199272"/>
              <a:gd name="connsiteY486" fmla="*/ 6178491 h 6867525"/>
              <a:gd name="connsiteX487" fmla="*/ 778067 w 12199272"/>
              <a:gd name="connsiteY487" fmla="*/ 6180089 h 6867525"/>
              <a:gd name="connsiteX488" fmla="*/ 778067 w 12199272"/>
              <a:gd name="connsiteY488" fmla="*/ 6388168 h 6867525"/>
              <a:gd name="connsiteX489" fmla="*/ 778380 w 12199272"/>
              <a:gd name="connsiteY489" fmla="*/ 6389767 h 6867525"/>
              <a:gd name="connsiteX490" fmla="*/ 779232 w 12199272"/>
              <a:gd name="connsiteY490" fmla="*/ 6391072 h 6867525"/>
              <a:gd name="connsiteX491" fmla="*/ 780496 w 12199272"/>
              <a:gd name="connsiteY491" fmla="*/ 6391952 h 6867525"/>
              <a:gd name="connsiteX492" fmla="*/ 782044 w 12199272"/>
              <a:gd name="connsiteY492" fmla="*/ 6392275 h 6867525"/>
              <a:gd name="connsiteX493" fmla="*/ 907033 w 12199272"/>
              <a:gd name="connsiteY493" fmla="*/ 6392275 h 6867525"/>
              <a:gd name="connsiteX494" fmla="*/ 908581 w 12199272"/>
              <a:gd name="connsiteY494" fmla="*/ 6391952 h 6867525"/>
              <a:gd name="connsiteX495" fmla="*/ 909845 w 12199272"/>
              <a:gd name="connsiteY495" fmla="*/ 6391072 h 6867525"/>
              <a:gd name="connsiteX496" fmla="*/ 910697 w 12199272"/>
              <a:gd name="connsiteY496" fmla="*/ 6389767 h 6867525"/>
              <a:gd name="connsiteX497" fmla="*/ 911010 w 12199272"/>
              <a:gd name="connsiteY497" fmla="*/ 6388168 h 6867525"/>
              <a:gd name="connsiteX498" fmla="*/ 911010 w 12199272"/>
              <a:gd name="connsiteY498" fmla="*/ 6350622 h 6867525"/>
              <a:gd name="connsiteX499" fmla="*/ 908581 w 12199272"/>
              <a:gd name="connsiteY499" fmla="*/ 6346838 h 6867525"/>
              <a:gd name="connsiteX500" fmla="*/ 828722 w 12199272"/>
              <a:gd name="connsiteY500" fmla="*/ 6346515 h 6867525"/>
              <a:gd name="connsiteX501" fmla="*/ 827174 w 12199272"/>
              <a:gd name="connsiteY501" fmla="*/ 6346192 h 6867525"/>
              <a:gd name="connsiteX502" fmla="*/ 825910 w 12199272"/>
              <a:gd name="connsiteY502" fmla="*/ 6345312 h 6867525"/>
              <a:gd name="connsiteX503" fmla="*/ 825057 w 12199272"/>
              <a:gd name="connsiteY503" fmla="*/ 6344006 h 6867525"/>
              <a:gd name="connsiteX504" fmla="*/ 824744 w 12199272"/>
              <a:gd name="connsiteY504" fmla="*/ 6342408 h 6867525"/>
              <a:gd name="connsiteX505" fmla="*/ 824744 w 12199272"/>
              <a:gd name="connsiteY505" fmla="*/ 6309132 h 6867525"/>
              <a:gd name="connsiteX506" fmla="*/ 825057 w 12199272"/>
              <a:gd name="connsiteY506" fmla="*/ 6307534 h 6867525"/>
              <a:gd name="connsiteX507" fmla="*/ 825910 w 12199272"/>
              <a:gd name="connsiteY507" fmla="*/ 6306228 h 6867525"/>
              <a:gd name="connsiteX508" fmla="*/ 827174 w 12199272"/>
              <a:gd name="connsiteY508" fmla="*/ 6305348 h 6867525"/>
              <a:gd name="connsiteX509" fmla="*/ 828722 w 12199272"/>
              <a:gd name="connsiteY509" fmla="*/ 6305025 h 6867525"/>
              <a:gd name="connsiteX510" fmla="*/ 898759 w 12199272"/>
              <a:gd name="connsiteY510" fmla="*/ 6305025 h 6867525"/>
              <a:gd name="connsiteX511" fmla="*/ 900308 w 12199272"/>
              <a:gd name="connsiteY511" fmla="*/ 6304703 h 6867525"/>
              <a:gd name="connsiteX512" fmla="*/ 901572 w 12199272"/>
              <a:gd name="connsiteY512" fmla="*/ 6303823 h 6867525"/>
              <a:gd name="connsiteX513" fmla="*/ 902425 w 12199272"/>
              <a:gd name="connsiteY513" fmla="*/ 6302517 h 6867525"/>
              <a:gd name="connsiteX514" fmla="*/ 902738 w 12199272"/>
              <a:gd name="connsiteY514" fmla="*/ 6300918 h 6867525"/>
              <a:gd name="connsiteX515" fmla="*/ 902738 w 12199272"/>
              <a:gd name="connsiteY515" fmla="*/ 6266729 h 6867525"/>
              <a:gd name="connsiteX516" fmla="*/ 902425 w 12199272"/>
              <a:gd name="connsiteY516" fmla="*/ 6265130 h 6867525"/>
              <a:gd name="connsiteX517" fmla="*/ 901572 w 12199272"/>
              <a:gd name="connsiteY517" fmla="*/ 6263825 h 6867525"/>
              <a:gd name="connsiteX518" fmla="*/ 900308 w 12199272"/>
              <a:gd name="connsiteY518" fmla="*/ 6262944 h 6867525"/>
              <a:gd name="connsiteX519" fmla="*/ 898759 w 12199272"/>
              <a:gd name="connsiteY519" fmla="*/ 6262622 h 6867525"/>
              <a:gd name="connsiteX520" fmla="*/ 828722 w 12199272"/>
              <a:gd name="connsiteY520" fmla="*/ 6262622 h 6867525"/>
              <a:gd name="connsiteX521" fmla="*/ 827174 w 12199272"/>
              <a:gd name="connsiteY521" fmla="*/ 6262299 h 6867525"/>
              <a:gd name="connsiteX522" fmla="*/ 825910 w 12199272"/>
              <a:gd name="connsiteY522" fmla="*/ 6261419 h 6867525"/>
              <a:gd name="connsiteX523" fmla="*/ 825057 w 12199272"/>
              <a:gd name="connsiteY523" fmla="*/ 6260114 h 6867525"/>
              <a:gd name="connsiteX524" fmla="*/ 824744 w 12199272"/>
              <a:gd name="connsiteY524" fmla="*/ 6258515 h 6867525"/>
              <a:gd name="connsiteX525" fmla="*/ 824744 w 12199272"/>
              <a:gd name="connsiteY525" fmla="*/ 6225545 h 6867525"/>
              <a:gd name="connsiteX526" fmla="*/ 825057 w 12199272"/>
              <a:gd name="connsiteY526" fmla="*/ 6223946 h 6867525"/>
              <a:gd name="connsiteX527" fmla="*/ 825910 w 12199272"/>
              <a:gd name="connsiteY527" fmla="*/ 6222641 h 6867525"/>
              <a:gd name="connsiteX528" fmla="*/ 827174 w 12199272"/>
              <a:gd name="connsiteY528" fmla="*/ 6221761 h 6867525"/>
              <a:gd name="connsiteX529" fmla="*/ 828722 w 12199272"/>
              <a:gd name="connsiteY529" fmla="*/ 6221438 h 6867525"/>
              <a:gd name="connsiteX530" fmla="*/ 906737 w 12199272"/>
              <a:gd name="connsiteY530" fmla="*/ 6221438 h 6867525"/>
              <a:gd name="connsiteX531" fmla="*/ 908285 w 12199272"/>
              <a:gd name="connsiteY531" fmla="*/ 6221115 h 6867525"/>
              <a:gd name="connsiteX532" fmla="*/ 909549 w 12199272"/>
              <a:gd name="connsiteY532" fmla="*/ 6220235 h 6867525"/>
              <a:gd name="connsiteX533" fmla="*/ 910401 w 12199272"/>
              <a:gd name="connsiteY533" fmla="*/ 6218930 h 6867525"/>
              <a:gd name="connsiteX534" fmla="*/ 910714 w 12199272"/>
              <a:gd name="connsiteY534" fmla="*/ 6217331 h 6867525"/>
              <a:gd name="connsiteX535" fmla="*/ 910714 w 12199272"/>
              <a:gd name="connsiteY535" fmla="*/ 6180089 h 6867525"/>
              <a:gd name="connsiteX536" fmla="*/ 910401 w 12199272"/>
              <a:gd name="connsiteY536" fmla="*/ 6178491 h 6867525"/>
              <a:gd name="connsiteX537" fmla="*/ 909549 w 12199272"/>
              <a:gd name="connsiteY537" fmla="*/ 6177185 h 6867525"/>
              <a:gd name="connsiteX538" fmla="*/ 908285 w 12199272"/>
              <a:gd name="connsiteY538" fmla="*/ 6176305 h 6867525"/>
              <a:gd name="connsiteX539" fmla="*/ 906737 w 12199272"/>
              <a:gd name="connsiteY539" fmla="*/ 6175982 h 6867525"/>
              <a:gd name="connsiteX540" fmla="*/ 782044 w 12199272"/>
              <a:gd name="connsiteY540" fmla="*/ 6175982 h 6867525"/>
              <a:gd name="connsiteX541" fmla="*/ 1124613 w 12199272"/>
              <a:gd name="connsiteY541" fmla="*/ 6167136 h 6867525"/>
              <a:gd name="connsiteX542" fmla="*/ 1119425 w 12199272"/>
              <a:gd name="connsiteY542" fmla="*/ 6167690 h 6867525"/>
              <a:gd name="connsiteX543" fmla="*/ 1114569 w 12199272"/>
              <a:gd name="connsiteY543" fmla="*/ 6169276 h 6867525"/>
              <a:gd name="connsiteX544" fmla="*/ 1110156 w 12199272"/>
              <a:gd name="connsiteY544" fmla="*/ 6171785 h 6867525"/>
              <a:gd name="connsiteX545" fmla="*/ 1106297 w 12199272"/>
              <a:gd name="connsiteY545" fmla="*/ 6175106 h 6867525"/>
              <a:gd name="connsiteX546" fmla="*/ 1103103 w 12199272"/>
              <a:gd name="connsiteY546" fmla="*/ 6179127 h 6867525"/>
              <a:gd name="connsiteX547" fmla="*/ 1100684 w 12199272"/>
              <a:gd name="connsiteY547" fmla="*/ 6183738 h 6867525"/>
              <a:gd name="connsiteX548" fmla="*/ 1099151 w 12199272"/>
              <a:gd name="connsiteY548" fmla="*/ 6188829 h 6867525"/>
              <a:gd name="connsiteX549" fmla="*/ 1098616 w 12199272"/>
              <a:gd name="connsiteY549" fmla="*/ 6194287 h 6867525"/>
              <a:gd name="connsiteX550" fmla="*/ 1099151 w 12199272"/>
              <a:gd name="connsiteY550" fmla="*/ 6199746 h 6867525"/>
              <a:gd name="connsiteX551" fmla="*/ 1100684 w 12199272"/>
              <a:gd name="connsiteY551" fmla="*/ 6204836 h 6867525"/>
              <a:gd name="connsiteX552" fmla="*/ 1103103 w 12199272"/>
              <a:gd name="connsiteY552" fmla="*/ 6209447 h 6867525"/>
              <a:gd name="connsiteX553" fmla="*/ 1106297 w 12199272"/>
              <a:gd name="connsiteY553" fmla="*/ 6213468 h 6867525"/>
              <a:gd name="connsiteX554" fmla="*/ 1110156 w 12199272"/>
              <a:gd name="connsiteY554" fmla="*/ 6216789 h 6867525"/>
              <a:gd name="connsiteX555" fmla="*/ 1114569 w 12199272"/>
              <a:gd name="connsiteY555" fmla="*/ 6219298 h 6867525"/>
              <a:gd name="connsiteX556" fmla="*/ 1119425 w 12199272"/>
              <a:gd name="connsiteY556" fmla="*/ 6220885 h 6867525"/>
              <a:gd name="connsiteX557" fmla="*/ 1124613 w 12199272"/>
              <a:gd name="connsiteY557" fmla="*/ 6221438 h 6867525"/>
              <a:gd name="connsiteX558" fmla="*/ 1129997 w 12199272"/>
              <a:gd name="connsiteY558" fmla="*/ 6220885 h 6867525"/>
              <a:gd name="connsiteX559" fmla="*/ 1135000 w 12199272"/>
              <a:gd name="connsiteY559" fmla="*/ 6219298 h 6867525"/>
              <a:gd name="connsiteX560" fmla="*/ 1139518 w 12199272"/>
              <a:gd name="connsiteY560" fmla="*/ 6216789 h 6867525"/>
              <a:gd name="connsiteX561" fmla="*/ 1143447 w 12199272"/>
              <a:gd name="connsiteY561" fmla="*/ 6213468 h 6867525"/>
              <a:gd name="connsiteX562" fmla="*/ 1146685 w 12199272"/>
              <a:gd name="connsiteY562" fmla="*/ 6209447 h 6867525"/>
              <a:gd name="connsiteX563" fmla="*/ 1149125 w 12199272"/>
              <a:gd name="connsiteY563" fmla="*/ 6204836 h 6867525"/>
              <a:gd name="connsiteX564" fmla="*/ 1150666 w 12199272"/>
              <a:gd name="connsiteY564" fmla="*/ 6199746 h 6867525"/>
              <a:gd name="connsiteX565" fmla="*/ 1151203 w 12199272"/>
              <a:gd name="connsiteY565" fmla="*/ 6194287 h 6867525"/>
              <a:gd name="connsiteX566" fmla="*/ 1150666 w 12199272"/>
              <a:gd name="connsiteY566" fmla="*/ 6188829 h 6867525"/>
              <a:gd name="connsiteX567" fmla="*/ 1149125 w 12199272"/>
              <a:gd name="connsiteY567" fmla="*/ 6183738 h 6867525"/>
              <a:gd name="connsiteX568" fmla="*/ 1146685 w 12199272"/>
              <a:gd name="connsiteY568" fmla="*/ 6179127 h 6867525"/>
              <a:gd name="connsiteX569" fmla="*/ 1143447 w 12199272"/>
              <a:gd name="connsiteY569" fmla="*/ 6175106 h 6867525"/>
              <a:gd name="connsiteX570" fmla="*/ 1139518 w 12199272"/>
              <a:gd name="connsiteY570" fmla="*/ 6171785 h 6867525"/>
              <a:gd name="connsiteX571" fmla="*/ 1135000 w 12199272"/>
              <a:gd name="connsiteY571" fmla="*/ 6169276 h 6867525"/>
              <a:gd name="connsiteX572" fmla="*/ 1129997 w 12199272"/>
              <a:gd name="connsiteY572" fmla="*/ 6167690 h 6867525"/>
              <a:gd name="connsiteX573" fmla="*/ 1124613 w 12199272"/>
              <a:gd name="connsiteY573" fmla="*/ 6167136 h 6867525"/>
              <a:gd name="connsiteX574" fmla="*/ 581250 w 12199272"/>
              <a:gd name="connsiteY574" fmla="*/ 6130388 h 6867525"/>
              <a:gd name="connsiteX575" fmla="*/ 575834 w 12199272"/>
              <a:gd name="connsiteY575" fmla="*/ 6131131 h 6867525"/>
              <a:gd name="connsiteX576" fmla="*/ 570703 w 12199272"/>
              <a:gd name="connsiteY576" fmla="*/ 6133358 h 6867525"/>
              <a:gd name="connsiteX577" fmla="*/ 468377 w 12199272"/>
              <a:gd name="connsiteY577" fmla="*/ 6195414 h 6867525"/>
              <a:gd name="connsiteX578" fmla="*/ 463977 w 12199272"/>
              <a:gd name="connsiteY578" fmla="*/ 6198968 h 6867525"/>
              <a:gd name="connsiteX579" fmla="*/ 460658 w 12199272"/>
              <a:gd name="connsiteY579" fmla="*/ 6203523 h 6867525"/>
              <a:gd name="connsiteX580" fmla="*/ 458562 w 12199272"/>
              <a:gd name="connsiteY580" fmla="*/ 6208820 h 6867525"/>
              <a:gd name="connsiteX581" fmla="*/ 457832 w 12199272"/>
              <a:gd name="connsiteY581" fmla="*/ 6214601 h 6867525"/>
              <a:gd name="connsiteX582" fmla="*/ 457832 w 12199272"/>
              <a:gd name="connsiteY582" fmla="*/ 6338713 h 6867525"/>
              <a:gd name="connsiteX583" fmla="*/ 458562 w 12199272"/>
              <a:gd name="connsiteY583" fmla="*/ 6344494 h 6867525"/>
              <a:gd name="connsiteX584" fmla="*/ 460658 w 12199272"/>
              <a:gd name="connsiteY584" fmla="*/ 6349791 h 6867525"/>
              <a:gd name="connsiteX585" fmla="*/ 463977 w 12199272"/>
              <a:gd name="connsiteY585" fmla="*/ 6354347 h 6867525"/>
              <a:gd name="connsiteX586" fmla="*/ 468378 w 12199272"/>
              <a:gd name="connsiteY586" fmla="*/ 6357902 h 6867525"/>
              <a:gd name="connsiteX587" fmla="*/ 570703 w 12199272"/>
              <a:gd name="connsiteY587" fmla="*/ 6419958 h 6867525"/>
              <a:gd name="connsiteX588" fmla="*/ 575834 w 12199272"/>
              <a:gd name="connsiteY588" fmla="*/ 6422184 h 6867525"/>
              <a:gd name="connsiteX589" fmla="*/ 581250 w 12199272"/>
              <a:gd name="connsiteY589" fmla="*/ 6422926 h 6867525"/>
              <a:gd name="connsiteX590" fmla="*/ 586665 w 12199272"/>
              <a:gd name="connsiteY590" fmla="*/ 6422184 h 6867525"/>
              <a:gd name="connsiteX591" fmla="*/ 591796 w 12199272"/>
              <a:gd name="connsiteY591" fmla="*/ 6419958 h 6867525"/>
              <a:gd name="connsiteX592" fmla="*/ 687555 w 12199272"/>
              <a:gd name="connsiteY592" fmla="*/ 6361884 h 6867525"/>
              <a:gd name="connsiteX593" fmla="*/ 694122 w 12199272"/>
              <a:gd name="connsiteY593" fmla="*/ 6357902 h 6867525"/>
              <a:gd name="connsiteX594" fmla="*/ 698523 w 12199272"/>
              <a:gd name="connsiteY594" fmla="*/ 6354347 h 6867525"/>
              <a:gd name="connsiteX595" fmla="*/ 701842 w 12199272"/>
              <a:gd name="connsiteY595" fmla="*/ 6349791 h 6867525"/>
              <a:gd name="connsiteX596" fmla="*/ 703937 w 12199272"/>
              <a:gd name="connsiteY596" fmla="*/ 6344494 h 6867525"/>
              <a:gd name="connsiteX597" fmla="*/ 704667 w 12199272"/>
              <a:gd name="connsiteY597" fmla="*/ 6338713 h 6867525"/>
              <a:gd name="connsiteX598" fmla="*/ 704667 w 12199272"/>
              <a:gd name="connsiteY598" fmla="*/ 6287037 h 6867525"/>
              <a:gd name="connsiteX599" fmla="*/ 581250 w 12199272"/>
              <a:gd name="connsiteY599" fmla="*/ 6361884 h 6867525"/>
              <a:gd name="connsiteX600" fmla="*/ 512614 w 12199272"/>
              <a:gd name="connsiteY600" fmla="*/ 6320260 h 6867525"/>
              <a:gd name="connsiteX601" fmla="*/ 512651 w 12199272"/>
              <a:gd name="connsiteY601" fmla="*/ 6235036 h 6867525"/>
              <a:gd name="connsiteX602" fmla="*/ 576185 w 12199272"/>
              <a:gd name="connsiteY602" fmla="*/ 6196483 h 6867525"/>
              <a:gd name="connsiteX603" fmla="*/ 578647 w 12199272"/>
              <a:gd name="connsiteY603" fmla="*/ 6195414 h 6867525"/>
              <a:gd name="connsiteX604" fmla="*/ 581250 w 12199272"/>
              <a:gd name="connsiteY604" fmla="*/ 6195057 h 6867525"/>
              <a:gd name="connsiteX605" fmla="*/ 583855 w 12199272"/>
              <a:gd name="connsiteY605" fmla="*/ 6195414 h 6867525"/>
              <a:gd name="connsiteX606" fmla="*/ 586321 w 12199272"/>
              <a:gd name="connsiteY606" fmla="*/ 6196485 h 6867525"/>
              <a:gd name="connsiteX607" fmla="*/ 649885 w 12199272"/>
              <a:gd name="connsiteY607" fmla="*/ 6235034 h 6867525"/>
              <a:gd name="connsiteX608" fmla="*/ 589785 w 12199272"/>
              <a:gd name="connsiteY608" fmla="*/ 6271483 h 6867525"/>
              <a:gd name="connsiteX609" fmla="*/ 585633 w 12199272"/>
              <a:gd name="connsiteY609" fmla="*/ 6273284 h 6867525"/>
              <a:gd name="connsiteX610" fmla="*/ 581250 w 12199272"/>
              <a:gd name="connsiteY610" fmla="*/ 6273884 h 6867525"/>
              <a:gd name="connsiteX611" fmla="*/ 576868 w 12199272"/>
              <a:gd name="connsiteY611" fmla="*/ 6273283 h 6867525"/>
              <a:gd name="connsiteX612" fmla="*/ 572716 w 12199272"/>
              <a:gd name="connsiteY612" fmla="*/ 6271481 h 6867525"/>
              <a:gd name="connsiteX613" fmla="*/ 529723 w 12199272"/>
              <a:gd name="connsiteY613" fmla="*/ 6245395 h 6867525"/>
              <a:gd name="connsiteX614" fmla="*/ 529693 w 12199272"/>
              <a:gd name="connsiteY614" fmla="*/ 6309859 h 6867525"/>
              <a:gd name="connsiteX615" fmla="*/ 581250 w 12199272"/>
              <a:gd name="connsiteY615" fmla="*/ 6341127 h 6867525"/>
              <a:gd name="connsiteX616" fmla="*/ 692128 w 12199272"/>
              <a:gd name="connsiteY616" fmla="*/ 6273884 h 6867525"/>
              <a:gd name="connsiteX617" fmla="*/ 704667 w 12199272"/>
              <a:gd name="connsiteY617" fmla="*/ 6266280 h 6867525"/>
              <a:gd name="connsiteX618" fmla="*/ 704667 w 12199272"/>
              <a:gd name="connsiteY618" fmla="*/ 6214601 h 6867525"/>
              <a:gd name="connsiteX619" fmla="*/ 703937 w 12199272"/>
              <a:gd name="connsiteY619" fmla="*/ 6208820 h 6867525"/>
              <a:gd name="connsiteX620" fmla="*/ 701842 w 12199272"/>
              <a:gd name="connsiteY620" fmla="*/ 6203523 h 6867525"/>
              <a:gd name="connsiteX621" fmla="*/ 698523 w 12199272"/>
              <a:gd name="connsiteY621" fmla="*/ 6198968 h 6867525"/>
              <a:gd name="connsiteX622" fmla="*/ 694122 w 12199272"/>
              <a:gd name="connsiteY622" fmla="*/ 6195413 h 6867525"/>
              <a:gd name="connsiteX623" fmla="*/ 693534 w 12199272"/>
              <a:gd name="connsiteY623" fmla="*/ 6195057 h 6867525"/>
              <a:gd name="connsiteX624" fmla="*/ 591796 w 12199272"/>
              <a:gd name="connsiteY624" fmla="*/ 6133358 h 6867525"/>
              <a:gd name="connsiteX625" fmla="*/ 586665 w 12199272"/>
              <a:gd name="connsiteY625" fmla="*/ 6131131 h 6867525"/>
              <a:gd name="connsiteX626" fmla="*/ 581250 w 12199272"/>
              <a:gd name="connsiteY626" fmla="*/ 6130388 h 6867525"/>
              <a:gd name="connsiteX627" fmla="*/ 0 w 12199272"/>
              <a:gd name="connsiteY627" fmla="*/ 9525 h 6867525"/>
              <a:gd name="connsiteX628" fmla="*/ 12198355 w 12199272"/>
              <a:gd name="connsiteY628" fmla="*/ 0 h 6867525"/>
              <a:gd name="connsiteX629" fmla="*/ 12198355 w 12199272"/>
              <a:gd name="connsiteY629" fmla="*/ 6867525 h 6867525"/>
              <a:gd name="connsiteX630" fmla="*/ 0 w 12199272"/>
              <a:gd name="connsiteY630" fmla="*/ 6867525 h 6867525"/>
              <a:gd name="connsiteX631" fmla="*/ 0 w 12199272"/>
              <a:gd name="connsiteY631" fmla="*/ 9525 h 6867525"/>
              <a:gd name="connsiteX0" fmla="*/ 1014246 w 12205625"/>
              <a:gd name="connsiteY0" fmla="*/ 6278790 h 6867525"/>
              <a:gd name="connsiteX1" fmla="*/ 1019019 w 12205625"/>
              <a:gd name="connsiteY1" fmla="*/ 6279093 h 6867525"/>
              <a:gd name="connsiteX2" fmla="*/ 1023628 w 12205625"/>
              <a:gd name="connsiteY2" fmla="*/ 6280006 h 6867525"/>
              <a:gd name="connsiteX3" fmla="*/ 1028012 w 12205625"/>
              <a:gd name="connsiteY3" fmla="*/ 6281532 h 6867525"/>
              <a:gd name="connsiteX4" fmla="*/ 1032110 w 12205625"/>
              <a:gd name="connsiteY4" fmla="*/ 6283675 h 6867525"/>
              <a:gd name="connsiteX5" fmla="*/ 1035860 w 12205625"/>
              <a:gd name="connsiteY5" fmla="*/ 6286440 h 6867525"/>
              <a:gd name="connsiteX6" fmla="*/ 1039201 w 12205625"/>
              <a:gd name="connsiteY6" fmla="*/ 6289831 h 6867525"/>
              <a:gd name="connsiteX7" fmla="*/ 1042072 w 12205625"/>
              <a:gd name="connsiteY7" fmla="*/ 6293851 h 6867525"/>
              <a:gd name="connsiteX8" fmla="*/ 1044412 w 12205625"/>
              <a:gd name="connsiteY8" fmla="*/ 6298506 h 6867525"/>
              <a:gd name="connsiteX9" fmla="*/ 1046159 w 12205625"/>
              <a:gd name="connsiteY9" fmla="*/ 6303798 h 6867525"/>
              <a:gd name="connsiteX10" fmla="*/ 1047252 w 12205625"/>
              <a:gd name="connsiteY10" fmla="*/ 6309733 h 6867525"/>
              <a:gd name="connsiteX11" fmla="*/ 1047630 w 12205625"/>
              <a:gd name="connsiteY11" fmla="*/ 6316313 h 6867525"/>
              <a:gd name="connsiteX12" fmla="*/ 1047252 w 12205625"/>
              <a:gd name="connsiteY12" fmla="*/ 6322901 h 6867525"/>
              <a:gd name="connsiteX13" fmla="*/ 1046159 w 12205625"/>
              <a:gd name="connsiteY13" fmla="*/ 6328855 h 6867525"/>
              <a:gd name="connsiteX14" fmla="*/ 1044412 w 12205625"/>
              <a:gd name="connsiteY14" fmla="*/ 6334177 h 6867525"/>
              <a:gd name="connsiteX15" fmla="*/ 1042072 w 12205625"/>
              <a:gd name="connsiteY15" fmla="*/ 6338867 h 6867525"/>
              <a:gd name="connsiteX16" fmla="*/ 1039201 w 12205625"/>
              <a:gd name="connsiteY16" fmla="*/ 6342928 h 6867525"/>
              <a:gd name="connsiteX17" fmla="*/ 1035860 w 12205625"/>
              <a:gd name="connsiteY17" fmla="*/ 6346360 h 6867525"/>
              <a:gd name="connsiteX18" fmla="*/ 1032110 w 12205625"/>
              <a:gd name="connsiteY18" fmla="*/ 6349166 h 6867525"/>
              <a:gd name="connsiteX19" fmla="*/ 1028012 w 12205625"/>
              <a:gd name="connsiteY19" fmla="*/ 6351345 h 6867525"/>
              <a:gd name="connsiteX20" fmla="*/ 1023628 w 12205625"/>
              <a:gd name="connsiteY20" fmla="*/ 6352900 h 6867525"/>
              <a:gd name="connsiteX21" fmla="*/ 1019019 w 12205625"/>
              <a:gd name="connsiteY21" fmla="*/ 6353832 h 6867525"/>
              <a:gd name="connsiteX22" fmla="*/ 1014246 w 12205625"/>
              <a:gd name="connsiteY22" fmla="*/ 6354143 h 6867525"/>
              <a:gd name="connsiteX23" fmla="*/ 1009546 w 12205625"/>
              <a:gd name="connsiteY23" fmla="*/ 6353825 h 6867525"/>
              <a:gd name="connsiteX24" fmla="*/ 1004998 w 12205625"/>
              <a:gd name="connsiteY24" fmla="*/ 6352875 h 6867525"/>
              <a:gd name="connsiteX25" fmla="*/ 1000662 w 12205625"/>
              <a:gd name="connsiteY25" fmla="*/ 6351296 h 6867525"/>
              <a:gd name="connsiteX26" fmla="*/ 996602 w 12205625"/>
              <a:gd name="connsiteY26" fmla="*/ 6349089 h 6867525"/>
              <a:gd name="connsiteX27" fmla="*/ 992880 w 12205625"/>
              <a:gd name="connsiteY27" fmla="*/ 6346257 h 6867525"/>
              <a:gd name="connsiteX28" fmla="*/ 989560 w 12205625"/>
              <a:gd name="connsiteY28" fmla="*/ 6342805 h 6867525"/>
              <a:gd name="connsiteX29" fmla="*/ 986702 w 12205625"/>
              <a:gd name="connsiteY29" fmla="*/ 6338733 h 6867525"/>
              <a:gd name="connsiteX30" fmla="*/ 984371 w 12205625"/>
              <a:gd name="connsiteY30" fmla="*/ 6334045 h 6867525"/>
              <a:gd name="connsiteX31" fmla="*/ 982628 w 12205625"/>
              <a:gd name="connsiteY31" fmla="*/ 6328744 h 6867525"/>
              <a:gd name="connsiteX32" fmla="*/ 981537 w 12205625"/>
              <a:gd name="connsiteY32" fmla="*/ 6322833 h 6867525"/>
              <a:gd name="connsiteX33" fmla="*/ 981159 w 12205625"/>
              <a:gd name="connsiteY33" fmla="*/ 6316313 h 6867525"/>
              <a:gd name="connsiteX34" fmla="*/ 981537 w 12205625"/>
              <a:gd name="connsiteY34" fmla="*/ 6309733 h 6867525"/>
              <a:gd name="connsiteX35" fmla="*/ 982628 w 12205625"/>
              <a:gd name="connsiteY35" fmla="*/ 6303798 h 6867525"/>
              <a:gd name="connsiteX36" fmla="*/ 984371 w 12205625"/>
              <a:gd name="connsiteY36" fmla="*/ 6298506 h 6867525"/>
              <a:gd name="connsiteX37" fmla="*/ 986702 w 12205625"/>
              <a:gd name="connsiteY37" fmla="*/ 6293851 h 6867525"/>
              <a:gd name="connsiteX38" fmla="*/ 989560 w 12205625"/>
              <a:gd name="connsiteY38" fmla="*/ 6289831 h 6867525"/>
              <a:gd name="connsiteX39" fmla="*/ 992880 w 12205625"/>
              <a:gd name="connsiteY39" fmla="*/ 6286440 h 6867525"/>
              <a:gd name="connsiteX40" fmla="*/ 996602 w 12205625"/>
              <a:gd name="connsiteY40" fmla="*/ 6283675 h 6867525"/>
              <a:gd name="connsiteX41" fmla="*/ 1000662 w 12205625"/>
              <a:gd name="connsiteY41" fmla="*/ 6281532 h 6867525"/>
              <a:gd name="connsiteX42" fmla="*/ 1004998 w 12205625"/>
              <a:gd name="connsiteY42" fmla="*/ 6280006 h 6867525"/>
              <a:gd name="connsiteX43" fmla="*/ 1009546 w 12205625"/>
              <a:gd name="connsiteY43" fmla="*/ 6279093 h 6867525"/>
              <a:gd name="connsiteX44" fmla="*/ 1014246 w 12205625"/>
              <a:gd name="connsiteY44" fmla="*/ 6278790 h 6867525"/>
              <a:gd name="connsiteX45" fmla="*/ 1356301 w 12205625"/>
              <a:gd name="connsiteY45" fmla="*/ 6278789 h 6867525"/>
              <a:gd name="connsiteX46" fmla="*/ 1360934 w 12205625"/>
              <a:gd name="connsiteY46" fmla="*/ 6279086 h 6867525"/>
              <a:gd name="connsiteX47" fmla="*/ 1365442 w 12205625"/>
              <a:gd name="connsiteY47" fmla="*/ 6279980 h 6867525"/>
              <a:gd name="connsiteX48" fmla="*/ 1369758 w 12205625"/>
              <a:gd name="connsiteY48" fmla="*/ 6281481 h 6867525"/>
              <a:gd name="connsiteX49" fmla="*/ 1373815 w 12205625"/>
              <a:gd name="connsiteY49" fmla="*/ 6283597 h 6867525"/>
              <a:gd name="connsiteX50" fmla="*/ 1377548 w 12205625"/>
              <a:gd name="connsiteY50" fmla="*/ 6286336 h 6867525"/>
              <a:gd name="connsiteX51" fmla="*/ 1380889 w 12205625"/>
              <a:gd name="connsiteY51" fmla="*/ 6289706 h 6867525"/>
              <a:gd name="connsiteX52" fmla="*/ 1383771 w 12205625"/>
              <a:gd name="connsiteY52" fmla="*/ 6293715 h 6867525"/>
              <a:gd name="connsiteX53" fmla="*/ 1386130 w 12205625"/>
              <a:gd name="connsiteY53" fmla="*/ 6298373 h 6867525"/>
              <a:gd name="connsiteX54" fmla="*/ 1387896 w 12205625"/>
              <a:gd name="connsiteY54" fmla="*/ 6303686 h 6867525"/>
              <a:gd name="connsiteX55" fmla="*/ 1389005 w 12205625"/>
              <a:gd name="connsiteY55" fmla="*/ 6309663 h 6867525"/>
              <a:gd name="connsiteX56" fmla="*/ 1389390 w 12205625"/>
              <a:gd name="connsiteY56" fmla="*/ 6316313 h 6867525"/>
              <a:gd name="connsiteX57" fmla="*/ 1389005 w 12205625"/>
              <a:gd name="connsiteY57" fmla="*/ 6322970 h 6867525"/>
              <a:gd name="connsiteX58" fmla="*/ 1387896 w 12205625"/>
              <a:gd name="connsiteY58" fmla="*/ 6328967 h 6867525"/>
              <a:gd name="connsiteX59" fmla="*/ 1386130 w 12205625"/>
              <a:gd name="connsiteY59" fmla="*/ 6334309 h 6867525"/>
              <a:gd name="connsiteX60" fmla="*/ 1383771 w 12205625"/>
              <a:gd name="connsiteY60" fmla="*/ 6339003 h 6867525"/>
              <a:gd name="connsiteX61" fmla="*/ 1380889 w 12205625"/>
              <a:gd name="connsiteY61" fmla="*/ 6343052 h 6867525"/>
              <a:gd name="connsiteX62" fmla="*/ 1377548 w 12205625"/>
              <a:gd name="connsiteY62" fmla="*/ 6346464 h 6867525"/>
              <a:gd name="connsiteX63" fmla="*/ 1373815 w 12205625"/>
              <a:gd name="connsiteY63" fmla="*/ 6349243 h 6867525"/>
              <a:gd name="connsiteX64" fmla="*/ 1369758 w 12205625"/>
              <a:gd name="connsiteY64" fmla="*/ 6351394 h 6867525"/>
              <a:gd name="connsiteX65" fmla="*/ 1365442 w 12205625"/>
              <a:gd name="connsiteY65" fmla="*/ 6352925 h 6867525"/>
              <a:gd name="connsiteX66" fmla="*/ 1360934 w 12205625"/>
              <a:gd name="connsiteY66" fmla="*/ 6353839 h 6867525"/>
              <a:gd name="connsiteX67" fmla="*/ 1356301 w 12205625"/>
              <a:gd name="connsiteY67" fmla="*/ 6354142 h 6867525"/>
              <a:gd name="connsiteX68" fmla="*/ 1351735 w 12205625"/>
              <a:gd name="connsiteY68" fmla="*/ 6353832 h 6867525"/>
              <a:gd name="connsiteX69" fmla="*/ 1347269 w 12205625"/>
              <a:gd name="connsiteY69" fmla="*/ 6352900 h 6867525"/>
              <a:gd name="connsiteX70" fmla="*/ 1342973 w 12205625"/>
              <a:gd name="connsiteY70" fmla="*/ 6351345 h 6867525"/>
              <a:gd name="connsiteX71" fmla="*/ 1338918 w 12205625"/>
              <a:gd name="connsiteY71" fmla="*/ 6349165 h 6867525"/>
              <a:gd name="connsiteX72" fmla="*/ 1335175 w 12205625"/>
              <a:gd name="connsiteY72" fmla="*/ 6346360 h 6867525"/>
              <a:gd name="connsiteX73" fmla="*/ 1331814 w 12205625"/>
              <a:gd name="connsiteY73" fmla="*/ 6342928 h 6867525"/>
              <a:gd name="connsiteX74" fmla="*/ 1328906 w 12205625"/>
              <a:gd name="connsiteY74" fmla="*/ 6338868 h 6867525"/>
              <a:gd name="connsiteX75" fmla="*/ 1326521 w 12205625"/>
              <a:gd name="connsiteY75" fmla="*/ 6334177 h 6867525"/>
              <a:gd name="connsiteX76" fmla="*/ 1324731 w 12205625"/>
              <a:gd name="connsiteY76" fmla="*/ 6328855 h 6867525"/>
              <a:gd name="connsiteX77" fmla="*/ 1323604 w 12205625"/>
              <a:gd name="connsiteY77" fmla="*/ 6322901 h 6867525"/>
              <a:gd name="connsiteX78" fmla="*/ 1323213 w 12205625"/>
              <a:gd name="connsiteY78" fmla="*/ 6316313 h 6867525"/>
              <a:gd name="connsiteX79" fmla="*/ 1323604 w 12205625"/>
              <a:gd name="connsiteY79" fmla="*/ 6309663 h 6867525"/>
              <a:gd name="connsiteX80" fmla="*/ 1324731 w 12205625"/>
              <a:gd name="connsiteY80" fmla="*/ 6303686 h 6867525"/>
              <a:gd name="connsiteX81" fmla="*/ 1326521 w 12205625"/>
              <a:gd name="connsiteY81" fmla="*/ 6298373 h 6867525"/>
              <a:gd name="connsiteX82" fmla="*/ 1328906 w 12205625"/>
              <a:gd name="connsiteY82" fmla="*/ 6293715 h 6867525"/>
              <a:gd name="connsiteX83" fmla="*/ 1331814 w 12205625"/>
              <a:gd name="connsiteY83" fmla="*/ 6289706 h 6867525"/>
              <a:gd name="connsiteX84" fmla="*/ 1335175 w 12205625"/>
              <a:gd name="connsiteY84" fmla="*/ 6286336 h 6867525"/>
              <a:gd name="connsiteX85" fmla="*/ 1338918 w 12205625"/>
              <a:gd name="connsiteY85" fmla="*/ 6283597 h 6867525"/>
              <a:gd name="connsiteX86" fmla="*/ 1342973 w 12205625"/>
              <a:gd name="connsiteY86" fmla="*/ 6281481 h 6867525"/>
              <a:gd name="connsiteX87" fmla="*/ 1347269 w 12205625"/>
              <a:gd name="connsiteY87" fmla="*/ 6279980 h 6867525"/>
              <a:gd name="connsiteX88" fmla="*/ 1351735 w 12205625"/>
              <a:gd name="connsiteY88" fmla="*/ 6279086 h 6867525"/>
              <a:gd name="connsiteX89" fmla="*/ 1356301 w 12205625"/>
              <a:gd name="connsiteY89" fmla="*/ 6278789 h 6867525"/>
              <a:gd name="connsiteX90" fmla="*/ 1112787 w 12205625"/>
              <a:gd name="connsiteY90" fmla="*/ 6240657 h 6867525"/>
              <a:gd name="connsiteX91" fmla="*/ 1111239 w 12205625"/>
              <a:gd name="connsiteY91" fmla="*/ 6240980 h 6867525"/>
              <a:gd name="connsiteX92" fmla="*/ 1109975 w 12205625"/>
              <a:gd name="connsiteY92" fmla="*/ 6241860 h 6867525"/>
              <a:gd name="connsiteX93" fmla="*/ 1109122 w 12205625"/>
              <a:gd name="connsiteY93" fmla="*/ 6243166 h 6867525"/>
              <a:gd name="connsiteX94" fmla="*/ 1108810 w 12205625"/>
              <a:gd name="connsiteY94" fmla="*/ 6244764 h 6867525"/>
              <a:gd name="connsiteX95" fmla="*/ 1108810 w 12205625"/>
              <a:gd name="connsiteY95" fmla="*/ 6388168 h 6867525"/>
              <a:gd name="connsiteX96" fmla="*/ 1109122 w 12205625"/>
              <a:gd name="connsiteY96" fmla="*/ 6389767 h 6867525"/>
              <a:gd name="connsiteX97" fmla="*/ 1109975 w 12205625"/>
              <a:gd name="connsiteY97" fmla="*/ 6391072 h 6867525"/>
              <a:gd name="connsiteX98" fmla="*/ 1111239 w 12205625"/>
              <a:gd name="connsiteY98" fmla="*/ 6391952 h 6867525"/>
              <a:gd name="connsiteX99" fmla="*/ 1112787 w 12205625"/>
              <a:gd name="connsiteY99" fmla="*/ 6392275 h 6867525"/>
              <a:gd name="connsiteX100" fmla="*/ 1149737 w 12205625"/>
              <a:gd name="connsiteY100" fmla="*/ 6392275 h 6867525"/>
              <a:gd name="connsiteX101" fmla="*/ 1151285 w 12205625"/>
              <a:gd name="connsiteY101" fmla="*/ 6391952 h 6867525"/>
              <a:gd name="connsiteX102" fmla="*/ 1152550 w 12205625"/>
              <a:gd name="connsiteY102" fmla="*/ 6391072 h 6867525"/>
              <a:gd name="connsiteX103" fmla="*/ 1153403 w 12205625"/>
              <a:gd name="connsiteY103" fmla="*/ 6389767 h 6867525"/>
              <a:gd name="connsiteX104" fmla="*/ 1153715 w 12205625"/>
              <a:gd name="connsiteY104" fmla="*/ 6388168 h 6867525"/>
              <a:gd name="connsiteX105" fmla="*/ 1153715 w 12205625"/>
              <a:gd name="connsiteY105" fmla="*/ 6244764 h 6867525"/>
              <a:gd name="connsiteX106" fmla="*/ 1153403 w 12205625"/>
              <a:gd name="connsiteY106" fmla="*/ 6243166 h 6867525"/>
              <a:gd name="connsiteX107" fmla="*/ 1152550 w 12205625"/>
              <a:gd name="connsiteY107" fmla="*/ 6241860 h 6867525"/>
              <a:gd name="connsiteX108" fmla="*/ 1151285 w 12205625"/>
              <a:gd name="connsiteY108" fmla="*/ 6240980 h 6867525"/>
              <a:gd name="connsiteX109" fmla="*/ 1149737 w 12205625"/>
              <a:gd name="connsiteY109" fmla="*/ 6240657 h 6867525"/>
              <a:gd name="connsiteX110" fmla="*/ 1112787 w 12205625"/>
              <a:gd name="connsiteY110" fmla="*/ 6240657 h 6867525"/>
              <a:gd name="connsiteX111" fmla="*/ 1261092 w 12205625"/>
              <a:gd name="connsiteY111" fmla="*/ 6239132 h 6867525"/>
              <a:gd name="connsiteX112" fmla="*/ 1256377 w 12205625"/>
              <a:gd name="connsiteY112" fmla="*/ 6239375 h 6867525"/>
              <a:gd name="connsiteX113" fmla="*/ 1251232 w 12205625"/>
              <a:gd name="connsiteY113" fmla="*/ 6240162 h 6867525"/>
              <a:gd name="connsiteX114" fmla="*/ 1245866 w 12205625"/>
              <a:gd name="connsiteY114" fmla="*/ 6241577 h 6867525"/>
              <a:gd name="connsiteX115" fmla="*/ 1240486 w 12205625"/>
              <a:gd name="connsiteY115" fmla="*/ 6243708 h 6867525"/>
              <a:gd name="connsiteX116" fmla="*/ 1235300 w 12205625"/>
              <a:gd name="connsiteY116" fmla="*/ 6246639 h 6867525"/>
              <a:gd name="connsiteX117" fmla="*/ 1230515 w 12205625"/>
              <a:gd name="connsiteY117" fmla="*/ 6250458 h 6867525"/>
              <a:gd name="connsiteX118" fmla="*/ 1226340 w 12205625"/>
              <a:gd name="connsiteY118" fmla="*/ 6255248 h 6867525"/>
              <a:gd name="connsiteX119" fmla="*/ 1222981 w 12205625"/>
              <a:gd name="connsiteY119" fmla="*/ 6261097 h 6867525"/>
              <a:gd name="connsiteX120" fmla="*/ 1222981 w 12205625"/>
              <a:gd name="connsiteY120" fmla="*/ 6244763 h 6867525"/>
              <a:gd name="connsiteX121" fmla="*/ 1222669 w 12205625"/>
              <a:gd name="connsiteY121" fmla="*/ 6243165 h 6867525"/>
              <a:gd name="connsiteX122" fmla="*/ 1221816 w 12205625"/>
              <a:gd name="connsiteY122" fmla="*/ 6241860 h 6867525"/>
              <a:gd name="connsiteX123" fmla="*/ 1220552 w 12205625"/>
              <a:gd name="connsiteY123" fmla="*/ 6240979 h 6867525"/>
              <a:gd name="connsiteX124" fmla="*/ 1219003 w 12205625"/>
              <a:gd name="connsiteY124" fmla="*/ 6240657 h 6867525"/>
              <a:gd name="connsiteX125" fmla="*/ 1183531 w 12205625"/>
              <a:gd name="connsiteY125" fmla="*/ 6240657 h 6867525"/>
              <a:gd name="connsiteX126" fmla="*/ 1181983 w 12205625"/>
              <a:gd name="connsiteY126" fmla="*/ 6240979 h 6867525"/>
              <a:gd name="connsiteX127" fmla="*/ 1180719 w 12205625"/>
              <a:gd name="connsiteY127" fmla="*/ 6241860 h 6867525"/>
              <a:gd name="connsiteX128" fmla="*/ 1179866 w 12205625"/>
              <a:gd name="connsiteY128" fmla="*/ 6243165 h 6867525"/>
              <a:gd name="connsiteX129" fmla="*/ 1179554 w 12205625"/>
              <a:gd name="connsiteY129" fmla="*/ 6244763 h 6867525"/>
              <a:gd name="connsiteX130" fmla="*/ 1179554 w 12205625"/>
              <a:gd name="connsiteY130" fmla="*/ 6388167 h 6867525"/>
              <a:gd name="connsiteX131" fmla="*/ 1179866 w 12205625"/>
              <a:gd name="connsiteY131" fmla="*/ 6389767 h 6867525"/>
              <a:gd name="connsiteX132" fmla="*/ 1180719 w 12205625"/>
              <a:gd name="connsiteY132" fmla="*/ 6391073 h 6867525"/>
              <a:gd name="connsiteX133" fmla="*/ 1181983 w 12205625"/>
              <a:gd name="connsiteY133" fmla="*/ 6391953 h 6867525"/>
              <a:gd name="connsiteX134" fmla="*/ 1183531 w 12205625"/>
              <a:gd name="connsiteY134" fmla="*/ 6392276 h 6867525"/>
              <a:gd name="connsiteX135" fmla="*/ 1220480 w 12205625"/>
              <a:gd name="connsiteY135" fmla="*/ 6392276 h 6867525"/>
              <a:gd name="connsiteX136" fmla="*/ 1222029 w 12205625"/>
              <a:gd name="connsiteY136" fmla="*/ 6391953 h 6867525"/>
              <a:gd name="connsiteX137" fmla="*/ 1223293 w 12205625"/>
              <a:gd name="connsiteY137" fmla="*/ 6391073 h 6867525"/>
              <a:gd name="connsiteX138" fmla="*/ 1224145 w 12205625"/>
              <a:gd name="connsiteY138" fmla="*/ 6389767 h 6867525"/>
              <a:gd name="connsiteX139" fmla="*/ 1224458 w 12205625"/>
              <a:gd name="connsiteY139" fmla="*/ 6388167 h 6867525"/>
              <a:gd name="connsiteX140" fmla="*/ 1224458 w 12205625"/>
              <a:gd name="connsiteY140" fmla="*/ 6326074 h 6867525"/>
              <a:gd name="connsiteX141" fmla="*/ 1224850 w 12205625"/>
              <a:gd name="connsiteY141" fmla="*/ 6318306 h 6867525"/>
              <a:gd name="connsiteX142" fmla="*/ 1225983 w 12205625"/>
              <a:gd name="connsiteY142" fmla="*/ 6311451 h 6867525"/>
              <a:gd name="connsiteX143" fmla="*/ 1227790 w 12205625"/>
              <a:gd name="connsiteY143" fmla="*/ 6305471 h 6867525"/>
              <a:gd name="connsiteX144" fmla="*/ 1230208 w 12205625"/>
              <a:gd name="connsiteY144" fmla="*/ 6300332 h 6867525"/>
              <a:gd name="connsiteX145" fmla="*/ 1233170 w 12205625"/>
              <a:gd name="connsiteY145" fmla="*/ 6295995 h 6867525"/>
              <a:gd name="connsiteX146" fmla="*/ 1236612 w 12205625"/>
              <a:gd name="connsiteY146" fmla="*/ 6292426 h 6867525"/>
              <a:gd name="connsiteX147" fmla="*/ 1240468 w 12205625"/>
              <a:gd name="connsiteY147" fmla="*/ 6289587 h 6867525"/>
              <a:gd name="connsiteX148" fmla="*/ 1244673 w 12205625"/>
              <a:gd name="connsiteY148" fmla="*/ 6287442 h 6867525"/>
              <a:gd name="connsiteX149" fmla="*/ 1249162 w 12205625"/>
              <a:gd name="connsiteY149" fmla="*/ 6285955 h 6867525"/>
              <a:gd name="connsiteX150" fmla="*/ 1253869 w 12205625"/>
              <a:gd name="connsiteY150" fmla="*/ 6285090 h 6867525"/>
              <a:gd name="connsiteX151" fmla="*/ 1258729 w 12205625"/>
              <a:gd name="connsiteY151" fmla="*/ 6284809 h 6867525"/>
              <a:gd name="connsiteX152" fmla="*/ 1260952 w 12205625"/>
              <a:gd name="connsiteY152" fmla="*/ 6284837 h 6867525"/>
              <a:gd name="connsiteX153" fmla="*/ 1263083 w 12205625"/>
              <a:gd name="connsiteY153" fmla="*/ 6284927 h 6867525"/>
              <a:gd name="connsiteX154" fmla="*/ 1265174 w 12205625"/>
              <a:gd name="connsiteY154" fmla="*/ 6285090 h 6867525"/>
              <a:gd name="connsiteX155" fmla="*/ 1267247 w 12205625"/>
              <a:gd name="connsiteY155" fmla="*/ 6285334 h 6867525"/>
              <a:gd name="connsiteX156" fmla="*/ 1268824 w 12205625"/>
              <a:gd name="connsiteY156" fmla="*/ 6285238 h 6867525"/>
              <a:gd name="connsiteX157" fmla="*/ 1269700 w 12205625"/>
              <a:gd name="connsiteY157" fmla="*/ 6284809 h 6867525"/>
              <a:gd name="connsiteX158" fmla="*/ 1270201 w 12205625"/>
              <a:gd name="connsiteY158" fmla="*/ 6284564 h 6867525"/>
              <a:gd name="connsiteX159" fmla="*/ 1271230 w 12205625"/>
              <a:gd name="connsiteY159" fmla="*/ 6283414 h 6867525"/>
              <a:gd name="connsiteX160" fmla="*/ 1271768 w 12205625"/>
              <a:gd name="connsiteY160" fmla="*/ 6281888 h 6867525"/>
              <a:gd name="connsiteX161" fmla="*/ 1274797 w 12205625"/>
              <a:gd name="connsiteY161" fmla="*/ 6261097 h 6867525"/>
              <a:gd name="connsiteX162" fmla="*/ 1277103 w 12205625"/>
              <a:gd name="connsiteY162" fmla="*/ 6245263 h 6867525"/>
              <a:gd name="connsiteX163" fmla="*/ 1277040 w 12205625"/>
              <a:gd name="connsiteY163" fmla="*/ 6243692 h 6867525"/>
              <a:gd name="connsiteX164" fmla="*/ 1270665 w 12205625"/>
              <a:gd name="connsiteY164" fmla="*/ 6240006 h 6867525"/>
              <a:gd name="connsiteX165" fmla="*/ 1263927 w 12205625"/>
              <a:gd name="connsiteY165" fmla="*/ 6239237 h 6867525"/>
              <a:gd name="connsiteX166" fmla="*/ 1261092 w 12205625"/>
              <a:gd name="connsiteY166" fmla="*/ 6239132 h 6867525"/>
              <a:gd name="connsiteX167" fmla="*/ 1023405 w 12205625"/>
              <a:gd name="connsiteY167" fmla="*/ 6236996 h 6867525"/>
              <a:gd name="connsiteX168" fmla="*/ 1016606 w 12205625"/>
              <a:gd name="connsiteY168" fmla="*/ 6237334 h 6867525"/>
              <a:gd name="connsiteX169" fmla="*/ 1010217 w 12205625"/>
              <a:gd name="connsiteY169" fmla="*/ 6238297 h 6867525"/>
              <a:gd name="connsiteX170" fmla="*/ 1004279 w 12205625"/>
              <a:gd name="connsiteY170" fmla="*/ 6239809 h 6867525"/>
              <a:gd name="connsiteX171" fmla="*/ 998829 w 12205625"/>
              <a:gd name="connsiteY171" fmla="*/ 6241797 h 6867525"/>
              <a:gd name="connsiteX172" fmla="*/ 993906 w 12205625"/>
              <a:gd name="connsiteY172" fmla="*/ 6244183 h 6867525"/>
              <a:gd name="connsiteX173" fmla="*/ 989551 w 12205625"/>
              <a:gd name="connsiteY173" fmla="*/ 6246894 h 6867525"/>
              <a:gd name="connsiteX174" fmla="*/ 985800 w 12205625"/>
              <a:gd name="connsiteY174" fmla="*/ 6249853 h 6867525"/>
              <a:gd name="connsiteX175" fmla="*/ 980272 w 12205625"/>
              <a:gd name="connsiteY175" fmla="*/ 6256215 h 6867525"/>
              <a:gd name="connsiteX176" fmla="*/ 980272 w 12205625"/>
              <a:gd name="connsiteY176" fmla="*/ 6244763 h 6867525"/>
              <a:gd name="connsiteX177" fmla="*/ 979959 w 12205625"/>
              <a:gd name="connsiteY177" fmla="*/ 6243165 h 6867525"/>
              <a:gd name="connsiteX178" fmla="*/ 979107 w 12205625"/>
              <a:gd name="connsiteY178" fmla="*/ 6241860 h 6867525"/>
              <a:gd name="connsiteX179" fmla="*/ 977842 w 12205625"/>
              <a:gd name="connsiteY179" fmla="*/ 6240979 h 6867525"/>
              <a:gd name="connsiteX180" fmla="*/ 976293 w 12205625"/>
              <a:gd name="connsiteY180" fmla="*/ 6240657 h 6867525"/>
              <a:gd name="connsiteX181" fmla="*/ 940822 w 12205625"/>
              <a:gd name="connsiteY181" fmla="*/ 6240657 h 6867525"/>
              <a:gd name="connsiteX182" fmla="*/ 939273 w 12205625"/>
              <a:gd name="connsiteY182" fmla="*/ 6240979 h 6867525"/>
              <a:gd name="connsiteX183" fmla="*/ 938008 w 12205625"/>
              <a:gd name="connsiteY183" fmla="*/ 6241860 h 6867525"/>
              <a:gd name="connsiteX184" fmla="*/ 937156 w 12205625"/>
              <a:gd name="connsiteY184" fmla="*/ 6243165 h 6867525"/>
              <a:gd name="connsiteX185" fmla="*/ 936843 w 12205625"/>
              <a:gd name="connsiteY185" fmla="*/ 6244763 h 6867525"/>
              <a:gd name="connsiteX186" fmla="*/ 936843 w 12205625"/>
              <a:gd name="connsiteY186" fmla="*/ 6446130 h 6867525"/>
              <a:gd name="connsiteX187" fmla="*/ 937156 w 12205625"/>
              <a:gd name="connsiteY187" fmla="*/ 6447729 h 6867525"/>
              <a:gd name="connsiteX188" fmla="*/ 938008 w 12205625"/>
              <a:gd name="connsiteY188" fmla="*/ 6449034 h 6867525"/>
              <a:gd name="connsiteX189" fmla="*/ 939273 w 12205625"/>
              <a:gd name="connsiteY189" fmla="*/ 6449914 h 6867525"/>
              <a:gd name="connsiteX190" fmla="*/ 940822 w 12205625"/>
              <a:gd name="connsiteY190" fmla="*/ 6450237 h 6867525"/>
              <a:gd name="connsiteX191" fmla="*/ 977771 w 12205625"/>
              <a:gd name="connsiteY191" fmla="*/ 6450237 h 6867525"/>
              <a:gd name="connsiteX192" fmla="*/ 979319 w 12205625"/>
              <a:gd name="connsiteY192" fmla="*/ 6449914 h 6867525"/>
              <a:gd name="connsiteX193" fmla="*/ 980583 w 12205625"/>
              <a:gd name="connsiteY193" fmla="*/ 6449034 h 6867525"/>
              <a:gd name="connsiteX194" fmla="*/ 981436 w 12205625"/>
              <a:gd name="connsiteY194" fmla="*/ 6447729 h 6867525"/>
              <a:gd name="connsiteX195" fmla="*/ 981748 w 12205625"/>
              <a:gd name="connsiteY195" fmla="*/ 6446130 h 6867525"/>
              <a:gd name="connsiteX196" fmla="*/ 981748 w 12205625"/>
              <a:gd name="connsiteY196" fmla="*/ 6380378 h 6867525"/>
              <a:gd name="connsiteX197" fmla="*/ 984638 w 12205625"/>
              <a:gd name="connsiteY197" fmla="*/ 6383485 h 6867525"/>
              <a:gd name="connsiteX198" fmla="*/ 988188 w 12205625"/>
              <a:gd name="connsiteY198" fmla="*/ 6386364 h 6867525"/>
              <a:gd name="connsiteX199" fmla="*/ 992369 w 12205625"/>
              <a:gd name="connsiteY199" fmla="*/ 6388958 h 6867525"/>
              <a:gd name="connsiteX200" fmla="*/ 997148 w 12205625"/>
              <a:gd name="connsiteY200" fmla="*/ 6391208 h 6867525"/>
              <a:gd name="connsiteX201" fmla="*/ 1002495 w 12205625"/>
              <a:gd name="connsiteY201" fmla="*/ 6393057 h 6867525"/>
              <a:gd name="connsiteX202" fmla="*/ 1008379 w 12205625"/>
              <a:gd name="connsiteY202" fmla="*/ 6394450 h 6867525"/>
              <a:gd name="connsiteX203" fmla="*/ 1014768 w 12205625"/>
              <a:gd name="connsiteY203" fmla="*/ 6395327 h 6867525"/>
              <a:gd name="connsiteX204" fmla="*/ 1021631 w 12205625"/>
              <a:gd name="connsiteY204" fmla="*/ 6395632 h 6867525"/>
              <a:gd name="connsiteX205" fmla="*/ 1027154 w 12205625"/>
              <a:gd name="connsiteY205" fmla="*/ 6395428 h 6867525"/>
              <a:gd name="connsiteX206" fmla="*/ 1032518 w 12205625"/>
              <a:gd name="connsiteY206" fmla="*/ 6394823 h 6867525"/>
              <a:gd name="connsiteX207" fmla="*/ 1037712 w 12205625"/>
              <a:gd name="connsiteY207" fmla="*/ 6393828 h 6867525"/>
              <a:gd name="connsiteX208" fmla="*/ 1042728 w 12205625"/>
              <a:gd name="connsiteY208" fmla="*/ 6392455 h 6867525"/>
              <a:gd name="connsiteX209" fmla="*/ 1047556 w 12205625"/>
              <a:gd name="connsiteY209" fmla="*/ 6390715 h 6867525"/>
              <a:gd name="connsiteX210" fmla="*/ 1052186 w 12205625"/>
              <a:gd name="connsiteY210" fmla="*/ 6388620 h 6867525"/>
              <a:gd name="connsiteX211" fmla="*/ 1056609 w 12205625"/>
              <a:gd name="connsiteY211" fmla="*/ 6386181 h 6867525"/>
              <a:gd name="connsiteX212" fmla="*/ 1060815 w 12205625"/>
              <a:gd name="connsiteY212" fmla="*/ 6383409 h 6867525"/>
              <a:gd name="connsiteX213" fmla="*/ 1064716 w 12205625"/>
              <a:gd name="connsiteY213" fmla="*/ 6380378 h 6867525"/>
              <a:gd name="connsiteX214" fmla="*/ 1068540 w 12205625"/>
              <a:gd name="connsiteY214" fmla="*/ 6376912 h 6867525"/>
              <a:gd name="connsiteX215" fmla="*/ 1072040 w 12205625"/>
              <a:gd name="connsiteY215" fmla="*/ 6373209 h 6867525"/>
              <a:gd name="connsiteX216" fmla="*/ 1075285 w 12205625"/>
              <a:gd name="connsiteY216" fmla="*/ 6369219 h 6867525"/>
              <a:gd name="connsiteX217" fmla="*/ 1078266 w 12205625"/>
              <a:gd name="connsiteY217" fmla="*/ 6364953 h 6867525"/>
              <a:gd name="connsiteX218" fmla="*/ 1080974 w 12205625"/>
              <a:gd name="connsiteY218" fmla="*/ 6360423 h 6867525"/>
              <a:gd name="connsiteX219" fmla="*/ 1083399 w 12205625"/>
              <a:gd name="connsiteY219" fmla="*/ 6355639 h 6867525"/>
              <a:gd name="connsiteX220" fmla="*/ 1084033 w 12205625"/>
              <a:gd name="connsiteY220" fmla="*/ 6354143 h 6867525"/>
              <a:gd name="connsiteX221" fmla="*/ 1087361 w 12205625"/>
              <a:gd name="connsiteY221" fmla="*/ 6345356 h 6867525"/>
              <a:gd name="connsiteX222" fmla="*/ 1088880 w 12205625"/>
              <a:gd name="connsiteY222" fmla="*/ 6339880 h 6867525"/>
              <a:gd name="connsiteX223" fmla="*/ 1090080 w 12205625"/>
              <a:gd name="connsiteY223" fmla="*/ 6334177 h 6867525"/>
              <a:gd name="connsiteX224" fmla="*/ 1090944 w 12205625"/>
              <a:gd name="connsiteY224" fmla="*/ 6328315 h 6867525"/>
              <a:gd name="connsiteX225" fmla="*/ 1091472 w 12205625"/>
              <a:gd name="connsiteY225" fmla="*/ 6322249 h 6867525"/>
              <a:gd name="connsiteX226" fmla="*/ 1091650 w 12205625"/>
              <a:gd name="connsiteY226" fmla="*/ 6316009 h 6867525"/>
              <a:gd name="connsiteX227" fmla="*/ 1091491 w 12205625"/>
              <a:gd name="connsiteY227" fmla="*/ 6309886 h 6867525"/>
              <a:gd name="connsiteX228" fmla="*/ 1091019 w 12205625"/>
              <a:gd name="connsiteY228" fmla="*/ 6303923 h 6867525"/>
              <a:gd name="connsiteX229" fmla="*/ 1090238 w 12205625"/>
              <a:gd name="connsiteY229" fmla="*/ 6298132 h 6867525"/>
              <a:gd name="connsiteX230" fmla="*/ 1089154 w 12205625"/>
              <a:gd name="connsiteY230" fmla="*/ 6292525 h 6867525"/>
              <a:gd name="connsiteX231" fmla="*/ 1087771 w 12205625"/>
              <a:gd name="connsiteY231" fmla="*/ 6287115 h 6867525"/>
              <a:gd name="connsiteX232" fmla="*/ 1086094 w 12205625"/>
              <a:gd name="connsiteY232" fmla="*/ 6281913 h 6867525"/>
              <a:gd name="connsiteX233" fmla="*/ 1084862 w 12205625"/>
              <a:gd name="connsiteY233" fmla="*/ 6278790 h 6867525"/>
              <a:gd name="connsiteX234" fmla="*/ 1084129 w 12205625"/>
              <a:gd name="connsiteY234" fmla="*/ 6276931 h 6867525"/>
              <a:gd name="connsiteX235" fmla="*/ 1081880 w 12205625"/>
              <a:gd name="connsiteY235" fmla="*/ 6272183 h 6867525"/>
              <a:gd name="connsiteX236" fmla="*/ 1079352 w 12205625"/>
              <a:gd name="connsiteY236" fmla="*/ 6267679 h 6867525"/>
              <a:gd name="connsiteX237" fmla="*/ 1076551 w 12205625"/>
              <a:gd name="connsiteY237" fmla="*/ 6263433 h 6867525"/>
              <a:gd name="connsiteX238" fmla="*/ 1073481 w 12205625"/>
              <a:gd name="connsiteY238" fmla="*/ 6259457 h 6867525"/>
              <a:gd name="connsiteX239" fmla="*/ 1070556 w 12205625"/>
              <a:gd name="connsiteY239" fmla="*/ 6256215 h 6867525"/>
              <a:gd name="connsiteX240" fmla="*/ 1066554 w 12205625"/>
              <a:gd name="connsiteY240" fmla="*/ 6252361 h 6867525"/>
              <a:gd name="connsiteX241" fmla="*/ 1062708 w 12205625"/>
              <a:gd name="connsiteY241" fmla="*/ 6249267 h 6867525"/>
              <a:gd name="connsiteX242" fmla="*/ 1058613 w 12205625"/>
              <a:gd name="connsiteY242" fmla="*/ 6246491 h 6867525"/>
              <a:gd name="connsiteX243" fmla="*/ 1054275 w 12205625"/>
              <a:gd name="connsiteY243" fmla="*/ 6244045 h 6867525"/>
              <a:gd name="connsiteX244" fmla="*/ 1049697 w 12205625"/>
              <a:gd name="connsiteY244" fmla="*/ 6241942 h 6867525"/>
              <a:gd name="connsiteX245" fmla="*/ 1044886 w 12205625"/>
              <a:gd name="connsiteY245" fmla="*/ 6240194 h 6867525"/>
              <a:gd name="connsiteX246" fmla="*/ 1039847 w 12205625"/>
              <a:gd name="connsiteY246" fmla="*/ 6238813 h 6867525"/>
              <a:gd name="connsiteX247" fmla="*/ 1034583 w 12205625"/>
              <a:gd name="connsiteY247" fmla="*/ 6237812 h 6867525"/>
              <a:gd name="connsiteX248" fmla="*/ 1029101 w 12205625"/>
              <a:gd name="connsiteY248" fmla="*/ 6237202 h 6867525"/>
              <a:gd name="connsiteX249" fmla="*/ 1023405 w 12205625"/>
              <a:gd name="connsiteY249" fmla="*/ 6236996 h 6867525"/>
              <a:gd name="connsiteX250" fmla="*/ 1524474 w 12205625"/>
              <a:gd name="connsiteY250" fmla="*/ 6236081 h 6867525"/>
              <a:gd name="connsiteX251" fmla="*/ 1518900 w 12205625"/>
              <a:gd name="connsiteY251" fmla="*/ 6236268 h 6867525"/>
              <a:gd name="connsiteX252" fmla="*/ 1513439 w 12205625"/>
              <a:gd name="connsiteY252" fmla="*/ 6236823 h 6867525"/>
              <a:gd name="connsiteX253" fmla="*/ 1508104 w 12205625"/>
              <a:gd name="connsiteY253" fmla="*/ 6237736 h 6867525"/>
              <a:gd name="connsiteX254" fmla="*/ 1502907 w 12205625"/>
              <a:gd name="connsiteY254" fmla="*/ 6238997 h 6867525"/>
              <a:gd name="connsiteX255" fmla="*/ 1497861 w 12205625"/>
              <a:gd name="connsiteY255" fmla="*/ 6240598 h 6867525"/>
              <a:gd name="connsiteX256" fmla="*/ 1492978 w 12205625"/>
              <a:gd name="connsiteY256" fmla="*/ 6242529 h 6867525"/>
              <a:gd name="connsiteX257" fmla="*/ 1488271 w 12205625"/>
              <a:gd name="connsiteY257" fmla="*/ 6244779 h 6867525"/>
              <a:gd name="connsiteX258" fmla="*/ 1483751 w 12205625"/>
              <a:gd name="connsiteY258" fmla="*/ 6247341 h 6867525"/>
              <a:gd name="connsiteX259" fmla="*/ 1479433 w 12205625"/>
              <a:gd name="connsiteY259" fmla="*/ 6250204 h 6867525"/>
              <a:gd name="connsiteX260" fmla="*/ 1475328 w 12205625"/>
              <a:gd name="connsiteY260" fmla="*/ 6253359 h 6867525"/>
              <a:gd name="connsiteX261" fmla="*/ 1471448 w 12205625"/>
              <a:gd name="connsiteY261" fmla="*/ 6256796 h 6867525"/>
              <a:gd name="connsiteX262" fmla="*/ 1467808 w 12205625"/>
              <a:gd name="connsiteY262" fmla="*/ 6260506 h 6867525"/>
              <a:gd name="connsiteX263" fmla="*/ 1464417 w 12205625"/>
              <a:gd name="connsiteY263" fmla="*/ 6264480 h 6867525"/>
              <a:gd name="connsiteX264" fmla="*/ 1461291 w 12205625"/>
              <a:gd name="connsiteY264" fmla="*/ 6268707 h 6867525"/>
              <a:gd name="connsiteX265" fmla="*/ 1458440 w 12205625"/>
              <a:gd name="connsiteY265" fmla="*/ 6273179 h 6867525"/>
              <a:gd name="connsiteX266" fmla="*/ 1455878 w 12205625"/>
              <a:gd name="connsiteY266" fmla="*/ 6277886 h 6867525"/>
              <a:gd name="connsiteX267" fmla="*/ 1453616 w 12205625"/>
              <a:gd name="connsiteY267" fmla="*/ 6282819 h 6867525"/>
              <a:gd name="connsiteX268" fmla="*/ 1451663 w 12205625"/>
              <a:gd name="connsiteY268" fmla="*/ 6287986 h 6867525"/>
              <a:gd name="connsiteX269" fmla="*/ 1450047 w 12205625"/>
              <a:gd name="connsiteY269" fmla="*/ 6293322 h 6867525"/>
              <a:gd name="connsiteX270" fmla="*/ 1448764 w 12205625"/>
              <a:gd name="connsiteY270" fmla="*/ 6298874 h 6867525"/>
              <a:gd name="connsiteX271" fmla="*/ 1447832 w 12205625"/>
              <a:gd name="connsiteY271" fmla="*/ 6304614 h 6867525"/>
              <a:gd name="connsiteX272" fmla="*/ 1447263 w 12205625"/>
              <a:gd name="connsiteY272" fmla="*/ 6310532 h 6867525"/>
              <a:gd name="connsiteX273" fmla="*/ 1447071 w 12205625"/>
              <a:gd name="connsiteY273" fmla="*/ 6316619 h 6867525"/>
              <a:gd name="connsiteX274" fmla="*/ 1447252 w 12205625"/>
              <a:gd name="connsiteY274" fmla="*/ 6322418 h 6867525"/>
              <a:gd name="connsiteX275" fmla="*/ 1447788 w 12205625"/>
              <a:gd name="connsiteY275" fmla="*/ 6328066 h 6867525"/>
              <a:gd name="connsiteX276" fmla="*/ 1448667 w 12205625"/>
              <a:gd name="connsiteY276" fmla="*/ 6333554 h 6867525"/>
              <a:gd name="connsiteX277" fmla="*/ 1449877 w 12205625"/>
              <a:gd name="connsiteY277" fmla="*/ 6338874 h 6867525"/>
              <a:gd name="connsiteX278" fmla="*/ 1451408 w 12205625"/>
              <a:gd name="connsiteY278" fmla="*/ 6344017 h 6867525"/>
              <a:gd name="connsiteX279" fmla="*/ 1453247 w 12205625"/>
              <a:gd name="connsiteY279" fmla="*/ 6348975 h 6867525"/>
              <a:gd name="connsiteX280" fmla="*/ 1455383 w 12205625"/>
              <a:gd name="connsiteY280" fmla="*/ 6353738 h 6867525"/>
              <a:gd name="connsiteX281" fmla="*/ 1457805 w 12205625"/>
              <a:gd name="connsiteY281" fmla="*/ 6358299 h 6867525"/>
              <a:gd name="connsiteX282" fmla="*/ 1460500 w 12205625"/>
              <a:gd name="connsiteY282" fmla="*/ 6362650 h 6867525"/>
              <a:gd name="connsiteX283" fmla="*/ 1463458 w 12205625"/>
              <a:gd name="connsiteY283" fmla="*/ 6366781 h 6867525"/>
              <a:gd name="connsiteX284" fmla="*/ 1466666 w 12205625"/>
              <a:gd name="connsiteY284" fmla="*/ 6370685 h 6867525"/>
              <a:gd name="connsiteX285" fmla="*/ 1470114 w 12205625"/>
              <a:gd name="connsiteY285" fmla="*/ 6374352 h 6867525"/>
              <a:gd name="connsiteX286" fmla="*/ 1473789 w 12205625"/>
              <a:gd name="connsiteY286" fmla="*/ 6377775 h 6867525"/>
              <a:gd name="connsiteX287" fmla="*/ 1477681 w 12205625"/>
              <a:gd name="connsiteY287" fmla="*/ 6380944 h 6867525"/>
              <a:gd name="connsiteX288" fmla="*/ 1481778 w 12205625"/>
              <a:gd name="connsiteY288" fmla="*/ 6383852 h 6867525"/>
              <a:gd name="connsiteX289" fmla="*/ 1486067 w 12205625"/>
              <a:gd name="connsiteY289" fmla="*/ 6386489 h 6867525"/>
              <a:gd name="connsiteX290" fmla="*/ 1490538 w 12205625"/>
              <a:gd name="connsiteY290" fmla="*/ 6388849 h 6867525"/>
              <a:gd name="connsiteX291" fmla="*/ 1495179 w 12205625"/>
              <a:gd name="connsiteY291" fmla="*/ 6390921 h 6867525"/>
              <a:gd name="connsiteX292" fmla="*/ 1499979 w 12205625"/>
              <a:gd name="connsiteY292" fmla="*/ 6392697 h 6867525"/>
              <a:gd name="connsiteX293" fmla="*/ 1504925 w 12205625"/>
              <a:gd name="connsiteY293" fmla="*/ 6394170 h 6867525"/>
              <a:gd name="connsiteX294" fmla="*/ 1510007 w 12205625"/>
              <a:gd name="connsiteY294" fmla="*/ 6395330 h 6867525"/>
              <a:gd name="connsiteX295" fmla="*/ 1515213 w 12205625"/>
              <a:gd name="connsiteY295" fmla="*/ 6396169 h 6867525"/>
              <a:gd name="connsiteX296" fmla="*/ 1520531 w 12205625"/>
              <a:gd name="connsiteY296" fmla="*/ 6396678 h 6867525"/>
              <a:gd name="connsiteX297" fmla="*/ 1525950 w 12205625"/>
              <a:gd name="connsiteY297" fmla="*/ 6396850 h 6867525"/>
              <a:gd name="connsiteX298" fmla="*/ 1532781 w 12205625"/>
              <a:gd name="connsiteY298" fmla="*/ 6396579 h 6867525"/>
              <a:gd name="connsiteX299" fmla="*/ 1539291 w 12205625"/>
              <a:gd name="connsiteY299" fmla="*/ 6395786 h 6867525"/>
              <a:gd name="connsiteX300" fmla="*/ 1545476 w 12205625"/>
              <a:gd name="connsiteY300" fmla="*/ 6394505 h 6867525"/>
              <a:gd name="connsiteX301" fmla="*/ 1551333 w 12205625"/>
              <a:gd name="connsiteY301" fmla="*/ 6392768 h 6867525"/>
              <a:gd name="connsiteX302" fmla="*/ 1556859 w 12205625"/>
              <a:gd name="connsiteY302" fmla="*/ 6390607 h 6867525"/>
              <a:gd name="connsiteX303" fmla="*/ 1562051 w 12205625"/>
              <a:gd name="connsiteY303" fmla="*/ 6388054 h 6867525"/>
              <a:gd name="connsiteX304" fmla="*/ 1566905 w 12205625"/>
              <a:gd name="connsiteY304" fmla="*/ 6385143 h 6867525"/>
              <a:gd name="connsiteX305" fmla="*/ 1571417 w 12205625"/>
              <a:gd name="connsiteY305" fmla="*/ 6381905 h 6867525"/>
              <a:gd name="connsiteX306" fmla="*/ 1575585 w 12205625"/>
              <a:gd name="connsiteY306" fmla="*/ 6378373 h 6867525"/>
              <a:gd name="connsiteX307" fmla="*/ 1579405 w 12205625"/>
              <a:gd name="connsiteY307" fmla="*/ 6374579 h 6867525"/>
              <a:gd name="connsiteX308" fmla="*/ 1582873 w 12205625"/>
              <a:gd name="connsiteY308" fmla="*/ 6370556 h 6867525"/>
              <a:gd name="connsiteX309" fmla="*/ 1585988 w 12205625"/>
              <a:gd name="connsiteY309" fmla="*/ 6366337 h 6867525"/>
              <a:gd name="connsiteX310" fmla="*/ 1588744 w 12205625"/>
              <a:gd name="connsiteY310" fmla="*/ 6361953 h 6867525"/>
              <a:gd name="connsiteX311" fmla="*/ 1591139 w 12205625"/>
              <a:gd name="connsiteY311" fmla="*/ 6357438 h 6867525"/>
              <a:gd name="connsiteX312" fmla="*/ 1592589 w 12205625"/>
              <a:gd name="connsiteY312" fmla="*/ 6354142 h 6867525"/>
              <a:gd name="connsiteX313" fmla="*/ 1593169 w 12205625"/>
              <a:gd name="connsiteY313" fmla="*/ 6352822 h 6867525"/>
              <a:gd name="connsiteX314" fmla="*/ 1594832 w 12205625"/>
              <a:gd name="connsiteY314" fmla="*/ 6348140 h 6867525"/>
              <a:gd name="connsiteX315" fmla="*/ 1595017 w 12205625"/>
              <a:gd name="connsiteY315" fmla="*/ 6346485 h 6867525"/>
              <a:gd name="connsiteX316" fmla="*/ 1594588 w 12205625"/>
              <a:gd name="connsiteY316" fmla="*/ 6344942 h 6867525"/>
              <a:gd name="connsiteX317" fmla="*/ 1593627 w 12205625"/>
              <a:gd name="connsiteY317" fmla="*/ 6343685 h 6867525"/>
              <a:gd name="connsiteX318" fmla="*/ 1592215 w 12205625"/>
              <a:gd name="connsiteY318" fmla="*/ 6342887 h 6867525"/>
              <a:gd name="connsiteX319" fmla="*/ 1559980 w 12205625"/>
              <a:gd name="connsiteY319" fmla="*/ 6332703 h 6867525"/>
              <a:gd name="connsiteX320" fmla="*/ 1558513 w 12205625"/>
              <a:gd name="connsiteY320" fmla="*/ 6332537 h 6867525"/>
              <a:gd name="connsiteX321" fmla="*/ 1557135 w 12205625"/>
              <a:gd name="connsiteY321" fmla="*/ 6332922 h 6867525"/>
              <a:gd name="connsiteX322" fmla="*/ 1555975 w 12205625"/>
              <a:gd name="connsiteY322" fmla="*/ 6333788 h 6867525"/>
              <a:gd name="connsiteX323" fmla="*/ 1555158 w 12205625"/>
              <a:gd name="connsiteY323" fmla="*/ 6335066 h 6867525"/>
              <a:gd name="connsiteX324" fmla="*/ 1553059 w 12205625"/>
              <a:gd name="connsiteY324" fmla="*/ 6339274 h 6867525"/>
              <a:gd name="connsiteX325" fmla="*/ 1550294 w 12205625"/>
              <a:gd name="connsiteY325" fmla="*/ 6343224 h 6867525"/>
              <a:gd name="connsiteX326" fmla="*/ 1546848 w 12205625"/>
              <a:gd name="connsiteY326" fmla="*/ 6346776 h 6867525"/>
              <a:gd name="connsiteX327" fmla="*/ 1542705 w 12205625"/>
              <a:gd name="connsiteY327" fmla="*/ 6349785 h 6867525"/>
              <a:gd name="connsiteX328" fmla="*/ 1537851 w 12205625"/>
              <a:gd name="connsiteY328" fmla="*/ 6352111 h 6867525"/>
              <a:gd name="connsiteX329" fmla="*/ 1532271 w 12205625"/>
              <a:gd name="connsiteY329" fmla="*/ 6353611 h 6867525"/>
              <a:gd name="connsiteX330" fmla="*/ 1525950 w 12205625"/>
              <a:gd name="connsiteY330" fmla="*/ 6354142 h 6867525"/>
              <a:gd name="connsiteX331" fmla="*/ 1520957 w 12205625"/>
              <a:gd name="connsiteY331" fmla="*/ 6353811 h 6867525"/>
              <a:gd name="connsiteX332" fmla="*/ 1516168 w 12205625"/>
              <a:gd name="connsiteY332" fmla="*/ 6352827 h 6867525"/>
              <a:gd name="connsiteX333" fmla="*/ 1511640 w 12205625"/>
              <a:gd name="connsiteY333" fmla="*/ 6351203 h 6867525"/>
              <a:gd name="connsiteX334" fmla="*/ 1507429 w 12205625"/>
              <a:gd name="connsiteY334" fmla="*/ 6348949 h 6867525"/>
              <a:gd name="connsiteX335" fmla="*/ 1503595 w 12205625"/>
              <a:gd name="connsiteY335" fmla="*/ 6346080 h 6867525"/>
              <a:gd name="connsiteX336" fmla="*/ 1500193 w 12205625"/>
              <a:gd name="connsiteY336" fmla="*/ 6342607 h 6867525"/>
              <a:gd name="connsiteX337" fmla="*/ 1497281 w 12205625"/>
              <a:gd name="connsiteY337" fmla="*/ 6338542 h 6867525"/>
              <a:gd name="connsiteX338" fmla="*/ 1494917 w 12205625"/>
              <a:gd name="connsiteY338" fmla="*/ 6333899 h 6867525"/>
              <a:gd name="connsiteX339" fmla="*/ 1493157 w 12205625"/>
              <a:gd name="connsiteY339" fmla="*/ 6328689 h 6867525"/>
              <a:gd name="connsiteX340" fmla="*/ 1492059 w 12205625"/>
              <a:gd name="connsiteY340" fmla="*/ 6322925 h 6867525"/>
              <a:gd name="connsiteX341" fmla="*/ 1491680 w 12205625"/>
              <a:gd name="connsiteY341" fmla="*/ 6316619 h 6867525"/>
              <a:gd name="connsiteX342" fmla="*/ 1492045 w 12205625"/>
              <a:gd name="connsiteY342" fmla="*/ 6310236 h 6867525"/>
              <a:gd name="connsiteX343" fmla="*/ 1493105 w 12205625"/>
              <a:gd name="connsiteY343" fmla="*/ 6304410 h 6867525"/>
              <a:gd name="connsiteX344" fmla="*/ 1494809 w 12205625"/>
              <a:gd name="connsiteY344" fmla="*/ 6299150 h 6867525"/>
              <a:gd name="connsiteX345" fmla="*/ 1497103 w 12205625"/>
              <a:gd name="connsiteY345" fmla="*/ 6294468 h 6867525"/>
              <a:gd name="connsiteX346" fmla="*/ 1499937 w 12205625"/>
              <a:gd name="connsiteY346" fmla="*/ 6290374 h 6867525"/>
              <a:gd name="connsiteX347" fmla="*/ 1503259 w 12205625"/>
              <a:gd name="connsiteY347" fmla="*/ 6286880 h 6867525"/>
              <a:gd name="connsiteX348" fmla="*/ 1507016 w 12205625"/>
              <a:gd name="connsiteY348" fmla="*/ 6283997 h 6867525"/>
              <a:gd name="connsiteX349" fmla="*/ 1511157 w 12205625"/>
              <a:gd name="connsiteY349" fmla="*/ 6281735 h 6867525"/>
              <a:gd name="connsiteX350" fmla="*/ 1515629 w 12205625"/>
              <a:gd name="connsiteY350" fmla="*/ 6280106 h 6867525"/>
              <a:gd name="connsiteX351" fmla="*/ 1520381 w 12205625"/>
              <a:gd name="connsiteY351" fmla="*/ 6279120 h 6867525"/>
              <a:gd name="connsiteX352" fmla="*/ 1525361 w 12205625"/>
              <a:gd name="connsiteY352" fmla="*/ 6278789 h 6867525"/>
              <a:gd name="connsiteX353" fmla="*/ 1531642 w 12205625"/>
              <a:gd name="connsiteY353" fmla="*/ 6279308 h 6867525"/>
              <a:gd name="connsiteX354" fmla="*/ 1537118 w 12205625"/>
              <a:gd name="connsiteY354" fmla="*/ 6280776 h 6867525"/>
              <a:gd name="connsiteX355" fmla="*/ 1541824 w 12205625"/>
              <a:gd name="connsiteY355" fmla="*/ 6283064 h 6867525"/>
              <a:gd name="connsiteX356" fmla="*/ 1545800 w 12205625"/>
              <a:gd name="connsiteY356" fmla="*/ 6286041 h 6867525"/>
              <a:gd name="connsiteX357" fmla="*/ 1549081 w 12205625"/>
              <a:gd name="connsiteY357" fmla="*/ 6289575 h 6867525"/>
              <a:gd name="connsiteX358" fmla="*/ 1551705 w 12205625"/>
              <a:gd name="connsiteY358" fmla="*/ 6293537 h 6867525"/>
              <a:gd name="connsiteX359" fmla="*/ 1553709 w 12205625"/>
              <a:gd name="connsiteY359" fmla="*/ 6297795 h 6867525"/>
              <a:gd name="connsiteX360" fmla="*/ 1554514 w 12205625"/>
              <a:gd name="connsiteY360" fmla="*/ 6299099 h 6867525"/>
              <a:gd name="connsiteX361" fmla="*/ 1555675 w 12205625"/>
              <a:gd name="connsiteY361" fmla="*/ 6299988 h 6867525"/>
              <a:gd name="connsiteX362" fmla="*/ 1557062 w 12205625"/>
              <a:gd name="connsiteY362" fmla="*/ 6300390 h 6867525"/>
              <a:gd name="connsiteX363" fmla="*/ 1558545 w 12205625"/>
              <a:gd name="connsiteY363" fmla="*/ 6300231 h 6867525"/>
              <a:gd name="connsiteX364" fmla="*/ 1591335 w 12205625"/>
              <a:gd name="connsiteY364" fmla="*/ 6290024 h 6867525"/>
              <a:gd name="connsiteX365" fmla="*/ 1592748 w 12205625"/>
              <a:gd name="connsiteY365" fmla="*/ 6289235 h 6867525"/>
              <a:gd name="connsiteX366" fmla="*/ 1593713 w 12205625"/>
              <a:gd name="connsiteY366" fmla="*/ 6287986 h 6867525"/>
              <a:gd name="connsiteX367" fmla="*/ 1594150 w 12205625"/>
              <a:gd name="connsiteY367" fmla="*/ 6286448 h 6867525"/>
              <a:gd name="connsiteX368" fmla="*/ 1593977 w 12205625"/>
              <a:gd name="connsiteY368" fmla="*/ 6284794 h 6867525"/>
              <a:gd name="connsiteX369" fmla="*/ 1592440 w 12205625"/>
              <a:gd name="connsiteY369" fmla="*/ 6280308 h 6867525"/>
              <a:gd name="connsiteX370" fmla="*/ 1591800 w 12205625"/>
              <a:gd name="connsiteY370" fmla="*/ 6278789 h 6867525"/>
              <a:gd name="connsiteX371" fmla="*/ 1590582 w 12205625"/>
              <a:gd name="connsiteY371" fmla="*/ 6275899 h 6867525"/>
              <a:gd name="connsiteX372" fmla="*/ 1588404 w 12205625"/>
              <a:gd name="connsiteY372" fmla="*/ 6271591 h 6867525"/>
              <a:gd name="connsiteX373" fmla="*/ 1585906 w 12205625"/>
              <a:gd name="connsiteY373" fmla="*/ 6267410 h 6867525"/>
              <a:gd name="connsiteX374" fmla="*/ 1583089 w 12205625"/>
              <a:gd name="connsiteY374" fmla="*/ 6263381 h 6867525"/>
              <a:gd name="connsiteX375" fmla="*/ 1579952 w 12205625"/>
              <a:gd name="connsiteY375" fmla="*/ 6259529 h 6867525"/>
              <a:gd name="connsiteX376" fmla="*/ 1576497 w 12205625"/>
              <a:gd name="connsiteY376" fmla="*/ 6255880 h 6867525"/>
              <a:gd name="connsiteX377" fmla="*/ 1572723 w 12205625"/>
              <a:gd name="connsiteY377" fmla="*/ 6252459 h 6867525"/>
              <a:gd name="connsiteX378" fmla="*/ 1568631 w 12205625"/>
              <a:gd name="connsiteY378" fmla="*/ 6249291 h 6867525"/>
              <a:gd name="connsiteX379" fmla="*/ 1564221 w 12205625"/>
              <a:gd name="connsiteY379" fmla="*/ 6246401 h 6867525"/>
              <a:gd name="connsiteX380" fmla="*/ 1559493 w 12205625"/>
              <a:gd name="connsiteY380" fmla="*/ 6243814 h 6867525"/>
              <a:gd name="connsiteX381" fmla="*/ 1554448 w 12205625"/>
              <a:gd name="connsiteY381" fmla="*/ 6241556 h 6867525"/>
              <a:gd name="connsiteX382" fmla="*/ 1549086 w 12205625"/>
              <a:gd name="connsiteY382" fmla="*/ 6239653 h 6867525"/>
              <a:gd name="connsiteX383" fmla="*/ 1543407 w 12205625"/>
              <a:gd name="connsiteY383" fmla="*/ 6238128 h 6867525"/>
              <a:gd name="connsiteX384" fmla="*/ 1537412 w 12205625"/>
              <a:gd name="connsiteY384" fmla="*/ 6237008 h 6867525"/>
              <a:gd name="connsiteX385" fmla="*/ 1531101 w 12205625"/>
              <a:gd name="connsiteY385" fmla="*/ 6236317 h 6867525"/>
              <a:gd name="connsiteX386" fmla="*/ 1524474 w 12205625"/>
              <a:gd name="connsiteY386" fmla="*/ 6236081 h 6867525"/>
              <a:gd name="connsiteX387" fmla="*/ 1356301 w 12205625"/>
              <a:gd name="connsiteY387" fmla="*/ 6236081 h 6867525"/>
              <a:gd name="connsiteX388" fmla="*/ 1350654 w 12205625"/>
              <a:gd name="connsiteY388" fmla="*/ 6236268 h 6867525"/>
              <a:gd name="connsiteX389" fmla="*/ 1345126 w 12205625"/>
              <a:gd name="connsiteY389" fmla="*/ 6236823 h 6867525"/>
              <a:gd name="connsiteX390" fmla="*/ 1339730 w 12205625"/>
              <a:gd name="connsiteY390" fmla="*/ 6237735 h 6867525"/>
              <a:gd name="connsiteX391" fmla="*/ 1334477 w 12205625"/>
              <a:gd name="connsiteY391" fmla="*/ 6238996 h 6867525"/>
              <a:gd name="connsiteX392" fmla="*/ 1329381 w 12205625"/>
              <a:gd name="connsiteY392" fmla="*/ 6240595 h 6867525"/>
              <a:gd name="connsiteX393" fmla="*/ 1324454 w 12205625"/>
              <a:gd name="connsiteY393" fmla="*/ 6242523 h 6867525"/>
              <a:gd name="connsiteX394" fmla="*/ 1319706 w 12205625"/>
              <a:gd name="connsiteY394" fmla="*/ 6244771 h 6867525"/>
              <a:gd name="connsiteX395" fmla="*/ 1315152 w 12205625"/>
              <a:gd name="connsiteY395" fmla="*/ 6247328 h 6867525"/>
              <a:gd name="connsiteX396" fmla="*/ 1310803 w 12205625"/>
              <a:gd name="connsiteY396" fmla="*/ 6250186 h 6867525"/>
              <a:gd name="connsiteX397" fmla="*/ 1306672 w 12205625"/>
              <a:gd name="connsiteY397" fmla="*/ 6253334 h 6867525"/>
              <a:gd name="connsiteX398" fmla="*/ 1302769 w 12205625"/>
              <a:gd name="connsiteY398" fmla="*/ 6256763 h 6867525"/>
              <a:gd name="connsiteX399" fmla="*/ 1299109 w 12205625"/>
              <a:gd name="connsiteY399" fmla="*/ 6260463 h 6867525"/>
              <a:gd name="connsiteX400" fmla="*/ 1295703 w 12205625"/>
              <a:gd name="connsiteY400" fmla="*/ 6264425 h 6867525"/>
              <a:gd name="connsiteX401" fmla="*/ 1292563 w 12205625"/>
              <a:gd name="connsiteY401" fmla="*/ 6268638 h 6867525"/>
              <a:gd name="connsiteX402" fmla="*/ 1289702 w 12205625"/>
              <a:gd name="connsiteY402" fmla="*/ 6273094 h 6867525"/>
              <a:gd name="connsiteX403" fmla="*/ 1287131 w 12205625"/>
              <a:gd name="connsiteY403" fmla="*/ 6277783 h 6867525"/>
              <a:gd name="connsiteX404" fmla="*/ 1284864 w 12205625"/>
              <a:gd name="connsiteY404" fmla="*/ 6282695 h 6867525"/>
              <a:gd name="connsiteX405" fmla="*/ 1282912 w 12205625"/>
              <a:gd name="connsiteY405" fmla="*/ 6287821 h 6867525"/>
              <a:gd name="connsiteX406" fmla="*/ 1281287 w 12205625"/>
              <a:gd name="connsiteY406" fmla="*/ 6293150 h 6867525"/>
              <a:gd name="connsiteX407" fmla="*/ 1280002 w 12205625"/>
              <a:gd name="connsiteY407" fmla="*/ 6298673 h 6867525"/>
              <a:gd name="connsiteX408" fmla="*/ 1279069 w 12205625"/>
              <a:gd name="connsiteY408" fmla="*/ 6304381 h 6867525"/>
              <a:gd name="connsiteX409" fmla="*/ 1278500 w 12205625"/>
              <a:gd name="connsiteY409" fmla="*/ 6310264 h 6867525"/>
              <a:gd name="connsiteX410" fmla="*/ 1278308 w 12205625"/>
              <a:gd name="connsiteY410" fmla="*/ 6316313 h 6867525"/>
              <a:gd name="connsiteX411" fmla="*/ 1278485 w 12205625"/>
              <a:gd name="connsiteY411" fmla="*/ 6322114 h 6867525"/>
              <a:gd name="connsiteX412" fmla="*/ 1279008 w 12205625"/>
              <a:gd name="connsiteY412" fmla="*/ 6327767 h 6867525"/>
              <a:gd name="connsiteX413" fmla="*/ 1279866 w 12205625"/>
              <a:gd name="connsiteY413" fmla="*/ 6333262 h 6867525"/>
              <a:gd name="connsiteX414" fmla="*/ 1281049 w 12205625"/>
              <a:gd name="connsiteY414" fmla="*/ 6338592 h 6867525"/>
              <a:gd name="connsiteX415" fmla="*/ 1282546 w 12205625"/>
              <a:gd name="connsiteY415" fmla="*/ 6343746 h 6867525"/>
              <a:gd name="connsiteX416" fmla="*/ 1284346 w 12205625"/>
              <a:gd name="connsiteY416" fmla="*/ 6348717 h 6867525"/>
              <a:gd name="connsiteX417" fmla="*/ 1286438 w 12205625"/>
              <a:gd name="connsiteY417" fmla="*/ 6353496 h 6867525"/>
              <a:gd name="connsiteX418" fmla="*/ 1288812 w 12205625"/>
              <a:gd name="connsiteY418" fmla="*/ 6358074 h 6867525"/>
              <a:gd name="connsiteX419" fmla="*/ 1291457 w 12205625"/>
              <a:gd name="connsiteY419" fmla="*/ 6362441 h 6867525"/>
              <a:gd name="connsiteX420" fmla="*/ 1294362 w 12205625"/>
              <a:gd name="connsiteY420" fmla="*/ 6366591 h 6867525"/>
              <a:gd name="connsiteX421" fmla="*/ 1297516 w 12205625"/>
              <a:gd name="connsiteY421" fmla="*/ 6370513 h 6867525"/>
              <a:gd name="connsiteX422" fmla="*/ 1300908 w 12205625"/>
              <a:gd name="connsiteY422" fmla="*/ 6374200 h 6867525"/>
              <a:gd name="connsiteX423" fmla="*/ 1304528 w 12205625"/>
              <a:gd name="connsiteY423" fmla="*/ 6377641 h 6867525"/>
              <a:gd name="connsiteX424" fmla="*/ 1308366 w 12205625"/>
              <a:gd name="connsiteY424" fmla="*/ 6380829 h 6867525"/>
              <a:gd name="connsiteX425" fmla="*/ 1312409 w 12205625"/>
              <a:gd name="connsiteY425" fmla="*/ 6383755 h 6867525"/>
              <a:gd name="connsiteX426" fmla="*/ 1316648 w 12205625"/>
              <a:gd name="connsiteY426" fmla="*/ 6386411 h 6867525"/>
              <a:gd name="connsiteX427" fmla="*/ 1321072 w 12205625"/>
              <a:gd name="connsiteY427" fmla="*/ 6388786 h 6867525"/>
              <a:gd name="connsiteX428" fmla="*/ 1325669 w 12205625"/>
              <a:gd name="connsiteY428" fmla="*/ 6390873 h 6867525"/>
              <a:gd name="connsiteX429" fmla="*/ 1330430 w 12205625"/>
              <a:gd name="connsiteY429" fmla="*/ 6392663 h 6867525"/>
              <a:gd name="connsiteX430" fmla="*/ 1335342 w 12205625"/>
              <a:gd name="connsiteY430" fmla="*/ 6394147 h 6867525"/>
              <a:gd name="connsiteX431" fmla="*/ 1340397 w 12205625"/>
              <a:gd name="connsiteY431" fmla="*/ 6395317 h 6867525"/>
              <a:gd name="connsiteX432" fmla="*/ 1345582 w 12205625"/>
              <a:gd name="connsiteY432" fmla="*/ 6396163 h 6867525"/>
              <a:gd name="connsiteX433" fmla="*/ 1350887 w 12205625"/>
              <a:gd name="connsiteY433" fmla="*/ 6396677 h 6867525"/>
              <a:gd name="connsiteX434" fmla="*/ 1356301 w 12205625"/>
              <a:gd name="connsiteY434" fmla="*/ 6396850 h 6867525"/>
              <a:gd name="connsiteX435" fmla="*/ 1361750 w 12205625"/>
              <a:gd name="connsiteY435" fmla="*/ 6396677 h 6867525"/>
              <a:gd name="connsiteX436" fmla="*/ 1367083 w 12205625"/>
              <a:gd name="connsiteY436" fmla="*/ 6396163 h 6867525"/>
              <a:gd name="connsiteX437" fmla="*/ 1372291 w 12205625"/>
              <a:gd name="connsiteY437" fmla="*/ 6395317 h 6867525"/>
              <a:gd name="connsiteX438" fmla="*/ 1377363 w 12205625"/>
              <a:gd name="connsiteY438" fmla="*/ 6394147 h 6867525"/>
              <a:gd name="connsiteX439" fmla="*/ 1382289 w 12205625"/>
              <a:gd name="connsiteY439" fmla="*/ 6392663 h 6867525"/>
              <a:gd name="connsiteX440" fmla="*/ 1387059 w 12205625"/>
              <a:gd name="connsiteY440" fmla="*/ 6390873 h 6867525"/>
              <a:gd name="connsiteX441" fmla="*/ 1391661 w 12205625"/>
              <a:gd name="connsiteY441" fmla="*/ 6388786 h 6867525"/>
              <a:gd name="connsiteX442" fmla="*/ 1396087 w 12205625"/>
              <a:gd name="connsiteY442" fmla="*/ 6386411 h 6867525"/>
              <a:gd name="connsiteX443" fmla="*/ 1400324 w 12205625"/>
              <a:gd name="connsiteY443" fmla="*/ 6383755 h 6867525"/>
              <a:gd name="connsiteX444" fmla="*/ 1404363 w 12205625"/>
              <a:gd name="connsiteY444" fmla="*/ 6380829 h 6867525"/>
              <a:gd name="connsiteX445" fmla="*/ 1408194 w 12205625"/>
              <a:gd name="connsiteY445" fmla="*/ 6377641 h 6867525"/>
              <a:gd name="connsiteX446" fmla="*/ 1411806 w 12205625"/>
              <a:gd name="connsiteY446" fmla="*/ 6374200 h 6867525"/>
              <a:gd name="connsiteX447" fmla="*/ 1415189 w 12205625"/>
              <a:gd name="connsiteY447" fmla="*/ 6370513 h 6867525"/>
              <a:gd name="connsiteX448" fmla="*/ 1418332 w 12205625"/>
              <a:gd name="connsiteY448" fmla="*/ 6366591 h 6867525"/>
              <a:gd name="connsiteX449" fmla="*/ 1421225 w 12205625"/>
              <a:gd name="connsiteY449" fmla="*/ 6362441 h 6867525"/>
              <a:gd name="connsiteX450" fmla="*/ 1423857 w 12205625"/>
              <a:gd name="connsiteY450" fmla="*/ 6358074 h 6867525"/>
              <a:gd name="connsiteX451" fmla="*/ 1425886 w 12205625"/>
              <a:gd name="connsiteY451" fmla="*/ 6354142 h 6867525"/>
              <a:gd name="connsiteX452" fmla="*/ 1428300 w 12205625"/>
              <a:gd name="connsiteY452" fmla="*/ 6348717 h 6867525"/>
              <a:gd name="connsiteX453" fmla="*/ 1430089 w 12205625"/>
              <a:gd name="connsiteY453" fmla="*/ 6343746 h 6867525"/>
              <a:gd name="connsiteX454" fmla="*/ 1431576 w 12205625"/>
              <a:gd name="connsiteY454" fmla="*/ 6338592 h 6867525"/>
              <a:gd name="connsiteX455" fmla="*/ 1432751 w 12205625"/>
              <a:gd name="connsiteY455" fmla="*/ 6333262 h 6867525"/>
              <a:gd name="connsiteX456" fmla="*/ 1433602 w 12205625"/>
              <a:gd name="connsiteY456" fmla="*/ 6327767 h 6867525"/>
              <a:gd name="connsiteX457" fmla="*/ 1434121 w 12205625"/>
              <a:gd name="connsiteY457" fmla="*/ 6322114 h 6867525"/>
              <a:gd name="connsiteX458" fmla="*/ 1434296 w 12205625"/>
              <a:gd name="connsiteY458" fmla="*/ 6316313 h 6867525"/>
              <a:gd name="connsiteX459" fmla="*/ 1434106 w 12205625"/>
              <a:gd name="connsiteY459" fmla="*/ 6310264 h 6867525"/>
              <a:gd name="connsiteX460" fmla="*/ 1433541 w 12205625"/>
              <a:gd name="connsiteY460" fmla="*/ 6304381 h 6867525"/>
              <a:gd name="connsiteX461" fmla="*/ 1432615 w 12205625"/>
              <a:gd name="connsiteY461" fmla="*/ 6298673 h 6867525"/>
              <a:gd name="connsiteX462" fmla="*/ 1431339 w 12205625"/>
              <a:gd name="connsiteY462" fmla="*/ 6293150 h 6867525"/>
              <a:gd name="connsiteX463" fmla="*/ 1429725 w 12205625"/>
              <a:gd name="connsiteY463" fmla="*/ 6287821 h 6867525"/>
              <a:gd name="connsiteX464" fmla="*/ 1427785 w 12205625"/>
              <a:gd name="connsiteY464" fmla="*/ 6282695 h 6867525"/>
              <a:gd name="connsiteX465" fmla="*/ 1425992 w 12205625"/>
              <a:gd name="connsiteY465" fmla="*/ 6278789 h 6867525"/>
              <a:gd name="connsiteX466" fmla="*/ 1425530 w 12205625"/>
              <a:gd name="connsiteY466" fmla="*/ 6277783 h 6867525"/>
              <a:gd name="connsiteX467" fmla="*/ 1422972 w 12205625"/>
              <a:gd name="connsiteY467" fmla="*/ 6273094 h 6867525"/>
              <a:gd name="connsiteX468" fmla="*/ 1420123 w 12205625"/>
              <a:gd name="connsiteY468" fmla="*/ 6268638 h 6867525"/>
              <a:gd name="connsiteX469" fmla="*/ 1416996 w 12205625"/>
              <a:gd name="connsiteY469" fmla="*/ 6264425 h 6867525"/>
              <a:gd name="connsiteX470" fmla="*/ 1413600 w 12205625"/>
              <a:gd name="connsiteY470" fmla="*/ 6260463 h 6867525"/>
              <a:gd name="connsiteX471" fmla="*/ 1409950 w 12205625"/>
              <a:gd name="connsiteY471" fmla="*/ 6256763 h 6867525"/>
              <a:gd name="connsiteX472" fmla="*/ 1406055 w 12205625"/>
              <a:gd name="connsiteY472" fmla="*/ 6253334 h 6867525"/>
              <a:gd name="connsiteX473" fmla="*/ 1401929 w 12205625"/>
              <a:gd name="connsiteY473" fmla="*/ 6250186 h 6867525"/>
              <a:gd name="connsiteX474" fmla="*/ 1397583 w 12205625"/>
              <a:gd name="connsiteY474" fmla="*/ 6247328 h 6867525"/>
              <a:gd name="connsiteX475" fmla="*/ 1393028 w 12205625"/>
              <a:gd name="connsiteY475" fmla="*/ 6244771 h 6867525"/>
              <a:gd name="connsiteX476" fmla="*/ 1388276 w 12205625"/>
              <a:gd name="connsiteY476" fmla="*/ 6242523 h 6867525"/>
              <a:gd name="connsiteX477" fmla="*/ 1383340 w 12205625"/>
              <a:gd name="connsiteY477" fmla="*/ 6240595 h 6867525"/>
              <a:gd name="connsiteX478" fmla="*/ 1378231 w 12205625"/>
              <a:gd name="connsiteY478" fmla="*/ 6238996 h 6867525"/>
              <a:gd name="connsiteX479" fmla="*/ 1372961 w 12205625"/>
              <a:gd name="connsiteY479" fmla="*/ 6237735 h 6867525"/>
              <a:gd name="connsiteX480" fmla="*/ 1367541 w 12205625"/>
              <a:gd name="connsiteY480" fmla="*/ 6236823 h 6867525"/>
              <a:gd name="connsiteX481" fmla="*/ 1361984 w 12205625"/>
              <a:gd name="connsiteY481" fmla="*/ 6236268 h 6867525"/>
              <a:gd name="connsiteX482" fmla="*/ 1356301 w 12205625"/>
              <a:gd name="connsiteY482" fmla="*/ 6236081 h 6867525"/>
              <a:gd name="connsiteX483" fmla="*/ 788397 w 12205625"/>
              <a:gd name="connsiteY483" fmla="*/ 6175982 h 6867525"/>
              <a:gd name="connsiteX484" fmla="*/ 786849 w 12205625"/>
              <a:gd name="connsiteY484" fmla="*/ 6176305 h 6867525"/>
              <a:gd name="connsiteX485" fmla="*/ 785585 w 12205625"/>
              <a:gd name="connsiteY485" fmla="*/ 6177185 h 6867525"/>
              <a:gd name="connsiteX486" fmla="*/ 784733 w 12205625"/>
              <a:gd name="connsiteY486" fmla="*/ 6178491 h 6867525"/>
              <a:gd name="connsiteX487" fmla="*/ 784420 w 12205625"/>
              <a:gd name="connsiteY487" fmla="*/ 6180089 h 6867525"/>
              <a:gd name="connsiteX488" fmla="*/ 784420 w 12205625"/>
              <a:gd name="connsiteY488" fmla="*/ 6388168 h 6867525"/>
              <a:gd name="connsiteX489" fmla="*/ 784733 w 12205625"/>
              <a:gd name="connsiteY489" fmla="*/ 6389767 h 6867525"/>
              <a:gd name="connsiteX490" fmla="*/ 785585 w 12205625"/>
              <a:gd name="connsiteY490" fmla="*/ 6391072 h 6867525"/>
              <a:gd name="connsiteX491" fmla="*/ 786849 w 12205625"/>
              <a:gd name="connsiteY491" fmla="*/ 6391952 h 6867525"/>
              <a:gd name="connsiteX492" fmla="*/ 788397 w 12205625"/>
              <a:gd name="connsiteY492" fmla="*/ 6392275 h 6867525"/>
              <a:gd name="connsiteX493" fmla="*/ 913386 w 12205625"/>
              <a:gd name="connsiteY493" fmla="*/ 6392275 h 6867525"/>
              <a:gd name="connsiteX494" fmla="*/ 914934 w 12205625"/>
              <a:gd name="connsiteY494" fmla="*/ 6391952 h 6867525"/>
              <a:gd name="connsiteX495" fmla="*/ 916198 w 12205625"/>
              <a:gd name="connsiteY495" fmla="*/ 6391072 h 6867525"/>
              <a:gd name="connsiteX496" fmla="*/ 917050 w 12205625"/>
              <a:gd name="connsiteY496" fmla="*/ 6389767 h 6867525"/>
              <a:gd name="connsiteX497" fmla="*/ 917363 w 12205625"/>
              <a:gd name="connsiteY497" fmla="*/ 6388168 h 6867525"/>
              <a:gd name="connsiteX498" fmla="*/ 917363 w 12205625"/>
              <a:gd name="connsiteY498" fmla="*/ 6350622 h 6867525"/>
              <a:gd name="connsiteX499" fmla="*/ 914934 w 12205625"/>
              <a:gd name="connsiteY499" fmla="*/ 6346838 h 6867525"/>
              <a:gd name="connsiteX500" fmla="*/ 835075 w 12205625"/>
              <a:gd name="connsiteY500" fmla="*/ 6346515 h 6867525"/>
              <a:gd name="connsiteX501" fmla="*/ 833527 w 12205625"/>
              <a:gd name="connsiteY501" fmla="*/ 6346192 h 6867525"/>
              <a:gd name="connsiteX502" fmla="*/ 832263 w 12205625"/>
              <a:gd name="connsiteY502" fmla="*/ 6345312 h 6867525"/>
              <a:gd name="connsiteX503" fmla="*/ 831410 w 12205625"/>
              <a:gd name="connsiteY503" fmla="*/ 6344006 h 6867525"/>
              <a:gd name="connsiteX504" fmla="*/ 831097 w 12205625"/>
              <a:gd name="connsiteY504" fmla="*/ 6342408 h 6867525"/>
              <a:gd name="connsiteX505" fmla="*/ 831097 w 12205625"/>
              <a:gd name="connsiteY505" fmla="*/ 6309132 h 6867525"/>
              <a:gd name="connsiteX506" fmla="*/ 831410 w 12205625"/>
              <a:gd name="connsiteY506" fmla="*/ 6307534 h 6867525"/>
              <a:gd name="connsiteX507" fmla="*/ 832263 w 12205625"/>
              <a:gd name="connsiteY507" fmla="*/ 6306228 h 6867525"/>
              <a:gd name="connsiteX508" fmla="*/ 833527 w 12205625"/>
              <a:gd name="connsiteY508" fmla="*/ 6305348 h 6867525"/>
              <a:gd name="connsiteX509" fmla="*/ 835075 w 12205625"/>
              <a:gd name="connsiteY509" fmla="*/ 6305025 h 6867525"/>
              <a:gd name="connsiteX510" fmla="*/ 905112 w 12205625"/>
              <a:gd name="connsiteY510" fmla="*/ 6305025 h 6867525"/>
              <a:gd name="connsiteX511" fmla="*/ 906661 w 12205625"/>
              <a:gd name="connsiteY511" fmla="*/ 6304703 h 6867525"/>
              <a:gd name="connsiteX512" fmla="*/ 907925 w 12205625"/>
              <a:gd name="connsiteY512" fmla="*/ 6303823 h 6867525"/>
              <a:gd name="connsiteX513" fmla="*/ 908778 w 12205625"/>
              <a:gd name="connsiteY513" fmla="*/ 6302517 h 6867525"/>
              <a:gd name="connsiteX514" fmla="*/ 909091 w 12205625"/>
              <a:gd name="connsiteY514" fmla="*/ 6300918 h 6867525"/>
              <a:gd name="connsiteX515" fmla="*/ 909091 w 12205625"/>
              <a:gd name="connsiteY515" fmla="*/ 6266729 h 6867525"/>
              <a:gd name="connsiteX516" fmla="*/ 908778 w 12205625"/>
              <a:gd name="connsiteY516" fmla="*/ 6265130 h 6867525"/>
              <a:gd name="connsiteX517" fmla="*/ 907925 w 12205625"/>
              <a:gd name="connsiteY517" fmla="*/ 6263825 h 6867525"/>
              <a:gd name="connsiteX518" fmla="*/ 906661 w 12205625"/>
              <a:gd name="connsiteY518" fmla="*/ 6262944 h 6867525"/>
              <a:gd name="connsiteX519" fmla="*/ 905112 w 12205625"/>
              <a:gd name="connsiteY519" fmla="*/ 6262622 h 6867525"/>
              <a:gd name="connsiteX520" fmla="*/ 835075 w 12205625"/>
              <a:gd name="connsiteY520" fmla="*/ 6262622 h 6867525"/>
              <a:gd name="connsiteX521" fmla="*/ 833527 w 12205625"/>
              <a:gd name="connsiteY521" fmla="*/ 6262299 h 6867525"/>
              <a:gd name="connsiteX522" fmla="*/ 832263 w 12205625"/>
              <a:gd name="connsiteY522" fmla="*/ 6261419 h 6867525"/>
              <a:gd name="connsiteX523" fmla="*/ 831410 w 12205625"/>
              <a:gd name="connsiteY523" fmla="*/ 6260114 h 6867525"/>
              <a:gd name="connsiteX524" fmla="*/ 831097 w 12205625"/>
              <a:gd name="connsiteY524" fmla="*/ 6258515 h 6867525"/>
              <a:gd name="connsiteX525" fmla="*/ 831097 w 12205625"/>
              <a:gd name="connsiteY525" fmla="*/ 6225545 h 6867525"/>
              <a:gd name="connsiteX526" fmla="*/ 831410 w 12205625"/>
              <a:gd name="connsiteY526" fmla="*/ 6223946 h 6867525"/>
              <a:gd name="connsiteX527" fmla="*/ 832263 w 12205625"/>
              <a:gd name="connsiteY527" fmla="*/ 6222641 h 6867525"/>
              <a:gd name="connsiteX528" fmla="*/ 833527 w 12205625"/>
              <a:gd name="connsiteY528" fmla="*/ 6221761 h 6867525"/>
              <a:gd name="connsiteX529" fmla="*/ 835075 w 12205625"/>
              <a:gd name="connsiteY529" fmla="*/ 6221438 h 6867525"/>
              <a:gd name="connsiteX530" fmla="*/ 913090 w 12205625"/>
              <a:gd name="connsiteY530" fmla="*/ 6221438 h 6867525"/>
              <a:gd name="connsiteX531" fmla="*/ 914638 w 12205625"/>
              <a:gd name="connsiteY531" fmla="*/ 6221115 h 6867525"/>
              <a:gd name="connsiteX532" fmla="*/ 915902 w 12205625"/>
              <a:gd name="connsiteY532" fmla="*/ 6220235 h 6867525"/>
              <a:gd name="connsiteX533" fmla="*/ 916754 w 12205625"/>
              <a:gd name="connsiteY533" fmla="*/ 6218930 h 6867525"/>
              <a:gd name="connsiteX534" fmla="*/ 917067 w 12205625"/>
              <a:gd name="connsiteY534" fmla="*/ 6217331 h 6867525"/>
              <a:gd name="connsiteX535" fmla="*/ 917067 w 12205625"/>
              <a:gd name="connsiteY535" fmla="*/ 6180089 h 6867525"/>
              <a:gd name="connsiteX536" fmla="*/ 916754 w 12205625"/>
              <a:gd name="connsiteY536" fmla="*/ 6178491 h 6867525"/>
              <a:gd name="connsiteX537" fmla="*/ 915902 w 12205625"/>
              <a:gd name="connsiteY537" fmla="*/ 6177185 h 6867525"/>
              <a:gd name="connsiteX538" fmla="*/ 914638 w 12205625"/>
              <a:gd name="connsiteY538" fmla="*/ 6176305 h 6867525"/>
              <a:gd name="connsiteX539" fmla="*/ 913090 w 12205625"/>
              <a:gd name="connsiteY539" fmla="*/ 6175982 h 6867525"/>
              <a:gd name="connsiteX540" fmla="*/ 788397 w 12205625"/>
              <a:gd name="connsiteY540" fmla="*/ 6175982 h 6867525"/>
              <a:gd name="connsiteX541" fmla="*/ 1130966 w 12205625"/>
              <a:gd name="connsiteY541" fmla="*/ 6167136 h 6867525"/>
              <a:gd name="connsiteX542" fmla="*/ 1125778 w 12205625"/>
              <a:gd name="connsiteY542" fmla="*/ 6167690 h 6867525"/>
              <a:gd name="connsiteX543" fmla="*/ 1120922 w 12205625"/>
              <a:gd name="connsiteY543" fmla="*/ 6169276 h 6867525"/>
              <a:gd name="connsiteX544" fmla="*/ 1116509 w 12205625"/>
              <a:gd name="connsiteY544" fmla="*/ 6171785 h 6867525"/>
              <a:gd name="connsiteX545" fmla="*/ 1112650 w 12205625"/>
              <a:gd name="connsiteY545" fmla="*/ 6175106 h 6867525"/>
              <a:gd name="connsiteX546" fmla="*/ 1109456 w 12205625"/>
              <a:gd name="connsiteY546" fmla="*/ 6179127 h 6867525"/>
              <a:gd name="connsiteX547" fmla="*/ 1107037 w 12205625"/>
              <a:gd name="connsiteY547" fmla="*/ 6183738 h 6867525"/>
              <a:gd name="connsiteX548" fmla="*/ 1105504 w 12205625"/>
              <a:gd name="connsiteY548" fmla="*/ 6188829 h 6867525"/>
              <a:gd name="connsiteX549" fmla="*/ 1104969 w 12205625"/>
              <a:gd name="connsiteY549" fmla="*/ 6194287 h 6867525"/>
              <a:gd name="connsiteX550" fmla="*/ 1105504 w 12205625"/>
              <a:gd name="connsiteY550" fmla="*/ 6199746 h 6867525"/>
              <a:gd name="connsiteX551" fmla="*/ 1107037 w 12205625"/>
              <a:gd name="connsiteY551" fmla="*/ 6204836 h 6867525"/>
              <a:gd name="connsiteX552" fmla="*/ 1109456 w 12205625"/>
              <a:gd name="connsiteY552" fmla="*/ 6209447 h 6867525"/>
              <a:gd name="connsiteX553" fmla="*/ 1112650 w 12205625"/>
              <a:gd name="connsiteY553" fmla="*/ 6213468 h 6867525"/>
              <a:gd name="connsiteX554" fmla="*/ 1116509 w 12205625"/>
              <a:gd name="connsiteY554" fmla="*/ 6216789 h 6867525"/>
              <a:gd name="connsiteX555" fmla="*/ 1120922 w 12205625"/>
              <a:gd name="connsiteY555" fmla="*/ 6219298 h 6867525"/>
              <a:gd name="connsiteX556" fmla="*/ 1125778 w 12205625"/>
              <a:gd name="connsiteY556" fmla="*/ 6220885 h 6867525"/>
              <a:gd name="connsiteX557" fmla="*/ 1130966 w 12205625"/>
              <a:gd name="connsiteY557" fmla="*/ 6221438 h 6867525"/>
              <a:gd name="connsiteX558" fmla="*/ 1136350 w 12205625"/>
              <a:gd name="connsiteY558" fmla="*/ 6220885 h 6867525"/>
              <a:gd name="connsiteX559" fmla="*/ 1141353 w 12205625"/>
              <a:gd name="connsiteY559" fmla="*/ 6219298 h 6867525"/>
              <a:gd name="connsiteX560" fmla="*/ 1145871 w 12205625"/>
              <a:gd name="connsiteY560" fmla="*/ 6216789 h 6867525"/>
              <a:gd name="connsiteX561" fmla="*/ 1149800 w 12205625"/>
              <a:gd name="connsiteY561" fmla="*/ 6213468 h 6867525"/>
              <a:gd name="connsiteX562" fmla="*/ 1153038 w 12205625"/>
              <a:gd name="connsiteY562" fmla="*/ 6209447 h 6867525"/>
              <a:gd name="connsiteX563" fmla="*/ 1155478 w 12205625"/>
              <a:gd name="connsiteY563" fmla="*/ 6204836 h 6867525"/>
              <a:gd name="connsiteX564" fmla="*/ 1157019 w 12205625"/>
              <a:gd name="connsiteY564" fmla="*/ 6199746 h 6867525"/>
              <a:gd name="connsiteX565" fmla="*/ 1157556 w 12205625"/>
              <a:gd name="connsiteY565" fmla="*/ 6194287 h 6867525"/>
              <a:gd name="connsiteX566" fmla="*/ 1157019 w 12205625"/>
              <a:gd name="connsiteY566" fmla="*/ 6188829 h 6867525"/>
              <a:gd name="connsiteX567" fmla="*/ 1155478 w 12205625"/>
              <a:gd name="connsiteY567" fmla="*/ 6183738 h 6867525"/>
              <a:gd name="connsiteX568" fmla="*/ 1153038 w 12205625"/>
              <a:gd name="connsiteY568" fmla="*/ 6179127 h 6867525"/>
              <a:gd name="connsiteX569" fmla="*/ 1149800 w 12205625"/>
              <a:gd name="connsiteY569" fmla="*/ 6175106 h 6867525"/>
              <a:gd name="connsiteX570" fmla="*/ 1145871 w 12205625"/>
              <a:gd name="connsiteY570" fmla="*/ 6171785 h 6867525"/>
              <a:gd name="connsiteX571" fmla="*/ 1141353 w 12205625"/>
              <a:gd name="connsiteY571" fmla="*/ 6169276 h 6867525"/>
              <a:gd name="connsiteX572" fmla="*/ 1136350 w 12205625"/>
              <a:gd name="connsiteY572" fmla="*/ 6167690 h 6867525"/>
              <a:gd name="connsiteX573" fmla="*/ 1130966 w 12205625"/>
              <a:gd name="connsiteY573" fmla="*/ 6167136 h 6867525"/>
              <a:gd name="connsiteX574" fmla="*/ 587603 w 12205625"/>
              <a:gd name="connsiteY574" fmla="*/ 6130388 h 6867525"/>
              <a:gd name="connsiteX575" fmla="*/ 582187 w 12205625"/>
              <a:gd name="connsiteY575" fmla="*/ 6131131 h 6867525"/>
              <a:gd name="connsiteX576" fmla="*/ 577056 w 12205625"/>
              <a:gd name="connsiteY576" fmla="*/ 6133358 h 6867525"/>
              <a:gd name="connsiteX577" fmla="*/ 474730 w 12205625"/>
              <a:gd name="connsiteY577" fmla="*/ 6195414 h 6867525"/>
              <a:gd name="connsiteX578" fmla="*/ 470330 w 12205625"/>
              <a:gd name="connsiteY578" fmla="*/ 6198968 h 6867525"/>
              <a:gd name="connsiteX579" fmla="*/ 467011 w 12205625"/>
              <a:gd name="connsiteY579" fmla="*/ 6203523 h 6867525"/>
              <a:gd name="connsiteX580" fmla="*/ 464915 w 12205625"/>
              <a:gd name="connsiteY580" fmla="*/ 6208820 h 6867525"/>
              <a:gd name="connsiteX581" fmla="*/ 464185 w 12205625"/>
              <a:gd name="connsiteY581" fmla="*/ 6214601 h 6867525"/>
              <a:gd name="connsiteX582" fmla="*/ 464185 w 12205625"/>
              <a:gd name="connsiteY582" fmla="*/ 6338713 h 6867525"/>
              <a:gd name="connsiteX583" fmla="*/ 464915 w 12205625"/>
              <a:gd name="connsiteY583" fmla="*/ 6344494 h 6867525"/>
              <a:gd name="connsiteX584" fmla="*/ 467011 w 12205625"/>
              <a:gd name="connsiteY584" fmla="*/ 6349791 h 6867525"/>
              <a:gd name="connsiteX585" fmla="*/ 470330 w 12205625"/>
              <a:gd name="connsiteY585" fmla="*/ 6354347 h 6867525"/>
              <a:gd name="connsiteX586" fmla="*/ 474731 w 12205625"/>
              <a:gd name="connsiteY586" fmla="*/ 6357902 h 6867525"/>
              <a:gd name="connsiteX587" fmla="*/ 577056 w 12205625"/>
              <a:gd name="connsiteY587" fmla="*/ 6419958 h 6867525"/>
              <a:gd name="connsiteX588" fmla="*/ 582187 w 12205625"/>
              <a:gd name="connsiteY588" fmla="*/ 6422184 h 6867525"/>
              <a:gd name="connsiteX589" fmla="*/ 587603 w 12205625"/>
              <a:gd name="connsiteY589" fmla="*/ 6422926 h 6867525"/>
              <a:gd name="connsiteX590" fmla="*/ 593018 w 12205625"/>
              <a:gd name="connsiteY590" fmla="*/ 6422184 h 6867525"/>
              <a:gd name="connsiteX591" fmla="*/ 598149 w 12205625"/>
              <a:gd name="connsiteY591" fmla="*/ 6419958 h 6867525"/>
              <a:gd name="connsiteX592" fmla="*/ 693908 w 12205625"/>
              <a:gd name="connsiteY592" fmla="*/ 6361884 h 6867525"/>
              <a:gd name="connsiteX593" fmla="*/ 700475 w 12205625"/>
              <a:gd name="connsiteY593" fmla="*/ 6357902 h 6867525"/>
              <a:gd name="connsiteX594" fmla="*/ 704876 w 12205625"/>
              <a:gd name="connsiteY594" fmla="*/ 6354347 h 6867525"/>
              <a:gd name="connsiteX595" fmla="*/ 708195 w 12205625"/>
              <a:gd name="connsiteY595" fmla="*/ 6349791 h 6867525"/>
              <a:gd name="connsiteX596" fmla="*/ 710290 w 12205625"/>
              <a:gd name="connsiteY596" fmla="*/ 6344494 h 6867525"/>
              <a:gd name="connsiteX597" fmla="*/ 711020 w 12205625"/>
              <a:gd name="connsiteY597" fmla="*/ 6338713 h 6867525"/>
              <a:gd name="connsiteX598" fmla="*/ 711020 w 12205625"/>
              <a:gd name="connsiteY598" fmla="*/ 6287037 h 6867525"/>
              <a:gd name="connsiteX599" fmla="*/ 587603 w 12205625"/>
              <a:gd name="connsiteY599" fmla="*/ 6361884 h 6867525"/>
              <a:gd name="connsiteX600" fmla="*/ 518967 w 12205625"/>
              <a:gd name="connsiteY600" fmla="*/ 6320260 h 6867525"/>
              <a:gd name="connsiteX601" fmla="*/ 519004 w 12205625"/>
              <a:gd name="connsiteY601" fmla="*/ 6235036 h 6867525"/>
              <a:gd name="connsiteX602" fmla="*/ 582538 w 12205625"/>
              <a:gd name="connsiteY602" fmla="*/ 6196483 h 6867525"/>
              <a:gd name="connsiteX603" fmla="*/ 585000 w 12205625"/>
              <a:gd name="connsiteY603" fmla="*/ 6195414 h 6867525"/>
              <a:gd name="connsiteX604" fmla="*/ 587603 w 12205625"/>
              <a:gd name="connsiteY604" fmla="*/ 6195057 h 6867525"/>
              <a:gd name="connsiteX605" fmla="*/ 590208 w 12205625"/>
              <a:gd name="connsiteY605" fmla="*/ 6195414 h 6867525"/>
              <a:gd name="connsiteX606" fmla="*/ 592674 w 12205625"/>
              <a:gd name="connsiteY606" fmla="*/ 6196485 h 6867525"/>
              <a:gd name="connsiteX607" fmla="*/ 656238 w 12205625"/>
              <a:gd name="connsiteY607" fmla="*/ 6235034 h 6867525"/>
              <a:gd name="connsiteX608" fmla="*/ 596138 w 12205625"/>
              <a:gd name="connsiteY608" fmla="*/ 6271483 h 6867525"/>
              <a:gd name="connsiteX609" fmla="*/ 591986 w 12205625"/>
              <a:gd name="connsiteY609" fmla="*/ 6273284 h 6867525"/>
              <a:gd name="connsiteX610" fmla="*/ 587603 w 12205625"/>
              <a:gd name="connsiteY610" fmla="*/ 6273884 h 6867525"/>
              <a:gd name="connsiteX611" fmla="*/ 583221 w 12205625"/>
              <a:gd name="connsiteY611" fmla="*/ 6273283 h 6867525"/>
              <a:gd name="connsiteX612" fmla="*/ 579069 w 12205625"/>
              <a:gd name="connsiteY612" fmla="*/ 6271481 h 6867525"/>
              <a:gd name="connsiteX613" fmla="*/ 536076 w 12205625"/>
              <a:gd name="connsiteY613" fmla="*/ 6245395 h 6867525"/>
              <a:gd name="connsiteX614" fmla="*/ 536046 w 12205625"/>
              <a:gd name="connsiteY614" fmla="*/ 6309859 h 6867525"/>
              <a:gd name="connsiteX615" fmla="*/ 587603 w 12205625"/>
              <a:gd name="connsiteY615" fmla="*/ 6341127 h 6867525"/>
              <a:gd name="connsiteX616" fmla="*/ 698481 w 12205625"/>
              <a:gd name="connsiteY616" fmla="*/ 6273884 h 6867525"/>
              <a:gd name="connsiteX617" fmla="*/ 711020 w 12205625"/>
              <a:gd name="connsiteY617" fmla="*/ 6266280 h 6867525"/>
              <a:gd name="connsiteX618" fmla="*/ 711020 w 12205625"/>
              <a:gd name="connsiteY618" fmla="*/ 6214601 h 6867525"/>
              <a:gd name="connsiteX619" fmla="*/ 710290 w 12205625"/>
              <a:gd name="connsiteY619" fmla="*/ 6208820 h 6867525"/>
              <a:gd name="connsiteX620" fmla="*/ 708195 w 12205625"/>
              <a:gd name="connsiteY620" fmla="*/ 6203523 h 6867525"/>
              <a:gd name="connsiteX621" fmla="*/ 704876 w 12205625"/>
              <a:gd name="connsiteY621" fmla="*/ 6198968 h 6867525"/>
              <a:gd name="connsiteX622" fmla="*/ 700475 w 12205625"/>
              <a:gd name="connsiteY622" fmla="*/ 6195413 h 6867525"/>
              <a:gd name="connsiteX623" fmla="*/ 699887 w 12205625"/>
              <a:gd name="connsiteY623" fmla="*/ 6195057 h 6867525"/>
              <a:gd name="connsiteX624" fmla="*/ 598149 w 12205625"/>
              <a:gd name="connsiteY624" fmla="*/ 6133358 h 6867525"/>
              <a:gd name="connsiteX625" fmla="*/ 593018 w 12205625"/>
              <a:gd name="connsiteY625" fmla="*/ 6131131 h 6867525"/>
              <a:gd name="connsiteX626" fmla="*/ 587603 w 12205625"/>
              <a:gd name="connsiteY626" fmla="*/ 6130388 h 6867525"/>
              <a:gd name="connsiteX627" fmla="*/ 0 w 12205625"/>
              <a:gd name="connsiteY627" fmla="*/ 0 h 6867525"/>
              <a:gd name="connsiteX628" fmla="*/ 12204708 w 12205625"/>
              <a:gd name="connsiteY628" fmla="*/ 0 h 6867525"/>
              <a:gd name="connsiteX629" fmla="*/ 12204708 w 12205625"/>
              <a:gd name="connsiteY629" fmla="*/ 6867525 h 6867525"/>
              <a:gd name="connsiteX630" fmla="*/ 6353 w 12205625"/>
              <a:gd name="connsiteY630" fmla="*/ 6867525 h 6867525"/>
              <a:gd name="connsiteX631" fmla="*/ 0 w 12205625"/>
              <a:gd name="connsiteY631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</a:cxnLst>
            <a:rect l="l" t="t" r="r" b="b"/>
            <a:pathLst>
              <a:path w="12205625" h="6867525">
                <a:moveTo>
                  <a:pt x="1014246" y="6278790"/>
                </a:moveTo>
                <a:lnTo>
                  <a:pt x="1019019" y="6279093"/>
                </a:lnTo>
                <a:lnTo>
                  <a:pt x="1023628" y="6280006"/>
                </a:lnTo>
                <a:lnTo>
                  <a:pt x="1028012" y="6281532"/>
                </a:lnTo>
                <a:lnTo>
                  <a:pt x="1032110" y="6283675"/>
                </a:lnTo>
                <a:lnTo>
                  <a:pt x="1035860" y="6286440"/>
                </a:lnTo>
                <a:lnTo>
                  <a:pt x="1039201" y="6289831"/>
                </a:lnTo>
                <a:lnTo>
                  <a:pt x="1042072" y="6293851"/>
                </a:lnTo>
                <a:lnTo>
                  <a:pt x="1044412" y="6298506"/>
                </a:lnTo>
                <a:lnTo>
                  <a:pt x="1046159" y="6303798"/>
                </a:lnTo>
                <a:lnTo>
                  <a:pt x="1047252" y="6309733"/>
                </a:lnTo>
                <a:lnTo>
                  <a:pt x="1047630" y="6316313"/>
                </a:lnTo>
                <a:lnTo>
                  <a:pt x="1047252" y="6322901"/>
                </a:lnTo>
                <a:lnTo>
                  <a:pt x="1046159" y="6328855"/>
                </a:lnTo>
                <a:lnTo>
                  <a:pt x="1044412" y="6334177"/>
                </a:lnTo>
                <a:lnTo>
                  <a:pt x="1042072" y="6338867"/>
                </a:lnTo>
                <a:lnTo>
                  <a:pt x="1039201" y="6342928"/>
                </a:lnTo>
                <a:lnTo>
                  <a:pt x="1035860" y="6346360"/>
                </a:lnTo>
                <a:lnTo>
                  <a:pt x="1032110" y="6349166"/>
                </a:lnTo>
                <a:lnTo>
                  <a:pt x="1028012" y="6351345"/>
                </a:lnTo>
                <a:lnTo>
                  <a:pt x="1023628" y="6352900"/>
                </a:lnTo>
                <a:lnTo>
                  <a:pt x="1019019" y="6353832"/>
                </a:lnTo>
                <a:lnTo>
                  <a:pt x="1014246" y="6354143"/>
                </a:lnTo>
                <a:lnTo>
                  <a:pt x="1009546" y="6353825"/>
                </a:lnTo>
                <a:lnTo>
                  <a:pt x="1004998" y="6352875"/>
                </a:lnTo>
                <a:lnTo>
                  <a:pt x="1000662" y="6351296"/>
                </a:lnTo>
                <a:lnTo>
                  <a:pt x="996602" y="6349089"/>
                </a:lnTo>
                <a:lnTo>
                  <a:pt x="992880" y="6346257"/>
                </a:lnTo>
                <a:lnTo>
                  <a:pt x="989560" y="6342805"/>
                </a:lnTo>
                <a:lnTo>
                  <a:pt x="986702" y="6338733"/>
                </a:lnTo>
                <a:lnTo>
                  <a:pt x="984371" y="6334045"/>
                </a:lnTo>
                <a:lnTo>
                  <a:pt x="982628" y="6328744"/>
                </a:lnTo>
                <a:lnTo>
                  <a:pt x="981537" y="6322833"/>
                </a:lnTo>
                <a:lnTo>
                  <a:pt x="981159" y="6316313"/>
                </a:lnTo>
                <a:lnTo>
                  <a:pt x="981537" y="6309733"/>
                </a:lnTo>
                <a:lnTo>
                  <a:pt x="982628" y="6303798"/>
                </a:lnTo>
                <a:lnTo>
                  <a:pt x="984371" y="6298506"/>
                </a:lnTo>
                <a:lnTo>
                  <a:pt x="986702" y="6293851"/>
                </a:lnTo>
                <a:lnTo>
                  <a:pt x="989560" y="6289831"/>
                </a:lnTo>
                <a:lnTo>
                  <a:pt x="992880" y="6286440"/>
                </a:lnTo>
                <a:lnTo>
                  <a:pt x="996602" y="6283675"/>
                </a:lnTo>
                <a:lnTo>
                  <a:pt x="1000662" y="6281532"/>
                </a:lnTo>
                <a:lnTo>
                  <a:pt x="1004998" y="6280006"/>
                </a:lnTo>
                <a:lnTo>
                  <a:pt x="1009546" y="6279093"/>
                </a:lnTo>
                <a:lnTo>
                  <a:pt x="1014246" y="6278790"/>
                </a:lnTo>
                <a:close/>
                <a:moveTo>
                  <a:pt x="1356301" y="6278789"/>
                </a:moveTo>
                <a:lnTo>
                  <a:pt x="1360934" y="6279086"/>
                </a:lnTo>
                <a:lnTo>
                  <a:pt x="1365442" y="6279980"/>
                </a:lnTo>
                <a:lnTo>
                  <a:pt x="1369758" y="6281481"/>
                </a:lnTo>
                <a:lnTo>
                  <a:pt x="1373815" y="6283597"/>
                </a:lnTo>
                <a:lnTo>
                  <a:pt x="1377548" y="6286336"/>
                </a:lnTo>
                <a:lnTo>
                  <a:pt x="1380889" y="6289706"/>
                </a:lnTo>
                <a:lnTo>
                  <a:pt x="1383771" y="6293715"/>
                </a:lnTo>
                <a:lnTo>
                  <a:pt x="1386130" y="6298373"/>
                </a:lnTo>
                <a:lnTo>
                  <a:pt x="1387896" y="6303686"/>
                </a:lnTo>
                <a:lnTo>
                  <a:pt x="1389005" y="6309663"/>
                </a:lnTo>
                <a:cubicBezTo>
                  <a:pt x="1389133" y="6311880"/>
                  <a:pt x="1389262" y="6314096"/>
                  <a:pt x="1389390" y="6316313"/>
                </a:cubicBezTo>
                <a:cubicBezTo>
                  <a:pt x="1389262" y="6318532"/>
                  <a:pt x="1389133" y="6320751"/>
                  <a:pt x="1389005" y="6322970"/>
                </a:cubicBezTo>
                <a:lnTo>
                  <a:pt x="1387896" y="6328967"/>
                </a:lnTo>
                <a:lnTo>
                  <a:pt x="1386130" y="6334309"/>
                </a:lnTo>
                <a:lnTo>
                  <a:pt x="1383771" y="6339003"/>
                </a:lnTo>
                <a:lnTo>
                  <a:pt x="1380889" y="6343052"/>
                </a:lnTo>
                <a:lnTo>
                  <a:pt x="1377548" y="6346464"/>
                </a:lnTo>
                <a:lnTo>
                  <a:pt x="1373815" y="6349243"/>
                </a:lnTo>
                <a:lnTo>
                  <a:pt x="1369758" y="6351394"/>
                </a:lnTo>
                <a:lnTo>
                  <a:pt x="1365442" y="6352925"/>
                </a:lnTo>
                <a:lnTo>
                  <a:pt x="1360934" y="6353839"/>
                </a:lnTo>
                <a:lnTo>
                  <a:pt x="1356301" y="6354142"/>
                </a:lnTo>
                <a:lnTo>
                  <a:pt x="1351735" y="6353832"/>
                </a:lnTo>
                <a:lnTo>
                  <a:pt x="1347269" y="6352900"/>
                </a:lnTo>
                <a:lnTo>
                  <a:pt x="1342973" y="6351345"/>
                </a:lnTo>
                <a:lnTo>
                  <a:pt x="1338918" y="6349165"/>
                </a:lnTo>
                <a:lnTo>
                  <a:pt x="1335175" y="6346360"/>
                </a:lnTo>
                <a:lnTo>
                  <a:pt x="1331814" y="6342928"/>
                </a:lnTo>
                <a:lnTo>
                  <a:pt x="1328906" y="6338868"/>
                </a:lnTo>
                <a:lnTo>
                  <a:pt x="1326521" y="6334177"/>
                </a:lnTo>
                <a:lnTo>
                  <a:pt x="1324731" y="6328855"/>
                </a:lnTo>
                <a:lnTo>
                  <a:pt x="1323604" y="6322901"/>
                </a:lnTo>
                <a:cubicBezTo>
                  <a:pt x="1323474" y="6320705"/>
                  <a:pt x="1323343" y="6318509"/>
                  <a:pt x="1323213" y="6316313"/>
                </a:cubicBezTo>
                <a:cubicBezTo>
                  <a:pt x="1323343" y="6314096"/>
                  <a:pt x="1323474" y="6311880"/>
                  <a:pt x="1323604" y="6309663"/>
                </a:cubicBezTo>
                <a:lnTo>
                  <a:pt x="1324731" y="6303686"/>
                </a:lnTo>
                <a:lnTo>
                  <a:pt x="1326521" y="6298373"/>
                </a:lnTo>
                <a:lnTo>
                  <a:pt x="1328906" y="6293715"/>
                </a:lnTo>
                <a:lnTo>
                  <a:pt x="1331814" y="6289706"/>
                </a:lnTo>
                <a:lnTo>
                  <a:pt x="1335175" y="6286336"/>
                </a:lnTo>
                <a:lnTo>
                  <a:pt x="1338918" y="6283597"/>
                </a:lnTo>
                <a:lnTo>
                  <a:pt x="1342973" y="6281481"/>
                </a:lnTo>
                <a:lnTo>
                  <a:pt x="1347269" y="6279980"/>
                </a:lnTo>
                <a:lnTo>
                  <a:pt x="1351735" y="6279086"/>
                </a:lnTo>
                <a:lnTo>
                  <a:pt x="1356301" y="6278789"/>
                </a:lnTo>
                <a:close/>
                <a:moveTo>
                  <a:pt x="1112787" y="6240657"/>
                </a:moveTo>
                <a:lnTo>
                  <a:pt x="1111239" y="6240980"/>
                </a:lnTo>
                <a:lnTo>
                  <a:pt x="1109975" y="6241860"/>
                </a:lnTo>
                <a:lnTo>
                  <a:pt x="1109122" y="6243166"/>
                </a:lnTo>
                <a:lnTo>
                  <a:pt x="1108810" y="6244764"/>
                </a:lnTo>
                <a:lnTo>
                  <a:pt x="1108810" y="6388168"/>
                </a:lnTo>
                <a:lnTo>
                  <a:pt x="1109122" y="6389767"/>
                </a:lnTo>
                <a:lnTo>
                  <a:pt x="1109975" y="6391072"/>
                </a:lnTo>
                <a:lnTo>
                  <a:pt x="1111239" y="6391952"/>
                </a:lnTo>
                <a:lnTo>
                  <a:pt x="1112787" y="6392275"/>
                </a:lnTo>
                <a:lnTo>
                  <a:pt x="1149737" y="6392275"/>
                </a:lnTo>
                <a:lnTo>
                  <a:pt x="1151285" y="6391952"/>
                </a:lnTo>
                <a:lnTo>
                  <a:pt x="1152550" y="6391072"/>
                </a:lnTo>
                <a:lnTo>
                  <a:pt x="1153403" y="6389767"/>
                </a:lnTo>
                <a:lnTo>
                  <a:pt x="1153715" y="6388168"/>
                </a:lnTo>
                <a:lnTo>
                  <a:pt x="1153715" y="6244764"/>
                </a:lnTo>
                <a:lnTo>
                  <a:pt x="1153403" y="6243166"/>
                </a:lnTo>
                <a:lnTo>
                  <a:pt x="1152550" y="6241860"/>
                </a:lnTo>
                <a:lnTo>
                  <a:pt x="1151285" y="6240980"/>
                </a:lnTo>
                <a:lnTo>
                  <a:pt x="1149737" y="6240657"/>
                </a:lnTo>
                <a:lnTo>
                  <a:pt x="1112787" y="6240657"/>
                </a:lnTo>
                <a:close/>
                <a:moveTo>
                  <a:pt x="1261092" y="6239132"/>
                </a:moveTo>
                <a:lnTo>
                  <a:pt x="1256377" y="6239375"/>
                </a:lnTo>
                <a:lnTo>
                  <a:pt x="1251232" y="6240162"/>
                </a:lnTo>
                <a:lnTo>
                  <a:pt x="1245866" y="6241577"/>
                </a:lnTo>
                <a:lnTo>
                  <a:pt x="1240486" y="6243708"/>
                </a:lnTo>
                <a:lnTo>
                  <a:pt x="1235300" y="6246639"/>
                </a:lnTo>
                <a:lnTo>
                  <a:pt x="1230515" y="6250458"/>
                </a:lnTo>
                <a:lnTo>
                  <a:pt x="1226340" y="6255248"/>
                </a:lnTo>
                <a:lnTo>
                  <a:pt x="1222981" y="6261097"/>
                </a:lnTo>
                <a:lnTo>
                  <a:pt x="1222981" y="6244763"/>
                </a:lnTo>
                <a:lnTo>
                  <a:pt x="1222669" y="6243165"/>
                </a:lnTo>
                <a:lnTo>
                  <a:pt x="1221816" y="6241860"/>
                </a:lnTo>
                <a:lnTo>
                  <a:pt x="1220552" y="6240979"/>
                </a:lnTo>
                <a:lnTo>
                  <a:pt x="1219003" y="6240657"/>
                </a:lnTo>
                <a:lnTo>
                  <a:pt x="1183531" y="6240657"/>
                </a:lnTo>
                <a:lnTo>
                  <a:pt x="1181983" y="6240979"/>
                </a:lnTo>
                <a:lnTo>
                  <a:pt x="1180719" y="6241860"/>
                </a:lnTo>
                <a:lnTo>
                  <a:pt x="1179866" y="6243165"/>
                </a:lnTo>
                <a:lnTo>
                  <a:pt x="1179554" y="6244763"/>
                </a:lnTo>
                <a:lnTo>
                  <a:pt x="1179554" y="6388167"/>
                </a:lnTo>
                <a:lnTo>
                  <a:pt x="1179866" y="6389767"/>
                </a:lnTo>
                <a:lnTo>
                  <a:pt x="1180719" y="6391073"/>
                </a:lnTo>
                <a:lnTo>
                  <a:pt x="1181983" y="6391953"/>
                </a:lnTo>
                <a:lnTo>
                  <a:pt x="1183531" y="6392276"/>
                </a:lnTo>
                <a:lnTo>
                  <a:pt x="1220480" y="6392276"/>
                </a:lnTo>
                <a:lnTo>
                  <a:pt x="1222029" y="6391953"/>
                </a:lnTo>
                <a:lnTo>
                  <a:pt x="1223293" y="6391073"/>
                </a:lnTo>
                <a:lnTo>
                  <a:pt x="1224145" y="6389767"/>
                </a:lnTo>
                <a:cubicBezTo>
                  <a:pt x="1224249" y="6389234"/>
                  <a:pt x="1224354" y="6388700"/>
                  <a:pt x="1224458" y="6388167"/>
                </a:cubicBezTo>
                <a:lnTo>
                  <a:pt x="1224458" y="6326074"/>
                </a:lnTo>
                <a:cubicBezTo>
                  <a:pt x="1224589" y="6323485"/>
                  <a:pt x="1224719" y="6320895"/>
                  <a:pt x="1224850" y="6318306"/>
                </a:cubicBezTo>
                <a:lnTo>
                  <a:pt x="1225983" y="6311451"/>
                </a:lnTo>
                <a:lnTo>
                  <a:pt x="1227790" y="6305471"/>
                </a:lnTo>
                <a:lnTo>
                  <a:pt x="1230208" y="6300332"/>
                </a:lnTo>
                <a:lnTo>
                  <a:pt x="1233170" y="6295995"/>
                </a:lnTo>
                <a:lnTo>
                  <a:pt x="1236612" y="6292426"/>
                </a:lnTo>
                <a:lnTo>
                  <a:pt x="1240468" y="6289587"/>
                </a:lnTo>
                <a:lnTo>
                  <a:pt x="1244673" y="6287442"/>
                </a:lnTo>
                <a:lnTo>
                  <a:pt x="1249162" y="6285955"/>
                </a:lnTo>
                <a:lnTo>
                  <a:pt x="1253869" y="6285090"/>
                </a:lnTo>
                <a:lnTo>
                  <a:pt x="1258729" y="6284809"/>
                </a:lnTo>
                <a:lnTo>
                  <a:pt x="1260952" y="6284837"/>
                </a:lnTo>
                <a:lnTo>
                  <a:pt x="1263083" y="6284927"/>
                </a:lnTo>
                <a:lnTo>
                  <a:pt x="1265174" y="6285090"/>
                </a:lnTo>
                <a:lnTo>
                  <a:pt x="1267247" y="6285334"/>
                </a:lnTo>
                <a:lnTo>
                  <a:pt x="1268824" y="6285238"/>
                </a:lnTo>
                <a:lnTo>
                  <a:pt x="1269700" y="6284809"/>
                </a:lnTo>
                <a:lnTo>
                  <a:pt x="1270201" y="6284564"/>
                </a:lnTo>
                <a:lnTo>
                  <a:pt x="1271230" y="6283414"/>
                </a:lnTo>
                <a:lnTo>
                  <a:pt x="1271768" y="6281888"/>
                </a:lnTo>
                <a:lnTo>
                  <a:pt x="1274797" y="6261097"/>
                </a:lnTo>
                <a:lnTo>
                  <a:pt x="1277103" y="6245263"/>
                </a:lnTo>
                <a:cubicBezTo>
                  <a:pt x="1277082" y="6244739"/>
                  <a:pt x="1277061" y="6244216"/>
                  <a:pt x="1277040" y="6243692"/>
                </a:cubicBezTo>
                <a:lnTo>
                  <a:pt x="1270665" y="6240006"/>
                </a:lnTo>
                <a:lnTo>
                  <a:pt x="1263927" y="6239237"/>
                </a:lnTo>
                <a:lnTo>
                  <a:pt x="1261092" y="6239132"/>
                </a:lnTo>
                <a:close/>
                <a:moveTo>
                  <a:pt x="1023405" y="6236996"/>
                </a:moveTo>
                <a:lnTo>
                  <a:pt x="1016606" y="6237334"/>
                </a:lnTo>
                <a:lnTo>
                  <a:pt x="1010217" y="6238297"/>
                </a:lnTo>
                <a:lnTo>
                  <a:pt x="1004279" y="6239809"/>
                </a:lnTo>
                <a:lnTo>
                  <a:pt x="998829" y="6241797"/>
                </a:lnTo>
                <a:lnTo>
                  <a:pt x="993906" y="6244183"/>
                </a:lnTo>
                <a:lnTo>
                  <a:pt x="989551" y="6246894"/>
                </a:lnTo>
                <a:lnTo>
                  <a:pt x="985800" y="6249853"/>
                </a:lnTo>
                <a:lnTo>
                  <a:pt x="980272" y="6256215"/>
                </a:lnTo>
                <a:lnTo>
                  <a:pt x="980272" y="6244763"/>
                </a:lnTo>
                <a:cubicBezTo>
                  <a:pt x="980168" y="6244230"/>
                  <a:pt x="980063" y="6243698"/>
                  <a:pt x="979959" y="6243165"/>
                </a:cubicBezTo>
                <a:lnTo>
                  <a:pt x="979107" y="6241860"/>
                </a:lnTo>
                <a:lnTo>
                  <a:pt x="977842" y="6240979"/>
                </a:lnTo>
                <a:lnTo>
                  <a:pt x="976293" y="6240657"/>
                </a:lnTo>
                <a:lnTo>
                  <a:pt x="940822" y="6240657"/>
                </a:lnTo>
                <a:lnTo>
                  <a:pt x="939273" y="6240979"/>
                </a:lnTo>
                <a:lnTo>
                  <a:pt x="938008" y="6241860"/>
                </a:lnTo>
                <a:lnTo>
                  <a:pt x="937156" y="6243165"/>
                </a:lnTo>
                <a:cubicBezTo>
                  <a:pt x="937052" y="6243698"/>
                  <a:pt x="936947" y="6244230"/>
                  <a:pt x="936843" y="6244763"/>
                </a:cubicBezTo>
                <a:lnTo>
                  <a:pt x="936843" y="6446130"/>
                </a:lnTo>
                <a:cubicBezTo>
                  <a:pt x="936947" y="6446663"/>
                  <a:pt x="937052" y="6447196"/>
                  <a:pt x="937156" y="6447729"/>
                </a:cubicBezTo>
                <a:lnTo>
                  <a:pt x="938008" y="6449034"/>
                </a:lnTo>
                <a:lnTo>
                  <a:pt x="939273" y="6449914"/>
                </a:lnTo>
                <a:lnTo>
                  <a:pt x="940822" y="6450237"/>
                </a:lnTo>
                <a:lnTo>
                  <a:pt x="977771" y="6450237"/>
                </a:lnTo>
                <a:lnTo>
                  <a:pt x="979319" y="6449914"/>
                </a:lnTo>
                <a:lnTo>
                  <a:pt x="980583" y="6449034"/>
                </a:lnTo>
                <a:lnTo>
                  <a:pt x="981436" y="6447729"/>
                </a:lnTo>
                <a:lnTo>
                  <a:pt x="981748" y="6446130"/>
                </a:lnTo>
                <a:lnTo>
                  <a:pt x="981748" y="6380378"/>
                </a:lnTo>
                <a:lnTo>
                  <a:pt x="984638" y="6383485"/>
                </a:lnTo>
                <a:lnTo>
                  <a:pt x="988188" y="6386364"/>
                </a:lnTo>
                <a:lnTo>
                  <a:pt x="992369" y="6388958"/>
                </a:lnTo>
                <a:lnTo>
                  <a:pt x="997148" y="6391208"/>
                </a:lnTo>
                <a:lnTo>
                  <a:pt x="1002495" y="6393057"/>
                </a:lnTo>
                <a:lnTo>
                  <a:pt x="1008379" y="6394450"/>
                </a:lnTo>
                <a:lnTo>
                  <a:pt x="1014768" y="6395327"/>
                </a:lnTo>
                <a:lnTo>
                  <a:pt x="1021631" y="6395632"/>
                </a:lnTo>
                <a:lnTo>
                  <a:pt x="1027154" y="6395428"/>
                </a:lnTo>
                <a:lnTo>
                  <a:pt x="1032518" y="6394823"/>
                </a:lnTo>
                <a:lnTo>
                  <a:pt x="1037712" y="6393828"/>
                </a:lnTo>
                <a:lnTo>
                  <a:pt x="1042728" y="6392455"/>
                </a:lnTo>
                <a:lnTo>
                  <a:pt x="1047556" y="6390715"/>
                </a:lnTo>
                <a:lnTo>
                  <a:pt x="1052186" y="6388620"/>
                </a:lnTo>
                <a:lnTo>
                  <a:pt x="1056609" y="6386181"/>
                </a:lnTo>
                <a:lnTo>
                  <a:pt x="1060815" y="6383409"/>
                </a:lnTo>
                <a:lnTo>
                  <a:pt x="1064716" y="6380378"/>
                </a:lnTo>
                <a:lnTo>
                  <a:pt x="1068540" y="6376912"/>
                </a:lnTo>
                <a:lnTo>
                  <a:pt x="1072040" y="6373209"/>
                </a:lnTo>
                <a:lnTo>
                  <a:pt x="1075285" y="6369219"/>
                </a:lnTo>
                <a:lnTo>
                  <a:pt x="1078266" y="6364953"/>
                </a:lnTo>
                <a:lnTo>
                  <a:pt x="1080974" y="6360423"/>
                </a:lnTo>
                <a:lnTo>
                  <a:pt x="1083399" y="6355639"/>
                </a:lnTo>
                <a:lnTo>
                  <a:pt x="1084033" y="6354143"/>
                </a:lnTo>
                <a:lnTo>
                  <a:pt x="1087361" y="6345356"/>
                </a:lnTo>
                <a:lnTo>
                  <a:pt x="1088880" y="6339880"/>
                </a:lnTo>
                <a:lnTo>
                  <a:pt x="1090080" y="6334177"/>
                </a:lnTo>
                <a:lnTo>
                  <a:pt x="1090944" y="6328315"/>
                </a:lnTo>
                <a:lnTo>
                  <a:pt x="1091472" y="6322249"/>
                </a:lnTo>
                <a:cubicBezTo>
                  <a:pt x="1091531" y="6320169"/>
                  <a:pt x="1091591" y="6318089"/>
                  <a:pt x="1091650" y="6316009"/>
                </a:cubicBezTo>
                <a:lnTo>
                  <a:pt x="1091491" y="6309886"/>
                </a:lnTo>
                <a:cubicBezTo>
                  <a:pt x="1091334" y="6307898"/>
                  <a:pt x="1091176" y="6305911"/>
                  <a:pt x="1091019" y="6303923"/>
                </a:cubicBezTo>
                <a:lnTo>
                  <a:pt x="1090238" y="6298132"/>
                </a:lnTo>
                <a:lnTo>
                  <a:pt x="1089154" y="6292525"/>
                </a:lnTo>
                <a:lnTo>
                  <a:pt x="1087771" y="6287115"/>
                </a:lnTo>
                <a:lnTo>
                  <a:pt x="1086094" y="6281913"/>
                </a:lnTo>
                <a:lnTo>
                  <a:pt x="1084862" y="6278790"/>
                </a:lnTo>
                <a:lnTo>
                  <a:pt x="1084129" y="6276931"/>
                </a:lnTo>
                <a:lnTo>
                  <a:pt x="1081880" y="6272183"/>
                </a:lnTo>
                <a:lnTo>
                  <a:pt x="1079352" y="6267679"/>
                </a:lnTo>
                <a:lnTo>
                  <a:pt x="1076551" y="6263433"/>
                </a:lnTo>
                <a:lnTo>
                  <a:pt x="1073481" y="6259457"/>
                </a:lnTo>
                <a:lnTo>
                  <a:pt x="1070556" y="6256215"/>
                </a:lnTo>
                <a:lnTo>
                  <a:pt x="1066554" y="6252361"/>
                </a:lnTo>
                <a:lnTo>
                  <a:pt x="1062708" y="6249267"/>
                </a:lnTo>
                <a:lnTo>
                  <a:pt x="1058613" y="6246491"/>
                </a:lnTo>
                <a:lnTo>
                  <a:pt x="1054275" y="6244045"/>
                </a:lnTo>
                <a:lnTo>
                  <a:pt x="1049697" y="6241942"/>
                </a:lnTo>
                <a:lnTo>
                  <a:pt x="1044886" y="6240194"/>
                </a:lnTo>
                <a:lnTo>
                  <a:pt x="1039847" y="6238813"/>
                </a:lnTo>
                <a:lnTo>
                  <a:pt x="1034583" y="6237812"/>
                </a:lnTo>
                <a:lnTo>
                  <a:pt x="1029101" y="6237202"/>
                </a:lnTo>
                <a:lnTo>
                  <a:pt x="1023405" y="6236996"/>
                </a:lnTo>
                <a:close/>
                <a:moveTo>
                  <a:pt x="1524474" y="6236081"/>
                </a:moveTo>
                <a:lnTo>
                  <a:pt x="1518900" y="6236268"/>
                </a:lnTo>
                <a:lnTo>
                  <a:pt x="1513439" y="6236823"/>
                </a:lnTo>
                <a:lnTo>
                  <a:pt x="1508104" y="6237736"/>
                </a:lnTo>
                <a:lnTo>
                  <a:pt x="1502907" y="6238997"/>
                </a:lnTo>
                <a:lnTo>
                  <a:pt x="1497861" y="6240598"/>
                </a:lnTo>
                <a:lnTo>
                  <a:pt x="1492978" y="6242529"/>
                </a:lnTo>
                <a:lnTo>
                  <a:pt x="1488271" y="6244779"/>
                </a:lnTo>
                <a:lnTo>
                  <a:pt x="1483751" y="6247341"/>
                </a:lnTo>
                <a:lnTo>
                  <a:pt x="1479433" y="6250204"/>
                </a:lnTo>
                <a:lnTo>
                  <a:pt x="1475328" y="6253359"/>
                </a:lnTo>
                <a:lnTo>
                  <a:pt x="1471448" y="6256796"/>
                </a:lnTo>
                <a:lnTo>
                  <a:pt x="1467808" y="6260506"/>
                </a:lnTo>
                <a:lnTo>
                  <a:pt x="1464417" y="6264480"/>
                </a:lnTo>
                <a:lnTo>
                  <a:pt x="1461291" y="6268707"/>
                </a:lnTo>
                <a:lnTo>
                  <a:pt x="1458440" y="6273179"/>
                </a:lnTo>
                <a:lnTo>
                  <a:pt x="1455878" y="6277886"/>
                </a:lnTo>
                <a:lnTo>
                  <a:pt x="1453616" y="6282819"/>
                </a:lnTo>
                <a:lnTo>
                  <a:pt x="1451663" y="6287986"/>
                </a:lnTo>
                <a:lnTo>
                  <a:pt x="1450047" y="6293322"/>
                </a:lnTo>
                <a:lnTo>
                  <a:pt x="1448764" y="6298874"/>
                </a:lnTo>
                <a:lnTo>
                  <a:pt x="1447832" y="6304614"/>
                </a:lnTo>
                <a:cubicBezTo>
                  <a:pt x="1447642" y="6306587"/>
                  <a:pt x="1447453" y="6308559"/>
                  <a:pt x="1447263" y="6310532"/>
                </a:cubicBezTo>
                <a:lnTo>
                  <a:pt x="1447071" y="6316619"/>
                </a:lnTo>
                <a:cubicBezTo>
                  <a:pt x="1447131" y="6318552"/>
                  <a:pt x="1447192" y="6320485"/>
                  <a:pt x="1447252" y="6322418"/>
                </a:cubicBezTo>
                <a:cubicBezTo>
                  <a:pt x="1447431" y="6324301"/>
                  <a:pt x="1447609" y="6326183"/>
                  <a:pt x="1447788" y="6328066"/>
                </a:cubicBezTo>
                <a:lnTo>
                  <a:pt x="1448667" y="6333554"/>
                </a:lnTo>
                <a:lnTo>
                  <a:pt x="1449877" y="6338874"/>
                </a:lnTo>
                <a:lnTo>
                  <a:pt x="1451408" y="6344017"/>
                </a:lnTo>
                <a:lnTo>
                  <a:pt x="1453247" y="6348975"/>
                </a:lnTo>
                <a:lnTo>
                  <a:pt x="1455383" y="6353738"/>
                </a:lnTo>
                <a:lnTo>
                  <a:pt x="1457805" y="6358299"/>
                </a:lnTo>
                <a:lnTo>
                  <a:pt x="1460500" y="6362650"/>
                </a:lnTo>
                <a:lnTo>
                  <a:pt x="1463458" y="6366781"/>
                </a:lnTo>
                <a:lnTo>
                  <a:pt x="1466666" y="6370685"/>
                </a:lnTo>
                <a:lnTo>
                  <a:pt x="1470114" y="6374352"/>
                </a:lnTo>
                <a:lnTo>
                  <a:pt x="1473789" y="6377775"/>
                </a:lnTo>
                <a:lnTo>
                  <a:pt x="1477681" y="6380944"/>
                </a:lnTo>
                <a:lnTo>
                  <a:pt x="1481778" y="6383852"/>
                </a:lnTo>
                <a:lnTo>
                  <a:pt x="1486067" y="6386489"/>
                </a:lnTo>
                <a:lnTo>
                  <a:pt x="1490538" y="6388849"/>
                </a:lnTo>
                <a:lnTo>
                  <a:pt x="1495179" y="6390921"/>
                </a:lnTo>
                <a:lnTo>
                  <a:pt x="1499979" y="6392697"/>
                </a:lnTo>
                <a:lnTo>
                  <a:pt x="1504925" y="6394170"/>
                </a:lnTo>
                <a:lnTo>
                  <a:pt x="1510007" y="6395330"/>
                </a:lnTo>
                <a:lnTo>
                  <a:pt x="1515213" y="6396169"/>
                </a:lnTo>
                <a:lnTo>
                  <a:pt x="1520531" y="6396678"/>
                </a:lnTo>
                <a:lnTo>
                  <a:pt x="1525950" y="6396850"/>
                </a:lnTo>
                <a:lnTo>
                  <a:pt x="1532781" y="6396579"/>
                </a:lnTo>
                <a:lnTo>
                  <a:pt x="1539291" y="6395786"/>
                </a:lnTo>
                <a:lnTo>
                  <a:pt x="1545476" y="6394505"/>
                </a:lnTo>
                <a:lnTo>
                  <a:pt x="1551333" y="6392768"/>
                </a:lnTo>
                <a:lnTo>
                  <a:pt x="1556859" y="6390607"/>
                </a:lnTo>
                <a:lnTo>
                  <a:pt x="1562051" y="6388054"/>
                </a:lnTo>
                <a:lnTo>
                  <a:pt x="1566905" y="6385143"/>
                </a:lnTo>
                <a:lnTo>
                  <a:pt x="1571417" y="6381905"/>
                </a:lnTo>
                <a:lnTo>
                  <a:pt x="1575585" y="6378373"/>
                </a:lnTo>
                <a:lnTo>
                  <a:pt x="1579405" y="6374579"/>
                </a:lnTo>
                <a:lnTo>
                  <a:pt x="1582873" y="6370556"/>
                </a:lnTo>
                <a:lnTo>
                  <a:pt x="1585988" y="6366337"/>
                </a:lnTo>
                <a:lnTo>
                  <a:pt x="1588744" y="6361953"/>
                </a:lnTo>
                <a:lnTo>
                  <a:pt x="1591139" y="6357438"/>
                </a:lnTo>
                <a:lnTo>
                  <a:pt x="1592589" y="6354142"/>
                </a:lnTo>
                <a:lnTo>
                  <a:pt x="1593169" y="6352822"/>
                </a:lnTo>
                <a:lnTo>
                  <a:pt x="1594832" y="6348140"/>
                </a:lnTo>
                <a:cubicBezTo>
                  <a:pt x="1594894" y="6347588"/>
                  <a:pt x="1594955" y="6347037"/>
                  <a:pt x="1595017" y="6346485"/>
                </a:cubicBezTo>
                <a:lnTo>
                  <a:pt x="1594588" y="6344942"/>
                </a:lnTo>
                <a:lnTo>
                  <a:pt x="1593627" y="6343685"/>
                </a:lnTo>
                <a:lnTo>
                  <a:pt x="1592215" y="6342887"/>
                </a:lnTo>
                <a:lnTo>
                  <a:pt x="1559980" y="6332703"/>
                </a:lnTo>
                <a:lnTo>
                  <a:pt x="1558513" y="6332537"/>
                </a:lnTo>
                <a:lnTo>
                  <a:pt x="1557135" y="6332922"/>
                </a:lnTo>
                <a:lnTo>
                  <a:pt x="1555975" y="6333788"/>
                </a:lnTo>
                <a:lnTo>
                  <a:pt x="1555158" y="6335066"/>
                </a:lnTo>
                <a:lnTo>
                  <a:pt x="1553059" y="6339274"/>
                </a:lnTo>
                <a:lnTo>
                  <a:pt x="1550294" y="6343224"/>
                </a:lnTo>
                <a:lnTo>
                  <a:pt x="1546848" y="6346776"/>
                </a:lnTo>
                <a:lnTo>
                  <a:pt x="1542705" y="6349785"/>
                </a:lnTo>
                <a:lnTo>
                  <a:pt x="1537851" y="6352111"/>
                </a:lnTo>
                <a:lnTo>
                  <a:pt x="1532271" y="6353611"/>
                </a:lnTo>
                <a:lnTo>
                  <a:pt x="1525950" y="6354142"/>
                </a:lnTo>
                <a:lnTo>
                  <a:pt x="1520957" y="6353811"/>
                </a:lnTo>
                <a:lnTo>
                  <a:pt x="1516168" y="6352827"/>
                </a:lnTo>
                <a:lnTo>
                  <a:pt x="1511640" y="6351203"/>
                </a:lnTo>
                <a:lnTo>
                  <a:pt x="1507429" y="6348949"/>
                </a:lnTo>
                <a:lnTo>
                  <a:pt x="1503595" y="6346080"/>
                </a:lnTo>
                <a:lnTo>
                  <a:pt x="1500193" y="6342607"/>
                </a:lnTo>
                <a:lnTo>
                  <a:pt x="1497281" y="6338542"/>
                </a:lnTo>
                <a:lnTo>
                  <a:pt x="1494917" y="6333899"/>
                </a:lnTo>
                <a:lnTo>
                  <a:pt x="1493157" y="6328689"/>
                </a:lnTo>
                <a:lnTo>
                  <a:pt x="1492059" y="6322925"/>
                </a:lnTo>
                <a:cubicBezTo>
                  <a:pt x="1491933" y="6320823"/>
                  <a:pt x="1491806" y="6318721"/>
                  <a:pt x="1491680" y="6316619"/>
                </a:cubicBezTo>
                <a:cubicBezTo>
                  <a:pt x="1491802" y="6314491"/>
                  <a:pt x="1491923" y="6312364"/>
                  <a:pt x="1492045" y="6310236"/>
                </a:cubicBezTo>
                <a:lnTo>
                  <a:pt x="1493105" y="6304410"/>
                </a:lnTo>
                <a:lnTo>
                  <a:pt x="1494809" y="6299150"/>
                </a:lnTo>
                <a:lnTo>
                  <a:pt x="1497103" y="6294468"/>
                </a:lnTo>
                <a:lnTo>
                  <a:pt x="1499937" y="6290374"/>
                </a:lnTo>
                <a:lnTo>
                  <a:pt x="1503259" y="6286880"/>
                </a:lnTo>
                <a:lnTo>
                  <a:pt x="1507016" y="6283997"/>
                </a:lnTo>
                <a:lnTo>
                  <a:pt x="1511157" y="6281735"/>
                </a:lnTo>
                <a:lnTo>
                  <a:pt x="1515629" y="6280106"/>
                </a:lnTo>
                <a:lnTo>
                  <a:pt x="1520381" y="6279120"/>
                </a:lnTo>
                <a:lnTo>
                  <a:pt x="1525361" y="6278789"/>
                </a:lnTo>
                <a:lnTo>
                  <a:pt x="1531642" y="6279308"/>
                </a:lnTo>
                <a:lnTo>
                  <a:pt x="1537118" y="6280776"/>
                </a:lnTo>
                <a:lnTo>
                  <a:pt x="1541824" y="6283064"/>
                </a:lnTo>
                <a:lnTo>
                  <a:pt x="1545800" y="6286041"/>
                </a:lnTo>
                <a:lnTo>
                  <a:pt x="1549081" y="6289575"/>
                </a:lnTo>
                <a:lnTo>
                  <a:pt x="1551705" y="6293537"/>
                </a:lnTo>
                <a:lnTo>
                  <a:pt x="1553709" y="6297795"/>
                </a:lnTo>
                <a:lnTo>
                  <a:pt x="1554514" y="6299099"/>
                </a:lnTo>
                <a:lnTo>
                  <a:pt x="1555675" y="6299988"/>
                </a:lnTo>
                <a:lnTo>
                  <a:pt x="1557062" y="6300390"/>
                </a:lnTo>
                <a:lnTo>
                  <a:pt x="1558545" y="6300231"/>
                </a:lnTo>
                <a:lnTo>
                  <a:pt x="1591335" y="6290024"/>
                </a:lnTo>
                <a:lnTo>
                  <a:pt x="1592748" y="6289235"/>
                </a:lnTo>
                <a:lnTo>
                  <a:pt x="1593713" y="6287986"/>
                </a:lnTo>
                <a:lnTo>
                  <a:pt x="1594150" y="6286448"/>
                </a:lnTo>
                <a:cubicBezTo>
                  <a:pt x="1594092" y="6285897"/>
                  <a:pt x="1594035" y="6285345"/>
                  <a:pt x="1593977" y="6284794"/>
                </a:cubicBezTo>
                <a:lnTo>
                  <a:pt x="1592440" y="6280308"/>
                </a:lnTo>
                <a:lnTo>
                  <a:pt x="1591800" y="6278789"/>
                </a:lnTo>
                <a:lnTo>
                  <a:pt x="1590582" y="6275899"/>
                </a:lnTo>
                <a:lnTo>
                  <a:pt x="1588404" y="6271591"/>
                </a:lnTo>
                <a:lnTo>
                  <a:pt x="1585906" y="6267410"/>
                </a:lnTo>
                <a:lnTo>
                  <a:pt x="1583089" y="6263381"/>
                </a:lnTo>
                <a:lnTo>
                  <a:pt x="1579952" y="6259529"/>
                </a:lnTo>
                <a:lnTo>
                  <a:pt x="1576497" y="6255880"/>
                </a:lnTo>
                <a:lnTo>
                  <a:pt x="1572723" y="6252459"/>
                </a:lnTo>
                <a:lnTo>
                  <a:pt x="1568631" y="6249291"/>
                </a:lnTo>
                <a:lnTo>
                  <a:pt x="1564221" y="6246401"/>
                </a:lnTo>
                <a:lnTo>
                  <a:pt x="1559493" y="6243814"/>
                </a:lnTo>
                <a:lnTo>
                  <a:pt x="1554448" y="6241556"/>
                </a:lnTo>
                <a:lnTo>
                  <a:pt x="1549086" y="6239653"/>
                </a:lnTo>
                <a:lnTo>
                  <a:pt x="1543407" y="6238128"/>
                </a:lnTo>
                <a:lnTo>
                  <a:pt x="1537412" y="6237008"/>
                </a:lnTo>
                <a:lnTo>
                  <a:pt x="1531101" y="6236317"/>
                </a:lnTo>
                <a:lnTo>
                  <a:pt x="1524474" y="6236081"/>
                </a:lnTo>
                <a:close/>
                <a:moveTo>
                  <a:pt x="1356301" y="6236081"/>
                </a:moveTo>
                <a:lnTo>
                  <a:pt x="1350654" y="6236268"/>
                </a:lnTo>
                <a:lnTo>
                  <a:pt x="1345126" y="6236823"/>
                </a:lnTo>
                <a:lnTo>
                  <a:pt x="1339730" y="6237735"/>
                </a:lnTo>
                <a:lnTo>
                  <a:pt x="1334477" y="6238996"/>
                </a:lnTo>
                <a:lnTo>
                  <a:pt x="1329381" y="6240595"/>
                </a:lnTo>
                <a:lnTo>
                  <a:pt x="1324454" y="6242523"/>
                </a:lnTo>
                <a:lnTo>
                  <a:pt x="1319706" y="6244771"/>
                </a:lnTo>
                <a:lnTo>
                  <a:pt x="1315152" y="6247328"/>
                </a:lnTo>
                <a:lnTo>
                  <a:pt x="1310803" y="6250186"/>
                </a:lnTo>
                <a:lnTo>
                  <a:pt x="1306672" y="6253334"/>
                </a:lnTo>
                <a:lnTo>
                  <a:pt x="1302769" y="6256763"/>
                </a:lnTo>
                <a:lnTo>
                  <a:pt x="1299109" y="6260463"/>
                </a:lnTo>
                <a:lnTo>
                  <a:pt x="1295703" y="6264425"/>
                </a:lnTo>
                <a:lnTo>
                  <a:pt x="1292563" y="6268638"/>
                </a:lnTo>
                <a:lnTo>
                  <a:pt x="1289702" y="6273094"/>
                </a:lnTo>
                <a:lnTo>
                  <a:pt x="1287131" y="6277783"/>
                </a:lnTo>
                <a:lnTo>
                  <a:pt x="1284864" y="6282695"/>
                </a:lnTo>
                <a:lnTo>
                  <a:pt x="1282912" y="6287821"/>
                </a:lnTo>
                <a:lnTo>
                  <a:pt x="1281287" y="6293150"/>
                </a:lnTo>
                <a:lnTo>
                  <a:pt x="1280002" y="6298673"/>
                </a:lnTo>
                <a:lnTo>
                  <a:pt x="1279069" y="6304381"/>
                </a:lnTo>
                <a:cubicBezTo>
                  <a:pt x="1278879" y="6306342"/>
                  <a:pt x="1278690" y="6308303"/>
                  <a:pt x="1278500" y="6310264"/>
                </a:cubicBezTo>
                <a:lnTo>
                  <a:pt x="1278308" y="6316313"/>
                </a:lnTo>
                <a:lnTo>
                  <a:pt x="1278485" y="6322114"/>
                </a:lnTo>
                <a:cubicBezTo>
                  <a:pt x="1278659" y="6323998"/>
                  <a:pt x="1278834" y="6325883"/>
                  <a:pt x="1279008" y="6327767"/>
                </a:cubicBezTo>
                <a:lnTo>
                  <a:pt x="1279866" y="6333262"/>
                </a:lnTo>
                <a:lnTo>
                  <a:pt x="1281049" y="6338592"/>
                </a:lnTo>
                <a:lnTo>
                  <a:pt x="1282546" y="6343746"/>
                </a:lnTo>
                <a:lnTo>
                  <a:pt x="1284346" y="6348717"/>
                </a:lnTo>
                <a:lnTo>
                  <a:pt x="1286438" y="6353496"/>
                </a:lnTo>
                <a:lnTo>
                  <a:pt x="1288812" y="6358074"/>
                </a:lnTo>
                <a:lnTo>
                  <a:pt x="1291457" y="6362441"/>
                </a:lnTo>
                <a:lnTo>
                  <a:pt x="1294362" y="6366591"/>
                </a:lnTo>
                <a:lnTo>
                  <a:pt x="1297516" y="6370513"/>
                </a:lnTo>
                <a:lnTo>
                  <a:pt x="1300908" y="6374200"/>
                </a:lnTo>
                <a:lnTo>
                  <a:pt x="1304528" y="6377641"/>
                </a:lnTo>
                <a:lnTo>
                  <a:pt x="1308366" y="6380829"/>
                </a:lnTo>
                <a:lnTo>
                  <a:pt x="1312409" y="6383755"/>
                </a:lnTo>
                <a:lnTo>
                  <a:pt x="1316648" y="6386411"/>
                </a:lnTo>
                <a:lnTo>
                  <a:pt x="1321072" y="6388786"/>
                </a:lnTo>
                <a:lnTo>
                  <a:pt x="1325669" y="6390873"/>
                </a:lnTo>
                <a:lnTo>
                  <a:pt x="1330430" y="6392663"/>
                </a:lnTo>
                <a:lnTo>
                  <a:pt x="1335342" y="6394147"/>
                </a:lnTo>
                <a:lnTo>
                  <a:pt x="1340397" y="6395317"/>
                </a:lnTo>
                <a:lnTo>
                  <a:pt x="1345582" y="6396163"/>
                </a:lnTo>
                <a:lnTo>
                  <a:pt x="1350887" y="6396677"/>
                </a:lnTo>
                <a:lnTo>
                  <a:pt x="1356301" y="6396850"/>
                </a:lnTo>
                <a:lnTo>
                  <a:pt x="1361750" y="6396677"/>
                </a:lnTo>
                <a:lnTo>
                  <a:pt x="1367083" y="6396163"/>
                </a:lnTo>
                <a:lnTo>
                  <a:pt x="1372291" y="6395317"/>
                </a:lnTo>
                <a:lnTo>
                  <a:pt x="1377363" y="6394147"/>
                </a:lnTo>
                <a:lnTo>
                  <a:pt x="1382289" y="6392663"/>
                </a:lnTo>
                <a:lnTo>
                  <a:pt x="1387059" y="6390873"/>
                </a:lnTo>
                <a:lnTo>
                  <a:pt x="1391661" y="6388786"/>
                </a:lnTo>
                <a:lnTo>
                  <a:pt x="1396087" y="6386411"/>
                </a:lnTo>
                <a:lnTo>
                  <a:pt x="1400324" y="6383755"/>
                </a:lnTo>
                <a:lnTo>
                  <a:pt x="1404363" y="6380829"/>
                </a:lnTo>
                <a:lnTo>
                  <a:pt x="1408194" y="6377641"/>
                </a:lnTo>
                <a:lnTo>
                  <a:pt x="1411806" y="6374200"/>
                </a:lnTo>
                <a:lnTo>
                  <a:pt x="1415189" y="6370513"/>
                </a:lnTo>
                <a:lnTo>
                  <a:pt x="1418332" y="6366591"/>
                </a:lnTo>
                <a:lnTo>
                  <a:pt x="1421225" y="6362441"/>
                </a:lnTo>
                <a:lnTo>
                  <a:pt x="1423857" y="6358074"/>
                </a:lnTo>
                <a:lnTo>
                  <a:pt x="1425886" y="6354142"/>
                </a:lnTo>
                <a:lnTo>
                  <a:pt x="1428300" y="6348717"/>
                </a:lnTo>
                <a:lnTo>
                  <a:pt x="1430089" y="6343746"/>
                </a:lnTo>
                <a:lnTo>
                  <a:pt x="1431576" y="6338592"/>
                </a:lnTo>
                <a:lnTo>
                  <a:pt x="1432751" y="6333262"/>
                </a:lnTo>
                <a:lnTo>
                  <a:pt x="1433602" y="6327767"/>
                </a:lnTo>
                <a:lnTo>
                  <a:pt x="1434121" y="6322114"/>
                </a:lnTo>
                <a:cubicBezTo>
                  <a:pt x="1434179" y="6320180"/>
                  <a:pt x="1434238" y="6318247"/>
                  <a:pt x="1434296" y="6316313"/>
                </a:cubicBezTo>
                <a:cubicBezTo>
                  <a:pt x="1434233" y="6314297"/>
                  <a:pt x="1434169" y="6312280"/>
                  <a:pt x="1434106" y="6310264"/>
                </a:cubicBezTo>
                <a:cubicBezTo>
                  <a:pt x="1433918" y="6308303"/>
                  <a:pt x="1433729" y="6306342"/>
                  <a:pt x="1433541" y="6304381"/>
                </a:cubicBezTo>
                <a:lnTo>
                  <a:pt x="1432615" y="6298673"/>
                </a:lnTo>
                <a:lnTo>
                  <a:pt x="1431339" y="6293150"/>
                </a:lnTo>
                <a:lnTo>
                  <a:pt x="1429725" y="6287821"/>
                </a:lnTo>
                <a:lnTo>
                  <a:pt x="1427785" y="6282695"/>
                </a:lnTo>
                <a:lnTo>
                  <a:pt x="1425992" y="6278789"/>
                </a:lnTo>
                <a:lnTo>
                  <a:pt x="1425530" y="6277783"/>
                </a:lnTo>
                <a:lnTo>
                  <a:pt x="1422972" y="6273094"/>
                </a:lnTo>
                <a:lnTo>
                  <a:pt x="1420123" y="6268638"/>
                </a:lnTo>
                <a:lnTo>
                  <a:pt x="1416996" y="6264425"/>
                </a:lnTo>
                <a:lnTo>
                  <a:pt x="1413600" y="6260463"/>
                </a:lnTo>
                <a:lnTo>
                  <a:pt x="1409950" y="6256763"/>
                </a:lnTo>
                <a:lnTo>
                  <a:pt x="1406055" y="6253334"/>
                </a:lnTo>
                <a:lnTo>
                  <a:pt x="1401929" y="6250186"/>
                </a:lnTo>
                <a:lnTo>
                  <a:pt x="1397583" y="6247328"/>
                </a:lnTo>
                <a:lnTo>
                  <a:pt x="1393028" y="6244771"/>
                </a:lnTo>
                <a:lnTo>
                  <a:pt x="1388276" y="6242523"/>
                </a:lnTo>
                <a:lnTo>
                  <a:pt x="1383340" y="6240595"/>
                </a:lnTo>
                <a:lnTo>
                  <a:pt x="1378231" y="6238996"/>
                </a:lnTo>
                <a:lnTo>
                  <a:pt x="1372961" y="6237735"/>
                </a:lnTo>
                <a:lnTo>
                  <a:pt x="1367541" y="6236823"/>
                </a:lnTo>
                <a:lnTo>
                  <a:pt x="1361984" y="6236268"/>
                </a:lnTo>
                <a:lnTo>
                  <a:pt x="1356301" y="6236081"/>
                </a:lnTo>
                <a:close/>
                <a:moveTo>
                  <a:pt x="788397" y="6175982"/>
                </a:moveTo>
                <a:lnTo>
                  <a:pt x="786849" y="6176305"/>
                </a:lnTo>
                <a:lnTo>
                  <a:pt x="785585" y="6177185"/>
                </a:lnTo>
                <a:lnTo>
                  <a:pt x="784733" y="6178491"/>
                </a:lnTo>
                <a:cubicBezTo>
                  <a:pt x="784629" y="6179024"/>
                  <a:pt x="784524" y="6179556"/>
                  <a:pt x="784420" y="6180089"/>
                </a:cubicBezTo>
                <a:lnTo>
                  <a:pt x="784420" y="6388168"/>
                </a:lnTo>
                <a:cubicBezTo>
                  <a:pt x="784524" y="6388701"/>
                  <a:pt x="784629" y="6389234"/>
                  <a:pt x="784733" y="6389767"/>
                </a:cubicBezTo>
                <a:lnTo>
                  <a:pt x="785585" y="6391072"/>
                </a:lnTo>
                <a:lnTo>
                  <a:pt x="786849" y="6391952"/>
                </a:lnTo>
                <a:lnTo>
                  <a:pt x="788397" y="6392275"/>
                </a:lnTo>
                <a:lnTo>
                  <a:pt x="913386" y="6392275"/>
                </a:lnTo>
                <a:lnTo>
                  <a:pt x="914934" y="6391952"/>
                </a:lnTo>
                <a:lnTo>
                  <a:pt x="916198" y="6391072"/>
                </a:lnTo>
                <a:lnTo>
                  <a:pt x="917050" y="6389767"/>
                </a:lnTo>
                <a:cubicBezTo>
                  <a:pt x="917154" y="6389234"/>
                  <a:pt x="917259" y="6388701"/>
                  <a:pt x="917363" y="6388168"/>
                </a:cubicBezTo>
                <a:lnTo>
                  <a:pt x="917363" y="6350622"/>
                </a:lnTo>
                <a:lnTo>
                  <a:pt x="914934" y="6346838"/>
                </a:lnTo>
                <a:lnTo>
                  <a:pt x="835075" y="6346515"/>
                </a:lnTo>
                <a:lnTo>
                  <a:pt x="833527" y="6346192"/>
                </a:lnTo>
                <a:lnTo>
                  <a:pt x="832263" y="6345312"/>
                </a:lnTo>
                <a:lnTo>
                  <a:pt x="831410" y="6344006"/>
                </a:lnTo>
                <a:cubicBezTo>
                  <a:pt x="831306" y="6343473"/>
                  <a:pt x="831201" y="6342941"/>
                  <a:pt x="831097" y="6342408"/>
                </a:cubicBezTo>
                <a:lnTo>
                  <a:pt x="831097" y="6309132"/>
                </a:lnTo>
                <a:cubicBezTo>
                  <a:pt x="831201" y="6308599"/>
                  <a:pt x="831306" y="6308067"/>
                  <a:pt x="831410" y="6307534"/>
                </a:cubicBezTo>
                <a:lnTo>
                  <a:pt x="832263" y="6306228"/>
                </a:lnTo>
                <a:lnTo>
                  <a:pt x="833527" y="6305348"/>
                </a:lnTo>
                <a:lnTo>
                  <a:pt x="835075" y="6305025"/>
                </a:lnTo>
                <a:lnTo>
                  <a:pt x="905112" y="6305025"/>
                </a:lnTo>
                <a:lnTo>
                  <a:pt x="906661" y="6304703"/>
                </a:lnTo>
                <a:lnTo>
                  <a:pt x="907925" y="6303823"/>
                </a:lnTo>
                <a:lnTo>
                  <a:pt x="908778" y="6302517"/>
                </a:lnTo>
                <a:cubicBezTo>
                  <a:pt x="908882" y="6301984"/>
                  <a:pt x="908987" y="6301451"/>
                  <a:pt x="909091" y="6300918"/>
                </a:cubicBezTo>
                <a:lnTo>
                  <a:pt x="909091" y="6266729"/>
                </a:lnTo>
                <a:cubicBezTo>
                  <a:pt x="908987" y="6266196"/>
                  <a:pt x="908882" y="6265663"/>
                  <a:pt x="908778" y="6265130"/>
                </a:cubicBezTo>
                <a:lnTo>
                  <a:pt x="907925" y="6263825"/>
                </a:lnTo>
                <a:lnTo>
                  <a:pt x="906661" y="6262944"/>
                </a:lnTo>
                <a:lnTo>
                  <a:pt x="905112" y="6262622"/>
                </a:lnTo>
                <a:lnTo>
                  <a:pt x="835075" y="6262622"/>
                </a:lnTo>
                <a:lnTo>
                  <a:pt x="833527" y="6262299"/>
                </a:lnTo>
                <a:lnTo>
                  <a:pt x="832263" y="6261419"/>
                </a:lnTo>
                <a:lnTo>
                  <a:pt x="831410" y="6260114"/>
                </a:lnTo>
                <a:cubicBezTo>
                  <a:pt x="831306" y="6259581"/>
                  <a:pt x="831201" y="6259048"/>
                  <a:pt x="831097" y="6258515"/>
                </a:cubicBezTo>
                <a:lnTo>
                  <a:pt x="831097" y="6225545"/>
                </a:lnTo>
                <a:cubicBezTo>
                  <a:pt x="831201" y="6225012"/>
                  <a:pt x="831306" y="6224479"/>
                  <a:pt x="831410" y="6223946"/>
                </a:cubicBezTo>
                <a:lnTo>
                  <a:pt x="832263" y="6222641"/>
                </a:lnTo>
                <a:lnTo>
                  <a:pt x="833527" y="6221761"/>
                </a:lnTo>
                <a:lnTo>
                  <a:pt x="835075" y="6221438"/>
                </a:lnTo>
                <a:lnTo>
                  <a:pt x="913090" y="6221438"/>
                </a:lnTo>
                <a:lnTo>
                  <a:pt x="914638" y="6221115"/>
                </a:lnTo>
                <a:lnTo>
                  <a:pt x="915902" y="6220235"/>
                </a:lnTo>
                <a:lnTo>
                  <a:pt x="916754" y="6218930"/>
                </a:lnTo>
                <a:cubicBezTo>
                  <a:pt x="916858" y="6218397"/>
                  <a:pt x="916963" y="6217864"/>
                  <a:pt x="917067" y="6217331"/>
                </a:cubicBezTo>
                <a:lnTo>
                  <a:pt x="917067" y="6180089"/>
                </a:lnTo>
                <a:cubicBezTo>
                  <a:pt x="916963" y="6179556"/>
                  <a:pt x="916858" y="6179024"/>
                  <a:pt x="916754" y="6178491"/>
                </a:cubicBezTo>
                <a:lnTo>
                  <a:pt x="915902" y="6177185"/>
                </a:lnTo>
                <a:lnTo>
                  <a:pt x="914638" y="6176305"/>
                </a:lnTo>
                <a:lnTo>
                  <a:pt x="913090" y="6175982"/>
                </a:lnTo>
                <a:lnTo>
                  <a:pt x="788397" y="6175982"/>
                </a:lnTo>
                <a:close/>
                <a:moveTo>
                  <a:pt x="1130966" y="6167136"/>
                </a:moveTo>
                <a:lnTo>
                  <a:pt x="1125778" y="6167690"/>
                </a:lnTo>
                <a:lnTo>
                  <a:pt x="1120922" y="6169276"/>
                </a:lnTo>
                <a:lnTo>
                  <a:pt x="1116509" y="6171785"/>
                </a:lnTo>
                <a:lnTo>
                  <a:pt x="1112650" y="6175106"/>
                </a:lnTo>
                <a:lnTo>
                  <a:pt x="1109456" y="6179127"/>
                </a:lnTo>
                <a:lnTo>
                  <a:pt x="1107037" y="6183738"/>
                </a:lnTo>
                <a:lnTo>
                  <a:pt x="1105504" y="6188829"/>
                </a:lnTo>
                <a:cubicBezTo>
                  <a:pt x="1105326" y="6190648"/>
                  <a:pt x="1105147" y="6192468"/>
                  <a:pt x="1104969" y="6194287"/>
                </a:cubicBezTo>
                <a:cubicBezTo>
                  <a:pt x="1105147" y="6196107"/>
                  <a:pt x="1105326" y="6197926"/>
                  <a:pt x="1105504" y="6199746"/>
                </a:cubicBezTo>
                <a:lnTo>
                  <a:pt x="1107037" y="6204836"/>
                </a:lnTo>
                <a:lnTo>
                  <a:pt x="1109456" y="6209447"/>
                </a:lnTo>
                <a:lnTo>
                  <a:pt x="1112650" y="6213468"/>
                </a:lnTo>
                <a:lnTo>
                  <a:pt x="1116509" y="6216789"/>
                </a:lnTo>
                <a:lnTo>
                  <a:pt x="1120922" y="6219298"/>
                </a:lnTo>
                <a:lnTo>
                  <a:pt x="1125778" y="6220885"/>
                </a:lnTo>
                <a:lnTo>
                  <a:pt x="1130966" y="6221438"/>
                </a:lnTo>
                <a:lnTo>
                  <a:pt x="1136350" y="6220885"/>
                </a:lnTo>
                <a:lnTo>
                  <a:pt x="1141353" y="6219298"/>
                </a:lnTo>
                <a:lnTo>
                  <a:pt x="1145871" y="6216789"/>
                </a:lnTo>
                <a:lnTo>
                  <a:pt x="1149800" y="6213468"/>
                </a:lnTo>
                <a:lnTo>
                  <a:pt x="1153038" y="6209447"/>
                </a:lnTo>
                <a:lnTo>
                  <a:pt x="1155478" y="6204836"/>
                </a:lnTo>
                <a:lnTo>
                  <a:pt x="1157019" y="6199746"/>
                </a:lnTo>
                <a:lnTo>
                  <a:pt x="1157556" y="6194287"/>
                </a:lnTo>
                <a:lnTo>
                  <a:pt x="1157019" y="6188829"/>
                </a:lnTo>
                <a:lnTo>
                  <a:pt x="1155478" y="6183738"/>
                </a:lnTo>
                <a:lnTo>
                  <a:pt x="1153038" y="6179127"/>
                </a:lnTo>
                <a:lnTo>
                  <a:pt x="1149800" y="6175106"/>
                </a:lnTo>
                <a:lnTo>
                  <a:pt x="1145871" y="6171785"/>
                </a:lnTo>
                <a:lnTo>
                  <a:pt x="1141353" y="6169276"/>
                </a:lnTo>
                <a:lnTo>
                  <a:pt x="1136350" y="6167690"/>
                </a:lnTo>
                <a:lnTo>
                  <a:pt x="1130966" y="6167136"/>
                </a:lnTo>
                <a:close/>
                <a:moveTo>
                  <a:pt x="587603" y="6130388"/>
                </a:moveTo>
                <a:lnTo>
                  <a:pt x="582187" y="6131131"/>
                </a:lnTo>
                <a:lnTo>
                  <a:pt x="577056" y="6133358"/>
                </a:lnTo>
                <a:lnTo>
                  <a:pt x="474730" y="6195414"/>
                </a:lnTo>
                <a:lnTo>
                  <a:pt x="470330" y="6198968"/>
                </a:lnTo>
                <a:lnTo>
                  <a:pt x="467011" y="6203523"/>
                </a:lnTo>
                <a:lnTo>
                  <a:pt x="464915" y="6208820"/>
                </a:lnTo>
                <a:cubicBezTo>
                  <a:pt x="464672" y="6210747"/>
                  <a:pt x="464428" y="6212674"/>
                  <a:pt x="464185" y="6214601"/>
                </a:cubicBezTo>
                <a:lnTo>
                  <a:pt x="464185" y="6338713"/>
                </a:lnTo>
                <a:cubicBezTo>
                  <a:pt x="464428" y="6340640"/>
                  <a:pt x="464672" y="6342567"/>
                  <a:pt x="464915" y="6344494"/>
                </a:cubicBezTo>
                <a:lnTo>
                  <a:pt x="467011" y="6349791"/>
                </a:lnTo>
                <a:lnTo>
                  <a:pt x="470330" y="6354347"/>
                </a:lnTo>
                <a:lnTo>
                  <a:pt x="474731" y="6357902"/>
                </a:lnTo>
                <a:lnTo>
                  <a:pt x="577056" y="6419958"/>
                </a:lnTo>
                <a:lnTo>
                  <a:pt x="582187" y="6422184"/>
                </a:lnTo>
                <a:lnTo>
                  <a:pt x="587603" y="6422926"/>
                </a:lnTo>
                <a:lnTo>
                  <a:pt x="593018" y="6422184"/>
                </a:lnTo>
                <a:lnTo>
                  <a:pt x="598149" y="6419958"/>
                </a:lnTo>
                <a:lnTo>
                  <a:pt x="693908" y="6361884"/>
                </a:lnTo>
                <a:lnTo>
                  <a:pt x="700475" y="6357902"/>
                </a:lnTo>
                <a:lnTo>
                  <a:pt x="704876" y="6354347"/>
                </a:lnTo>
                <a:lnTo>
                  <a:pt x="708195" y="6349791"/>
                </a:lnTo>
                <a:lnTo>
                  <a:pt x="710290" y="6344494"/>
                </a:lnTo>
                <a:cubicBezTo>
                  <a:pt x="710533" y="6342567"/>
                  <a:pt x="710777" y="6340640"/>
                  <a:pt x="711020" y="6338713"/>
                </a:cubicBezTo>
                <a:lnTo>
                  <a:pt x="711020" y="6287037"/>
                </a:lnTo>
                <a:lnTo>
                  <a:pt x="587603" y="6361884"/>
                </a:lnTo>
                <a:lnTo>
                  <a:pt x="518967" y="6320260"/>
                </a:lnTo>
                <a:cubicBezTo>
                  <a:pt x="518979" y="6291852"/>
                  <a:pt x="518992" y="6263444"/>
                  <a:pt x="519004" y="6235036"/>
                </a:cubicBezTo>
                <a:lnTo>
                  <a:pt x="582538" y="6196483"/>
                </a:lnTo>
                <a:lnTo>
                  <a:pt x="585000" y="6195414"/>
                </a:lnTo>
                <a:lnTo>
                  <a:pt x="587603" y="6195057"/>
                </a:lnTo>
                <a:lnTo>
                  <a:pt x="590208" y="6195414"/>
                </a:lnTo>
                <a:lnTo>
                  <a:pt x="592674" y="6196485"/>
                </a:lnTo>
                <a:lnTo>
                  <a:pt x="656238" y="6235034"/>
                </a:lnTo>
                <a:lnTo>
                  <a:pt x="596138" y="6271483"/>
                </a:lnTo>
                <a:lnTo>
                  <a:pt x="591986" y="6273284"/>
                </a:lnTo>
                <a:lnTo>
                  <a:pt x="587603" y="6273884"/>
                </a:lnTo>
                <a:lnTo>
                  <a:pt x="583221" y="6273283"/>
                </a:lnTo>
                <a:lnTo>
                  <a:pt x="579069" y="6271481"/>
                </a:lnTo>
                <a:lnTo>
                  <a:pt x="536076" y="6245395"/>
                </a:lnTo>
                <a:lnTo>
                  <a:pt x="536046" y="6309859"/>
                </a:lnTo>
                <a:lnTo>
                  <a:pt x="587603" y="6341127"/>
                </a:lnTo>
                <a:lnTo>
                  <a:pt x="698481" y="6273884"/>
                </a:lnTo>
                <a:lnTo>
                  <a:pt x="711020" y="6266280"/>
                </a:lnTo>
                <a:lnTo>
                  <a:pt x="711020" y="6214601"/>
                </a:lnTo>
                <a:cubicBezTo>
                  <a:pt x="710777" y="6212674"/>
                  <a:pt x="710533" y="6210747"/>
                  <a:pt x="710290" y="6208820"/>
                </a:cubicBezTo>
                <a:lnTo>
                  <a:pt x="708195" y="6203523"/>
                </a:lnTo>
                <a:lnTo>
                  <a:pt x="704876" y="6198968"/>
                </a:lnTo>
                <a:lnTo>
                  <a:pt x="700475" y="6195413"/>
                </a:lnTo>
                <a:lnTo>
                  <a:pt x="699887" y="6195057"/>
                </a:lnTo>
                <a:lnTo>
                  <a:pt x="598149" y="6133358"/>
                </a:lnTo>
                <a:lnTo>
                  <a:pt x="593018" y="6131131"/>
                </a:lnTo>
                <a:lnTo>
                  <a:pt x="587603" y="6130388"/>
                </a:lnTo>
                <a:close/>
                <a:moveTo>
                  <a:pt x="0" y="0"/>
                </a:moveTo>
                <a:lnTo>
                  <a:pt x="12204708" y="0"/>
                </a:lnTo>
                <a:cubicBezTo>
                  <a:pt x="12207885" y="2286000"/>
                  <a:pt x="12201531" y="4581525"/>
                  <a:pt x="12204708" y="6867525"/>
                </a:cubicBezTo>
                <a:lnTo>
                  <a:pt x="6353" y="6867525"/>
                </a:lnTo>
                <a:cubicBezTo>
                  <a:pt x="4235" y="4578350"/>
                  <a:pt x="2118" y="2289175"/>
                  <a:pt x="0" y="0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880409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Bottom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9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7727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–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2"/>
          <p:cNvSpPr>
            <a:spLocks/>
          </p:cNvSpPr>
          <p:nvPr userDrawn="1"/>
        </p:nvSpPr>
        <p:spPr bwMode="auto">
          <a:xfrm>
            <a:off x="-6364976" y="0"/>
            <a:ext cx="4256401" cy="6858000"/>
          </a:xfrm>
          <a:custGeom>
            <a:avLst/>
            <a:gdLst>
              <a:gd name="T0" fmla="*/ 0 w 12192000"/>
              <a:gd name="T1" fmla="*/ 1170431 h 1170940"/>
              <a:gd name="T2" fmla="*/ 12191974 w 12192000"/>
              <a:gd name="T3" fmla="*/ 1170431 h 1170940"/>
              <a:gd name="T4" fmla="*/ 12191974 w 12192000"/>
              <a:gd name="T5" fmla="*/ 0 h 1170940"/>
              <a:gd name="T6" fmla="*/ 0 w 12192000"/>
              <a:gd name="T7" fmla="*/ 0 h 1170940"/>
              <a:gd name="T8" fmla="*/ 0 w 12192000"/>
              <a:gd name="T9" fmla="*/ 1170431 h 1170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92000" h="1170940">
                <a:moveTo>
                  <a:pt x="0" y="1170431"/>
                </a:moveTo>
                <a:lnTo>
                  <a:pt x="12191974" y="1170431"/>
                </a:lnTo>
                <a:lnTo>
                  <a:pt x="12191974" y="0"/>
                </a:lnTo>
                <a:lnTo>
                  <a:pt x="0" y="0"/>
                </a:lnTo>
                <a:lnTo>
                  <a:pt x="0" y="1170431"/>
                </a:lnTo>
                <a:close/>
              </a:path>
            </a:pathLst>
          </a:custGeom>
          <a:solidFill>
            <a:srgbClr val="FDC20D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2" name="object 2"/>
          <p:cNvSpPr>
            <a:spLocks/>
          </p:cNvSpPr>
          <p:nvPr userDrawn="1"/>
        </p:nvSpPr>
        <p:spPr bwMode="auto">
          <a:xfrm>
            <a:off x="-2111783" y="2947185"/>
            <a:ext cx="140995" cy="533400"/>
          </a:xfrm>
          <a:custGeom>
            <a:avLst/>
            <a:gdLst/>
            <a:ahLst/>
            <a:cxnLst/>
            <a:rect l="l" t="t" r="r" b="b"/>
            <a:pathLst>
              <a:path w="189509" h="716754">
                <a:moveTo>
                  <a:pt x="0" y="0"/>
                </a:moveTo>
                <a:lnTo>
                  <a:pt x="174442" y="302146"/>
                </a:lnTo>
                <a:lnTo>
                  <a:pt x="185742" y="329506"/>
                </a:lnTo>
                <a:lnTo>
                  <a:pt x="189509" y="358379"/>
                </a:lnTo>
                <a:lnTo>
                  <a:pt x="185742" y="387252"/>
                </a:lnTo>
                <a:lnTo>
                  <a:pt x="174442" y="414611"/>
                </a:lnTo>
                <a:lnTo>
                  <a:pt x="0" y="716754"/>
                </a:lnTo>
                <a:close/>
              </a:path>
            </a:pathLst>
          </a:custGeom>
          <a:solidFill>
            <a:srgbClr val="FDC20D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-39990" y="-10762"/>
            <a:ext cx="12239726" cy="6868762"/>
          </a:xfrm>
          <a:custGeom>
            <a:avLst/>
            <a:gdLst>
              <a:gd name="connsiteX0" fmla="*/ 0 w 12490450"/>
              <a:gd name="connsiteY0" fmla="*/ 10762 h 6868762"/>
              <a:gd name="connsiteX1" fmla="*/ 7977675 w 12490450"/>
              <a:gd name="connsiteY1" fmla="*/ 10762 h 6868762"/>
              <a:gd name="connsiteX2" fmla="*/ 7977675 w 12490450"/>
              <a:gd name="connsiteY2" fmla="*/ 2987143 h 6868762"/>
              <a:gd name="connsiteX3" fmla="*/ 7864713 w 12490450"/>
              <a:gd name="connsiteY3" fmla="*/ 3182801 h 6868762"/>
              <a:gd name="connsiteX4" fmla="*/ 7856303 w 12490450"/>
              <a:gd name="connsiteY4" fmla="*/ 3203162 h 6868762"/>
              <a:gd name="connsiteX5" fmla="*/ 7853500 w 12490450"/>
              <a:gd name="connsiteY5" fmla="*/ 3224649 h 6868762"/>
              <a:gd name="connsiteX6" fmla="*/ 7856303 w 12490450"/>
              <a:gd name="connsiteY6" fmla="*/ 3246136 h 6868762"/>
              <a:gd name="connsiteX7" fmla="*/ 7864713 w 12490450"/>
              <a:gd name="connsiteY7" fmla="*/ 3266496 h 6868762"/>
              <a:gd name="connsiteX8" fmla="*/ 7977675 w 12490450"/>
              <a:gd name="connsiteY8" fmla="*/ 3462152 h 6868762"/>
              <a:gd name="connsiteX9" fmla="*/ 7977675 w 12490450"/>
              <a:gd name="connsiteY9" fmla="*/ 6865781 h 6868762"/>
              <a:gd name="connsiteX10" fmla="*/ 12235176 w 12490450"/>
              <a:gd name="connsiteY10" fmla="*/ 6865781 h 6868762"/>
              <a:gd name="connsiteX11" fmla="*/ 12235176 w 12490450"/>
              <a:gd name="connsiteY11" fmla="*/ 10762 h 6868762"/>
              <a:gd name="connsiteX12" fmla="*/ 12237532 w 12490450"/>
              <a:gd name="connsiteY12" fmla="*/ 0 h 6868762"/>
              <a:gd name="connsiteX13" fmla="*/ 12490450 w 12490450"/>
              <a:gd name="connsiteY13" fmla="*/ 6868762 h 6868762"/>
              <a:gd name="connsiteX14" fmla="*/ 0 w 12490450"/>
              <a:gd name="connsiteY14" fmla="*/ 6868762 h 6868762"/>
              <a:gd name="connsiteX15" fmla="*/ 0 w 12490450"/>
              <a:gd name="connsiteY15" fmla="*/ 10762 h 6868762"/>
              <a:gd name="connsiteX0" fmla="*/ 0 w 12242914"/>
              <a:gd name="connsiteY0" fmla="*/ 10762 h 6868762"/>
              <a:gd name="connsiteX1" fmla="*/ 7977675 w 12242914"/>
              <a:gd name="connsiteY1" fmla="*/ 10762 h 6868762"/>
              <a:gd name="connsiteX2" fmla="*/ 7977675 w 12242914"/>
              <a:gd name="connsiteY2" fmla="*/ 2987143 h 6868762"/>
              <a:gd name="connsiteX3" fmla="*/ 7864713 w 12242914"/>
              <a:gd name="connsiteY3" fmla="*/ 3182801 h 6868762"/>
              <a:gd name="connsiteX4" fmla="*/ 7856303 w 12242914"/>
              <a:gd name="connsiteY4" fmla="*/ 3203162 h 6868762"/>
              <a:gd name="connsiteX5" fmla="*/ 7853500 w 12242914"/>
              <a:gd name="connsiteY5" fmla="*/ 3224649 h 6868762"/>
              <a:gd name="connsiteX6" fmla="*/ 7856303 w 12242914"/>
              <a:gd name="connsiteY6" fmla="*/ 3246136 h 6868762"/>
              <a:gd name="connsiteX7" fmla="*/ 7864713 w 12242914"/>
              <a:gd name="connsiteY7" fmla="*/ 3266496 h 6868762"/>
              <a:gd name="connsiteX8" fmla="*/ 7977675 w 12242914"/>
              <a:gd name="connsiteY8" fmla="*/ 3462152 h 6868762"/>
              <a:gd name="connsiteX9" fmla="*/ 7977675 w 12242914"/>
              <a:gd name="connsiteY9" fmla="*/ 6865781 h 6868762"/>
              <a:gd name="connsiteX10" fmla="*/ 12235176 w 12242914"/>
              <a:gd name="connsiteY10" fmla="*/ 6865781 h 6868762"/>
              <a:gd name="connsiteX11" fmla="*/ 12235176 w 12242914"/>
              <a:gd name="connsiteY11" fmla="*/ 10762 h 6868762"/>
              <a:gd name="connsiteX12" fmla="*/ 12237532 w 12242914"/>
              <a:gd name="connsiteY12" fmla="*/ 0 h 6868762"/>
              <a:gd name="connsiteX13" fmla="*/ 12242914 w 12242914"/>
              <a:gd name="connsiteY13" fmla="*/ 6868762 h 6868762"/>
              <a:gd name="connsiteX14" fmla="*/ 0 w 12242914"/>
              <a:gd name="connsiteY14" fmla="*/ 6868762 h 6868762"/>
              <a:gd name="connsiteX15" fmla="*/ 0 w 12242914"/>
              <a:gd name="connsiteY15" fmla="*/ 10762 h 686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42914" h="6868762">
                <a:moveTo>
                  <a:pt x="0" y="10762"/>
                </a:moveTo>
                <a:lnTo>
                  <a:pt x="7977675" y="10762"/>
                </a:lnTo>
                <a:lnTo>
                  <a:pt x="7977675" y="2987143"/>
                </a:lnTo>
                <a:lnTo>
                  <a:pt x="7864713" y="3182801"/>
                </a:lnTo>
                <a:lnTo>
                  <a:pt x="7856303" y="3203162"/>
                </a:lnTo>
                <a:lnTo>
                  <a:pt x="7853500" y="3224649"/>
                </a:lnTo>
                <a:lnTo>
                  <a:pt x="7856303" y="3246136"/>
                </a:lnTo>
                <a:lnTo>
                  <a:pt x="7864713" y="3266496"/>
                </a:lnTo>
                <a:lnTo>
                  <a:pt x="7977675" y="3462152"/>
                </a:lnTo>
                <a:lnTo>
                  <a:pt x="7977675" y="6865781"/>
                </a:lnTo>
                <a:lnTo>
                  <a:pt x="12235176" y="6865781"/>
                </a:lnTo>
                <a:lnTo>
                  <a:pt x="12235176" y="10762"/>
                </a:lnTo>
                <a:lnTo>
                  <a:pt x="12237532" y="0"/>
                </a:lnTo>
                <a:lnTo>
                  <a:pt x="12242914" y="6868762"/>
                </a:lnTo>
                <a:lnTo>
                  <a:pt x="0" y="6868762"/>
                </a:lnTo>
                <a:lnTo>
                  <a:pt x="0" y="10762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object 2"/>
          <p:cNvSpPr>
            <a:spLocks/>
          </p:cNvSpPr>
          <p:nvPr userDrawn="1"/>
        </p:nvSpPr>
        <p:spPr bwMode="auto">
          <a:xfrm flipH="1">
            <a:off x="7811465" y="2"/>
            <a:ext cx="4380535" cy="6855019"/>
          </a:xfrm>
          <a:custGeom>
            <a:avLst/>
            <a:gdLst/>
            <a:ahLst/>
            <a:cxnLst/>
            <a:rect l="l" t="t" r="r" b="b"/>
            <a:pathLst>
              <a:path w="4381676" h="6855019">
                <a:moveTo>
                  <a:pt x="0" y="0"/>
                </a:moveTo>
                <a:lnTo>
                  <a:pt x="4257501" y="0"/>
                </a:lnTo>
                <a:lnTo>
                  <a:pt x="4257501" y="2976381"/>
                </a:lnTo>
                <a:lnTo>
                  <a:pt x="4370463" y="3172039"/>
                </a:lnTo>
                <a:lnTo>
                  <a:pt x="4378873" y="3192400"/>
                </a:lnTo>
                <a:lnTo>
                  <a:pt x="4381676" y="3213887"/>
                </a:lnTo>
                <a:lnTo>
                  <a:pt x="4378873" y="3235374"/>
                </a:lnTo>
                <a:lnTo>
                  <a:pt x="4370463" y="3255734"/>
                </a:lnTo>
                <a:lnTo>
                  <a:pt x="4257501" y="3451390"/>
                </a:lnTo>
                <a:lnTo>
                  <a:pt x="4257501" y="6855019"/>
                </a:lnTo>
                <a:lnTo>
                  <a:pt x="0" y="685501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8399370" y="2843784"/>
            <a:ext cx="3481094" cy="521208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lvl1pPr>
              <a:defRPr sz="3000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9370" y="3456432"/>
            <a:ext cx="3481094" cy="301752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800"/>
              </a:spcBef>
              <a:buNone/>
              <a:defRPr sz="14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Add subtitle, author name and date</a:t>
            </a:r>
          </a:p>
        </p:txBody>
      </p:sp>
      <p:pic>
        <p:nvPicPr>
          <p:cNvPr id="13" name="Picture 12" descr="Epiroc Logo - NEW GRAY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8456" y="5710421"/>
            <a:ext cx="1892156" cy="526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9524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Bottom 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9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007893" y="6269265"/>
                </a:moveTo>
                <a:lnTo>
                  <a:pt x="1012666" y="6269568"/>
                </a:lnTo>
                <a:lnTo>
                  <a:pt x="1017275" y="6270481"/>
                </a:lnTo>
                <a:lnTo>
                  <a:pt x="1021659" y="6272007"/>
                </a:lnTo>
                <a:lnTo>
                  <a:pt x="1025757" y="6274150"/>
                </a:lnTo>
                <a:lnTo>
                  <a:pt x="1029507" y="6276915"/>
                </a:lnTo>
                <a:lnTo>
                  <a:pt x="1032848" y="6280306"/>
                </a:lnTo>
                <a:lnTo>
                  <a:pt x="1035719" y="6284326"/>
                </a:lnTo>
                <a:lnTo>
                  <a:pt x="1038059" y="6288981"/>
                </a:lnTo>
                <a:lnTo>
                  <a:pt x="1039806" y="6294273"/>
                </a:lnTo>
                <a:lnTo>
                  <a:pt x="1040899" y="6300208"/>
                </a:lnTo>
                <a:lnTo>
                  <a:pt x="1041277" y="6306788"/>
                </a:lnTo>
                <a:lnTo>
                  <a:pt x="1040899" y="6313376"/>
                </a:lnTo>
                <a:lnTo>
                  <a:pt x="1039806" y="6319330"/>
                </a:lnTo>
                <a:lnTo>
                  <a:pt x="1038059" y="6324652"/>
                </a:lnTo>
                <a:lnTo>
                  <a:pt x="1035719" y="6329342"/>
                </a:lnTo>
                <a:lnTo>
                  <a:pt x="1032848" y="6333403"/>
                </a:lnTo>
                <a:lnTo>
                  <a:pt x="1029507" y="6336835"/>
                </a:lnTo>
                <a:lnTo>
                  <a:pt x="1025757" y="6339641"/>
                </a:lnTo>
                <a:lnTo>
                  <a:pt x="1021659" y="6341820"/>
                </a:lnTo>
                <a:lnTo>
                  <a:pt x="1017275" y="6343375"/>
                </a:lnTo>
                <a:lnTo>
                  <a:pt x="1012666" y="6344307"/>
                </a:lnTo>
                <a:lnTo>
                  <a:pt x="1007893" y="6344618"/>
                </a:lnTo>
                <a:lnTo>
                  <a:pt x="1003193" y="6344300"/>
                </a:lnTo>
                <a:lnTo>
                  <a:pt x="998645" y="6343350"/>
                </a:lnTo>
                <a:lnTo>
                  <a:pt x="994309" y="6341771"/>
                </a:lnTo>
                <a:lnTo>
                  <a:pt x="990249" y="6339564"/>
                </a:lnTo>
                <a:lnTo>
                  <a:pt x="986527" y="6336732"/>
                </a:lnTo>
                <a:lnTo>
                  <a:pt x="983207" y="6333280"/>
                </a:lnTo>
                <a:lnTo>
                  <a:pt x="980349" y="6329208"/>
                </a:lnTo>
                <a:lnTo>
                  <a:pt x="978018" y="6324520"/>
                </a:lnTo>
                <a:lnTo>
                  <a:pt x="976275" y="6319219"/>
                </a:lnTo>
                <a:lnTo>
                  <a:pt x="975184" y="6313308"/>
                </a:lnTo>
                <a:lnTo>
                  <a:pt x="974806" y="6306788"/>
                </a:lnTo>
                <a:lnTo>
                  <a:pt x="975184" y="6300208"/>
                </a:lnTo>
                <a:lnTo>
                  <a:pt x="976275" y="6294273"/>
                </a:lnTo>
                <a:lnTo>
                  <a:pt x="978018" y="6288981"/>
                </a:lnTo>
                <a:lnTo>
                  <a:pt x="980349" y="6284326"/>
                </a:lnTo>
                <a:lnTo>
                  <a:pt x="983207" y="6280306"/>
                </a:lnTo>
                <a:lnTo>
                  <a:pt x="986527" y="6276915"/>
                </a:lnTo>
                <a:lnTo>
                  <a:pt x="990249" y="6274150"/>
                </a:lnTo>
                <a:lnTo>
                  <a:pt x="994309" y="6272007"/>
                </a:lnTo>
                <a:lnTo>
                  <a:pt x="998645" y="6270481"/>
                </a:lnTo>
                <a:lnTo>
                  <a:pt x="1003193" y="6269568"/>
                </a:lnTo>
                <a:close/>
                <a:moveTo>
                  <a:pt x="1349948" y="6269264"/>
                </a:moveTo>
                <a:lnTo>
                  <a:pt x="1354581" y="6269561"/>
                </a:lnTo>
                <a:lnTo>
                  <a:pt x="1359089" y="6270455"/>
                </a:lnTo>
                <a:lnTo>
                  <a:pt x="1363405" y="6271956"/>
                </a:lnTo>
                <a:lnTo>
                  <a:pt x="1367462" y="6274072"/>
                </a:lnTo>
                <a:lnTo>
                  <a:pt x="1371195" y="6276811"/>
                </a:lnTo>
                <a:lnTo>
                  <a:pt x="1374536" y="6280181"/>
                </a:lnTo>
                <a:lnTo>
                  <a:pt x="1377418" y="6284190"/>
                </a:lnTo>
                <a:lnTo>
                  <a:pt x="1379777" y="6288848"/>
                </a:lnTo>
                <a:lnTo>
                  <a:pt x="1381543" y="6294161"/>
                </a:lnTo>
                <a:lnTo>
                  <a:pt x="1382652" y="6300138"/>
                </a:lnTo>
                <a:lnTo>
                  <a:pt x="1383037" y="6306788"/>
                </a:lnTo>
                <a:lnTo>
                  <a:pt x="1382652" y="6313445"/>
                </a:lnTo>
                <a:lnTo>
                  <a:pt x="1381543" y="6319442"/>
                </a:lnTo>
                <a:lnTo>
                  <a:pt x="1379777" y="6324784"/>
                </a:lnTo>
                <a:lnTo>
                  <a:pt x="1377418" y="6329478"/>
                </a:lnTo>
                <a:lnTo>
                  <a:pt x="1374536" y="6333527"/>
                </a:lnTo>
                <a:lnTo>
                  <a:pt x="1371195" y="6336939"/>
                </a:lnTo>
                <a:lnTo>
                  <a:pt x="1367462" y="6339718"/>
                </a:lnTo>
                <a:lnTo>
                  <a:pt x="1363405" y="6341869"/>
                </a:lnTo>
                <a:lnTo>
                  <a:pt x="1359089" y="6343400"/>
                </a:lnTo>
                <a:lnTo>
                  <a:pt x="1354581" y="6344314"/>
                </a:lnTo>
                <a:lnTo>
                  <a:pt x="1349948" y="6344617"/>
                </a:lnTo>
                <a:lnTo>
                  <a:pt x="1345382" y="6344307"/>
                </a:lnTo>
                <a:lnTo>
                  <a:pt x="1340916" y="6343375"/>
                </a:lnTo>
                <a:lnTo>
                  <a:pt x="1336620" y="6341820"/>
                </a:lnTo>
                <a:lnTo>
                  <a:pt x="1332565" y="6339640"/>
                </a:lnTo>
                <a:lnTo>
                  <a:pt x="1328822" y="6336835"/>
                </a:lnTo>
                <a:lnTo>
                  <a:pt x="1325461" y="6333403"/>
                </a:lnTo>
                <a:lnTo>
                  <a:pt x="1322553" y="6329343"/>
                </a:lnTo>
                <a:lnTo>
                  <a:pt x="1320168" y="6324652"/>
                </a:lnTo>
                <a:lnTo>
                  <a:pt x="1318378" y="6319330"/>
                </a:lnTo>
                <a:lnTo>
                  <a:pt x="1317251" y="6313376"/>
                </a:lnTo>
                <a:lnTo>
                  <a:pt x="1316860" y="6306788"/>
                </a:lnTo>
                <a:lnTo>
                  <a:pt x="1317251" y="6300138"/>
                </a:lnTo>
                <a:lnTo>
                  <a:pt x="1318378" y="6294161"/>
                </a:lnTo>
                <a:lnTo>
                  <a:pt x="1320168" y="6288848"/>
                </a:lnTo>
                <a:lnTo>
                  <a:pt x="1322553" y="6284190"/>
                </a:lnTo>
                <a:lnTo>
                  <a:pt x="1325461" y="6280181"/>
                </a:lnTo>
                <a:lnTo>
                  <a:pt x="1328822" y="6276811"/>
                </a:lnTo>
                <a:lnTo>
                  <a:pt x="1332565" y="6274072"/>
                </a:lnTo>
                <a:lnTo>
                  <a:pt x="1336620" y="6271956"/>
                </a:lnTo>
                <a:lnTo>
                  <a:pt x="1340916" y="6270455"/>
                </a:lnTo>
                <a:lnTo>
                  <a:pt x="1345382" y="6269561"/>
                </a:lnTo>
                <a:close/>
                <a:moveTo>
                  <a:pt x="1106434" y="6231132"/>
                </a:moveTo>
                <a:lnTo>
                  <a:pt x="1104886" y="6231455"/>
                </a:lnTo>
                <a:lnTo>
                  <a:pt x="1103622" y="6232335"/>
                </a:lnTo>
                <a:lnTo>
                  <a:pt x="1102769" y="6233641"/>
                </a:lnTo>
                <a:lnTo>
                  <a:pt x="1102457" y="6235239"/>
                </a:lnTo>
                <a:lnTo>
                  <a:pt x="1102457" y="6378643"/>
                </a:lnTo>
                <a:lnTo>
                  <a:pt x="1102769" y="6380242"/>
                </a:lnTo>
                <a:lnTo>
                  <a:pt x="1103622" y="6381547"/>
                </a:lnTo>
                <a:lnTo>
                  <a:pt x="1104886" y="6382427"/>
                </a:lnTo>
                <a:lnTo>
                  <a:pt x="1106434" y="6382750"/>
                </a:lnTo>
                <a:lnTo>
                  <a:pt x="1143384" y="6382750"/>
                </a:lnTo>
                <a:lnTo>
                  <a:pt x="1144932" y="6382427"/>
                </a:lnTo>
                <a:lnTo>
                  <a:pt x="1146197" y="6381547"/>
                </a:lnTo>
                <a:lnTo>
                  <a:pt x="1147050" y="6380242"/>
                </a:lnTo>
                <a:lnTo>
                  <a:pt x="1147362" y="6378643"/>
                </a:lnTo>
                <a:lnTo>
                  <a:pt x="1147362" y="6235239"/>
                </a:lnTo>
                <a:lnTo>
                  <a:pt x="1147050" y="6233641"/>
                </a:lnTo>
                <a:lnTo>
                  <a:pt x="1146197" y="6232335"/>
                </a:lnTo>
                <a:lnTo>
                  <a:pt x="1144932" y="6231455"/>
                </a:lnTo>
                <a:lnTo>
                  <a:pt x="1143384" y="6231132"/>
                </a:lnTo>
                <a:close/>
                <a:moveTo>
                  <a:pt x="1254739" y="6229607"/>
                </a:moveTo>
                <a:lnTo>
                  <a:pt x="1250024" y="6229850"/>
                </a:lnTo>
                <a:lnTo>
                  <a:pt x="1244879" y="6230637"/>
                </a:lnTo>
                <a:lnTo>
                  <a:pt x="1239513" y="6232052"/>
                </a:lnTo>
                <a:lnTo>
                  <a:pt x="1234133" y="6234183"/>
                </a:lnTo>
                <a:lnTo>
                  <a:pt x="1228947" y="6237114"/>
                </a:lnTo>
                <a:lnTo>
                  <a:pt x="1224162" y="6240933"/>
                </a:lnTo>
                <a:lnTo>
                  <a:pt x="1219987" y="6245723"/>
                </a:lnTo>
                <a:lnTo>
                  <a:pt x="1216628" y="6251572"/>
                </a:lnTo>
                <a:lnTo>
                  <a:pt x="1216628" y="6235238"/>
                </a:lnTo>
                <a:lnTo>
                  <a:pt x="1216316" y="6233640"/>
                </a:lnTo>
                <a:lnTo>
                  <a:pt x="1215463" y="6232335"/>
                </a:lnTo>
                <a:lnTo>
                  <a:pt x="1214199" y="6231454"/>
                </a:lnTo>
                <a:lnTo>
                  <a:pt x="1212650" y="6231132"/>
                </a:lnTo>
                <a:lnTo>
                  <a:pt x="1177178" y="6231132"/>
                </a:lnTo>
                <a:lnTo>
                  <a:pt x="1175630" y="6231454"/>
                </a:lnTo>
                <a:lnTo>
                  <a:pt x="1174366" y="6232335"/>
                </a:lnTo>
                <a:lnTo>
                  <a:pt x="1173513" y="6233640"/>
                </a:lnTo>
                <a:lnTo>
                  <a:pt x="1173201" y="6235238"/>
                </a:lnTo>
                <a:lnTo>
                  <a:pt x="1173201" y="6378642"/>
                </a:lnTo>
                <a:lnTo>
                  <a:pt x="1173513" y="6380242"/>
                </a:lnTo>
                <a:lnTo>
                  <a:pt x="1174366" y="6381548"/>
                </a:lnTo>
                <a:lnTo>
                  <a:pt x="1175630" y="6382428"/>
                </a:lnTo>
                <a:lnTo>
                  <a:pt x="1177178" y="6382751"/>
                </a:lnTo>
                <a:lnTo>
                  <a:pt x="1214127" y="6382751"/>
                </a:lnTo>
                <a:lnTo>
                  <a:pt x="1215676" y="6382428"/>
                </a:lnTo>
                <a:lnTo>
                  <a:pt x="1216940" y="6381548"/>
                </a:lnTo>
                <a:lnTo>
                  <a:pt x="1217792" y="6380242"/>
                </a:lnTo>
                <a:lnTo>
                  <a:pt x="1218105" y="6378642"/>
                </a:lnTo>
                <a:lnTo>
                  <a:pt x="1218105" y="6316549"/>
                </a:lnTo>
                <a:lnTo>
                  <a:pt x="1218497" y="6308781"/>
                </a:lnTo>
                <a:lnTo>
                  <a:pt x="1219630" y="6301926"/>
                </a:lnTo>
                <a:lnTo>
                  <a:pt x="1221437" y="6295946"/>
                </a:lnTo>
                <a:lnTo>
                  <a:pt x="1223855" y="6290807"/>
                </a:lnTo>
                <a:lnTo>
                  <a:pt x="1226817" y="6286470"/>
                </a:lnTo>
                <a:lnTo>
                  <a:pt x="1230259" y="6282901"/>
                </a:lnTo>
                <a:lnTo>
                  <a:pt x="1234115" y="6280062"/>
                </a:lnTo>
                <a:lnTo>
                  <a:pt x="1238320" y="6277917"/>
                </a:lnTo>
                <a:lnTo>
                  <a:pt x="1242809" y="6276430"/>
                </a:lnTo>
                <a:lnTo>
                  <a:pt x="1247516" y="6275565"/>
                </a:lnTo>
                <a:lnTo>
                  <a:pt x="1252376" y="6275284"/>
                </a:lnTo>
                <a:lnTo>
                  <a:pt x="1254599" y="6275312"/>
                </a:lnTo>
                <a:lnTo>
                  <a:pt x="1256730" y="6275402"/>
                </a:lnTo>
                <a:lnTo>
                  <a:pt x="1258821" y="6275565"/>
                </a:lnTo>
                <a:lnTo>
                  <a:pt x="1260894" y="6275809"/>
                </a:lnTo>
                <a:lnTo>
                  <a:pt x="1262471" y="6275713"/>
                </a:lnTo>
                <a:lnTo>
                  <a:pt x="1263347" y="6275284"/>
                </a:lnTo>
                <a:lnTo>
                  <a:pt x="1263848" y="6275039"/>
                </a:lnTo>
                <a:lnTo>
                  <a:pt x="1264877" y="6273889"/>
                </a:lnTo>
                <a:lnTo>
                  <a:pt x="1265415" y="6272363"/>
                </a:lnTo>
                <a:lnTo>
                  <a:pt x="1268444" y="6251572"/>
                </a:lnTo>
                <a:lnTo>
                  <a:pt x="1270750" y="6235738"/>
                </a:lnTo>
                <a:lnTo>
                  <a:pt x="1270687" y="6234167"/>
                </a:lnTo>
                <a:lnTo>
                  <a:pt x="1264312" y="6230481"/>
                </a:lnTo>
                <a:lnTo>
                  <a:pt x="1257574" y="6229712"/>
                </a:lnTo>
                <a:close/>
                <a:moveTo>
                  <a:pt x="1017052" y="6227471"/>
                </a:moveTo>
                <a:lnTo>
                  <a:pt x="1010253" y="6227809"/>
                </a:lnTo>
                <a:lnTo>
                  <a:pt x="1003864" y="6228772"/>
                </a:lnTo>
                <a:lnTo>
                  <a:pt x="997926" y="6230284"/>
                </a:lnTo>
                <a:lnTo>
                  <a:pt x="992476" y="6232272"/>
                </a:lnTo>
                <a:lnTo>
                  <a:pt x="987553" y="6234658"/>
                </a:lnTo>
                <a:lnTo>
                  <a:pt x="983198" y="6237369"/>
                </a:lnTo>
                <a:lnTo>
                  <a:pt x="979447" y="6240328"/>
                </a:lnTo>
                <a:lnTo>
                  <a:pt x="973919" y="6246690"/>
                </a:lnTo>
                <a:lnTo>
                  <a:pt x="973919" y="6235238"/>
                </a:lnTo>
                <a:lnTo>
                  <a:pt x="973606" y="6233640"/>
                </a:lnTo>
                <a:lnTo>
                  <a:pt x="972754" y="6232335"/>
                </a:lnTo>
                <a:lnTo>
                  <a:pt x="971489" y="6231454"/>
                </a:lnTo>
                <a:lnTo>
                  <a:pt x="969940" y="6231132"/>
                </a:lnTo>
                <a:lnTo>
                  <a:pt x="934469" y="6231132"/>
                </a:lnTo>
                <a:lnTo>
                  <a:pt x="932920" y="6231454"/>
                </a:lnTo>
                <a:lnTo>
                  <a:pt x="931655" y="6232335"/>
                </a:lnTo>
                <a:lnTo>
                  <a:pt x="930803" y="6233640"/>
                </a:lnTo>
                <a:lnTo>
                  <a:pt x="930490" y="6235238"/>
                </a:lnTo>
                <a:lnTo>
                  <a:pt x="930490" y="6436605"/>
                </a:lnTo>
                <a:lnTo>
                  <a:pt x="930803" y="6438204"/>
                </a:lnTo>
                <a:lnTo>
                  <a:pt x="931655" y="6439509"/>
                </a:lnTo>
                <a:lnTo>
                  <a:pt x="932920" y="6440389"/>
                </a:lnTo>
                <a:lnTo>
                  <a:pt x="934469" y="6440712"/>
                </a:lnTo>
                <a:lnTo>
                  <a:pt x="971418" y="6440712"/>
                </a:lnTo>
                <a:lnTo>
                  <a:pt x="972966" y="6440389"/>
                </a:lnTo>
                <a:lnTo>
                  <a:pt x="974230" y="6439509"/>
                </a:lnTo>
                <a:lnTo>
                  <a:pt x="975083" y="6438204"/>
                </a:lnTo>
                <a:lnTo>
                  <a:pt x="975395" y="6436605"/>
                </a:lnTo>
                <a:lnTo>
                  <a:pt x="975395" y="6370853"/>
                </a:lnTo>
                <a:lnTo>
                  <a:pt x="978285" y="6373960"/>
                </a:lnTo>
                <a:lnTo>
                  <a:pt x="981835" y="6376839"/>
                </a:lnTo>
                <a:lnTo>
                  <a:pt x="986016" y="6379433"/>
                </a:lnTo>
                <a:lnTo>
                  <a:pt x="990795" y="6381683"/>
                </a:lnTo>
                <a:lnTo>
                  <a:pt x="996142" y="6383532"/>
                </a:lnTo>
                <a:lnTo>
                  <a:pt x="1002026" y="6384925"/>
                </a:lnTo>
                <a:lnTo>
                  <a:pt x="1008415" y="6385802"/>
                </a:lnTo>
                <a:lnTo>
                  <a:pt x="1015278" y="6386107"/>
                </a:lnTo>
                <a:lnTo>
                  <a:pt x="1020801" y="6385903"/>
                </a:lnTo>
                <a:lnTo>
                  <a:pt x="1026165" y="6385298"/>
                </a:lnTo>
                <a:lnTo>
                  <a:pt x="1031359" y="6384303"/>
                </a:lnTo>
                <a:lnTo>
                  <a:pt x="1036375" y="6382930"/>
                </a:lnTo>
                <a:lnTo>
                  <a:pt x="1041203" y="6381190"/>
                </a:lnTo>
                <a:lnTo>
                  <a:pt x="1045833" y="6379095"/>
                </a:lnTo>
                <a:lnTo>
                  <a:pt x="1050256" y="6376656"/>
                </a:lnTo>
                <a:lnTo>
                  <a:pt x="1054462" y="6373884"/>
                </a:lnTo>
                <a:lnTo>
                  <a:pt x="1058363" y="6370853"/>
                </a:lnTo>
                <a:lnTo>
                  <a:pt x="1062187" y="6367387"/>
                </a:lnTo>
                <a:lnTo>
                  <a:pt x="1065687" y="6363684"/>
                </a:lnTo>
                <a:lnTo>
                  <a:pt x="1068932" y="6359694"/>
                </a:lnTo>
                <a:lnTo>
                  <a:pt x="1071913" y="6355428"/>
                </a:lnTo>
                <a:lnTo>
                  <a:pt x="1074621" y="6350898"/>
                </a:lnTo>
                <a:lnTo>
                  <a:pt x="1077046" y="6346114"/>
                </a:lnTo>
                <a:lnTo>
                  <a:pt x="1077680" y="6344618"/>
                </a:lnTo>
                <a:lnTo>
                  <a:pt x="1081008" y="6335831"/>
                </a:lnTo>
                <a:lnTo>
                  <a:pt x="1082527" y="6330355"/>
                </a:lnTo>
                <a:lnTo>
                  <a:pt x="1083727" y="6324652"/>
                </a:lnTo>
                <a:lnTo>
                  <a:pt x="1084591" y="6318790"/>
                </a:lnTo>
                <a:lnTo>
                  <a:pt x="1085119" y="6312724"/>
                </a:lnTo>
                <a:lnTo>
                  <a:pt x="1085297" y="6306484"/>
                </a:lnTo>
                <a:lnTo>
                  <a:pt x="1085138" y="6300361"/>
                </a:lnTo>
                <a:lnTo>
                  <a:pt x="1084666" y="6294398"/>
                </a:lnTo>
                <a:lnTo>
                  <a:pt x="1083885" y="6288607"/>
                </a:lnTo>
                <a:lnTo>
                  <a:pt x="1082801" y="6283000"/>
                </a:lnTo>
                <a:lnTo>
                  <a:pt x="1081418" y="6277590"/>
                </a:lnTo>
                <a:lnTo>
                  <a:pt x="1079741" y="6272388"/>
                </a:lnTo>
                <a:lnTo>
                  <a:pt x="1078509" y="6269265"/>
                </a:lnTo>
                <a:lnTo>
                  <a:pt x="1077776" y="6267406"/>
                </a:lnTo>
                <a:lnTo>
                  <a:pt x="1075527" y="6262658"/>
                </a:lnTo>
                <a:lnTo>
                  <a:pt x="1072999" y="6258154"/>
                </a:lnTo>
                <a:lnTo>
                  <a:pt x="1070198" y="6253908"/>
                </a:lnTo>
                <a:lnTo>
                  <a:pt x="1067128" y="6249932"/>
                </a:lnTo>
                <a:lnTo>
                  <a:pt x="1064203" y="6246690"/>
                </a:lnTo>
                <a:lnTo>
                  <a:pt x="1060201" y="6242836"/>
                </a:lnTo>
                <a:lnTo>
                  <a:pt x="1056355" y="6239742"/>
                </a:lnTo>
                <a:lnTo>
                  <a:pt x="1052260" y="6236966"/>
                </a:lnTo>
                <a:lnTo>
                  <a:pt x="1047922" y="6234520"/>
                </a:lnTo>
                <a:lnTo>
                  <a:pt x="1043344" y="6232417"/>
                </a:lnTo>
                <a:lnTo>
                  <a:pt x="1038533" y="6230669"/>
                </a:lnTo>
                <a:lnTo>
                  <a:pt x="1033494" y="6229288"/>
                </a:lnTo>
                <a:lnTo>
                  <a:pt x="1028230" y="6228287"/>
                </a:lnTo>
                <a:lnTo>
                  <a:pt x="1022748" y="6227677"/>
                </a:lnTo>
                <a:close/>
                <a:moveTo>
                  <a:pt x="1518121" y="6226556"/>
                </a:moveTo>
                <a:lnTo>
                  <a:pt x="1512547" y="6226743"/>
                </a:lnTo>
                <a:lnTo>
                  <a:pt x="1507086" y="6227298"/>
                </a:lnTo>
                <a:lnTo>
                  <a:pt x="1501751" y="6228211"/>
                </a:lnTo>
                <a:lnTo>
                  <a:pt x="1496554" y="6229472"/>
                </a:lnTo>
                <a:lnTo>
                  <a:pt x="1491508" y="6231073"/>
                </a:lnTo>
                <a:lnTo>
                  <a:pt x="1486625" y="6233004"/>
                </a:lnTo>
                <a:lnTo>
                  <a:pt x="1481918" y="6235254"/>
                </a:lnTo>
                <a:lnTo>
                  <a:pt x="1477398" y="6237816"/>
                </a:lnTo>
                <a:lnTo>
                  <a:pt x="1473080" y="6240679"/>
                </a:lnTo>
                <a:lnTo>
                  <a:pt x="1468975" y="6243834"/>
                </a:lnTo>
                <a:lnTo>
                  <a:pt x="1465095" y="6247271"/>
                </a:lnTo>
                <a:lnTo>
                  <a:pt x="1461455" y="6250981"/>
                </a:lnTo>
                <a:lnTo>
                  <a:pt x="1458064" y="6254955"/>
                </a:lnTo>
                <a:lnTo>
                  <a:pt x="1454938" y="6259182"/>
                </a:lnTo>
                <a:lnTo>
                  <a:pt x="1452087" y="6263654"/>
                </a:lnTo>
                <a:lnTo>
                  <a:pt x="1449525" y="6268361"/>
                </a:lnTo>
                <a:lnTo>
                  <a:pt x="1447263" y="6273294"/>
                </a:lnTo>
                <a:lnTo>
                  <a:pt x="1445310" y="6278461"/>
                </a:lnTo>
                <a:lnTo>
                  <a:pt x="1443694" y="6283797"/>
                </a:lnTo>
                <a:lnTo>
                  <a:pt x="1442411" y="6289349"/>
                </a:lnTo>
                <a:lnTo>
                  <a:pt x="1441479" y="6295089"/>
                </a:lnTo>
                <a:lnTo>
                  <a:pt x="1440910" y="6301007"/>
                </a:lnTo>
                <a:lnTo>
                  <a:pt x="1440718" y="6307094"/>
                </a:lnTo>
                <a:lnTo>
                  <a:pt x="1440899" y="6312893"/>
                </a:lnTo>
                <a:lnTo>
                  <a:pt x="1441435" y="6318541"/>
                </a:lnTo>
                <a:lnTo>
                  <a:pt x="1442314" y="6324029"/>
                </a:lnTo>
                <a:lnTo>
                  <a:pt x="1443524" y="6329349"/>
                </a:lnTo>
                <a:lnTo>
                  <a:pt x="1445055" y="6334492"/>
                </a:lnTo>
                <a:lnTo>
                  <a:pt x="1446894" y="6339450"/>
                </a:lnTo>
                <a:lnTo>
                  <a:pt x="1449030" y="6344213"/>
                </a:lnTo>
                <a:lnTo>
                  <a:pt x="1451452" y="6348774"/>
                </a:lnTo>
                <a:lnTo>
                  <a:pt x="1454147" y="6353125"/>
                </a:lnTo>
                <a:lnTo>
                  <a:pt x="1457105" y="6357256"/>
                </a:lnTo>
                <a:lnTo>
                  <a:pt x="1460313" y="6361160"/>
                </a:lnTo>
                <a:lnTo>
                  <a:pt x="1463761" y="6364827"/>
                </a:lnTo>
                <a:lnTo>
                  <a:pt x="1467436" y="6368250"/>
                </a:lnTo>
                <a:lnTo>
                  <a:pt x="1471328" y="6371419"/>
                </a:lnTo>
                <a:lnTo>
                  <a:pt x="1475425" y="6374327"/>
                </a:lnTo>
                <a:lnTo>
                  <a:pt x="1479714" y="6376964"/>
                </a:lnTo>
                <a:lnTo>
                  <a:pt x="1484185" y="6379324"/>
                </a:lnTo>
                <a:lnTo>
                  <a:pt x="1488826" y="6381396"/>
                </a:lnTo>
                <a:lnTo>
                  <a:pt x="1493626" y="6383172"/>
                </a:lnTo>
                <a:lnTo>
                  <a:pt x="1498572" y="6384645"/>
                </a:lnTo>
                <a:lnTo>
                  <a:pt x="1503654" y="6385805"/>
                </a:lnTo>
                <a:lnTo>
                  <a:pt x="1508860" y="6386644"/>
                </a:lnTo>
                <a:lnTo>
                  <a:pt x="1514178" y="6387153"/>
                </a:lnTo>
                <a:lnTo>
                  <a:pt x="1519597" y="6387325"/>
                </a:lnTo>
                <a:lnTo>
                  <a:pt x="1526428" y="6387054"/>
                </a:lnTo>
                <a:lnTo>
                  <a:pt x="1532938" y="6386261"/>
                </a:lnTo>
                <a:lnTo>
                  <a:pt x="1539123" y="6384980"/>
                </a:lnTo>
                <a:lnTo>
                  <a:pt x="1544980" y="6383243"/>
                </a:lnTo>
                <a:lnTo>
                  <a:pt x="1550506" y="6381082"/>
                </a:lnTo>
                <a:lnTo>
                  <a:pt x="1555698" y="6378529"/>
                </a:lnTo>
                <a:lnTo>
                  <a:pt x="1560552" y="6375618"/>
                </a:lnTo>
                <a:lnTo>
                  <a:pt x="1565064" y="6372380"/>
                </a:lnTo>
                <a:lnTo>
                  <a:pt x="1569232" y="6368848"/>
                </a:lnTo>
                <a:lnTo>
                  <a:pt x="1573052" y="6365054"/>
                </a:lnTo>
                <a:lnTo>
                  <a:pt x="1576520" y="6361031"/>
                </a:lnTo>
                <a:lnTo>
                  <a:pt x="1579635" y="6356812"/>
                </a:lnTo>
                <a:lnTo>
                  <a:pt x="1582391" y="6352428"/>
                </a:lnTo>
                <a:lnTo>
                  <a:pt x="1584786" y="6347913"/>
                </a:lnTo>
                <a:lnTo>
                  <a:pt x="1586236" y="6344617"/>
                </a:lnTo>
                <a:lnTo>
                  <a:pt x="1586816" y="6343297"/>
                </a:lnTo>
                <a:lnTo>
                  <a:pt x="1588479" y="6338615"/>
                </a:lnTo>
                <a:lnTo>
                  <a:pt x="1588664" y="6336960"/>
                </a:lnTo>
                <a:lnTo>
                  <a:pt x="1588235" y="6335417"/>
                </a:lnTo>
                <a:lnTo>
                  <a:pt x="1587274" y="6334160"/>
                </a:lnTo>
                <a:lnTo>
                  <a:pt x="1585862" y="6333362"/>
                </a:lnTo>
                <a:lnTo>
                  <a:pt x="1553627" y="6323178"/>
                </a:lnTo>
                <a:lnTo>
                  <a:pt x="1552160" y="6323012"/>
                </a:lnTo>
                <a:lnTo>
                  <a:pt x="1550782" y="6323397"/>
                </a:lnTo>
                <a:lnTo>
                  <a:pt x="1549622" y="6324263"/>
                </a:lnTo>
                <a:lnTo>
                  <a:pt x="1548805" y="6325541"/>
                </a:lnTo>
                <a:lnTo>
                  <a:pt x="1546706" y="6329749"/>
                </a:lnTo>
                <a:lnTo>
                  <a:pt x="1543941" y="6333699"/>
                </a:lnTo>
                <a:lnTo>
                  <a:pt x="1540495" y="6337251"/>
                </a:lnTo>
                <a:lnTo>
                  <a:pt x="1536352" y="6340260"/>
                </a:lnTo>
                <a:lnTo>
                  <a:pt x="1531498" y="6342586"/>
                </a:lnTo>
                <a:lnTo>
                  <a:pt x="1525918" y="6344086"/>
                </a:lnTo>
                <a:lnTo>
                  <a:pt x="1519597" y="6344617"/>
                </a:lnTo>
                <a:lnTo>
                  <a:pt x="1514604" y="6344286"/>
                </a:lnTo>
                <a:lnTo>
                  <a:pt x="1509815" y="6343302"/>
                </a:lnTo>
                <a:lnTo>
                  <a:pt x="1505287" y="6341678"/>
                </a:lnTo>
                <a:lnTo>
                  <a:pt x="1501076" y="6339424"/>
                </a:lnTo>
                <a:lnTo>
                  <a:pt x="1497242" y="6336555"/>
                </a:lnTo>
                <a:lnTo>
                  <a:pt x="1493840" y="6333082"/>
                </a:lnTo>
                <a:lnTo>
                  <a:pt x="1490928" y="6329017"/>
                </a:lnTo>
                <a:lnTo>
                  <a:pt x="1488564" y="6324374"/>
                </a:lnTo>
                <a:lnTo>
                  <a:pt x="1486804" y="6319164"/>
                </a:lnTo>
                <a:lnTo>
                  <a:pt x="1485706" y="6313400"/>
                </a:lnTo>
                <a:lnTo>
                  <a:pt x="1485327" y="6307094"/>
                </a:lnTo>
                <a:lnTo>
                  <a:pt x="1485692" y="6300711"/>
                </a:lnTo>
                <a:lnTo>
                  <a:pt x="1486752" y="6294885"/>
                </a:lnTo>
                <a:lnTo>
                  <a:pt x="1488456" y="6289625"/>
                </a:lnTo>
                <a:lnTo>
                  <a:pt x="1490750" y="6284943"/>
                </a:lnTo>
                <a:lnTo>
                  <a:pt x="1493584" y="6280849"/>
                </a:lnTo>
                <a:lnTo>
                  <a:pt x="1496906" y="6277355"/>
                </a:lnTo>
                <a:lnTo>
                  <a:pt x="1500663" y="6274472"/>
                </a:lnTo>
                <a:lnTo>
                  <a:pt x="1504804" y="6272210"/>
                </a:lnTo>
                <a:lnTo>
                  <a:pt x="1509276" y="6270581"/>
                </a:lnTo>
                <a:lnTo>
                  <a:pt x="1514028" y="6269595"/>
                </a:lnTo>
                <a:lnTo>
                  <a:pt x="1519008" y="6269264"/>
                </a:lnTo>
                <a:lnTo>
                  <a:pt x="1525289" y="6269783"/>
                </a:lnTo>
                <a:lnTo>
                  <a:pt x="1530765" y="6271251"/>
                </a:lnTo>
                <a:lnTo>
                  <a:pt x="1535471" y="6273539"/>
                </a:lnTo>
                <a:lnTo>
                  <a:pt x="1539447" y="6276516"/>
                </a:lnTo>
                <a:lnTo>
                  <a:pt x="1542728" y="6280050"/>
                </a:lnTo>
                <a:lnTo>
                  <a:pt x="1545352" y="6284012"/>
                </a:lnTo>
                <a:lnTo>
                  <a:pt x="1547356" y="6288270"/>
                </a:lnTo>
                <a:lnTo>
                  <a:pt x="1548161" y="6289574"/>
                </a:lnTo>
                <a:lnTo>
                  <a:pt x="1549322" y="6290463"/>
                </a:lnTo>
                <a:lnTo>
                  <a:pt x="1550709" y="6290865"/>
                </a:lnTo>
                <a:lnTo>
                  <a:pt x="1552192" y="6290706"/>
                </a:lnTo>
                <a:lnTo>
                  <a:pt x="1584982" y="6280499"/>
                </a:lnTo>
                <a:lnTo>
                  <a:pt x="1586395" y="6279710"/>
                </a:lnTo>
                <a:lnTo>
                  <a:pt x="1587360" y="6278461"/>
                </a:lnTo>
                <a:lnTo>
                  <a:pt x="1587797" y="6276923"/>
                </a:lnTo>
                <a:lnTo>
                  <a:pt x="1587624" y="6275269"/>
                </a:lnTo>
                <a:lnTo>
                  <a:pt x="1586087" y="6270783"/>
                </a:lnTo>
                <a:lnTo>
                  <a:pt x="1585447" y="6269264"/>
                </a:lnTo>
                <a:lnTo>
                  <a:pt x="1584229" y="6266374"/>
                </a:lnTo>
                <a:lnTo>
                  <a:pt x="1582051" y="6262066"/>
                </a:lnTo>
                <a:lnTo>
                  <a:pt x="1579553" y="6257885"/>
                </a:lnTo>
                <a:lnTo>
                  <a:pt x="1576736" y="6253856"/>
                </a:lnTo>
                <a:lnTo>
                  <a:pt x="1573599" y="6250004"/>
                </a:lnTo>
                <a:lnTo>
                  <a:pt x="1570144" y="6246355"/>
                </a:lnTo>
                <a:lnTo>
                  <a:pt x="1566370" y="6242934"/>
                </a:lnTo>
                <a:lnTo>
                  <a:pt x="1562278" y="6239766"/>
                </a:lnTo>
                <a:lnTo>
                  <a:pt x="1557868" y="6236876"/>
                </a:lnTo>
                <a:lnTo>
                  <a:pt x="1553140" y="6234289"/>
                </a:lnTo>
                <a:lnTo>
                  <a:pt x="1548095" y="6232031"/>
                </a:lnTo>
                <a:lnTo>
                  <a:pt x="1542733" y="6230128"/>
                </a:lnTo>
                <a:lnTo>
                  <a:pt x="1537054" y="6228603"/>
                </a:lnTo>
                <a:lnTo>
                  <a:pt x="1531059" y="6227483"/>
                </a:lnTo>
                <a:lnTo>
                  <a:pt x="1524748" y="6226792"/>
                </a:lnTo>
                <a:close/>
                <a:moveTo>
                  <a:pt x="1349948" y="6226556"/>
                </a:moveTo>
                <a:lnTo>
                  <a:pt x="1344301" y="6226743"/>
                </a:lnTo>
                <a:lnTo>
                  <a:pt x="1338773" y="6227298"/>
                </a:lnTo>
                <a:lnTo>
                  <a:pt x="1333377" y="6228210"/>
                </a:lnTo>
                <a:lnTo>
                  <a:pt x="1328124" y="6229471"/>
                </a:lnTo>
                <a:lnTo>
                  <a:pt x="1323028" y="6231070"/>
                </a:lnTo>
                <a:lnTo>
                  <a:pt x="1318101" y="6232998"/>
                </a:lnTo>
                <a:lnTo>
                  <a:pt x="1313353" y="6235246"/>
                </a:lnTo>
                <a:lnTo>
                  <a:pt x="1308799" y="6237803"/>
                </a:lnTo>
                <a:lnTo>
                  <a:pt x="1304450" y="6240661"/>
                </a:lnTo>
                <a:lnTo>
                  <a:pt x="1300319" y="6243809"/>
                </a:lnTo>
                <a:lnTo>
                  <a:pt x="1296416" y="6247238"/>
                </a:lnTo>
                <a:lnTo>
                  <a:pt x="1292756" y="6250938"/>
                </a:lnTo>
                <a:lnTo>
                  <a:pt x="1289350" y="6254900"/>
                </a:lnTo>
                <a:lnTo>
                  <a:pt x="1286210" y="6259113"/>
                </a:lnTo>
                <a:lnTo>
                  <a:pt x="1283349" y="6263569"/>
                </a:lnTo>
                <a:lnTo>
                  <a:pt x="1280778" y="6268258"/>
                </a:lnTo>
                <a:lnTo>
                  <a:pt x="1278511" y="6273170"/>
                </a:lnTo>
                <a:lnTo>
                  <a:pt x="1276559" y="6278296"/>
                </a:lnTo>
                <a:lnTo>
                  <a:pt x="1274934" y="6283625"/>
                </a:lnTo>
                <a:lnTo>
                  <a:pt x="1273649" y="6289148"/>
                </a:lnTo>
                <a:lnTo>
                  <a:pt x="1272716" y="6294856"/>
                </a:lnTo>
                <a:lnTo>
                  <a:pt x="1272147" y="6300739"/>
                </a:lnTo>
                <a:lnTo>
                  <a:pt x="1271955" y="6306788"/>
                </a:lnTo>
                <a:lnTo>
                  <a:pt x="1272132" y="6312589"/>
                </a:lnTo>
                <a:lnTo>
                  <a:pt x="1272655" y="6318242"/>
                </a:lnTo>
                <a:lnTo>
                  <a:pt x="1273513" y="6323737"/>
                </a:lnTo>
                <a:lnTo>
                  <a:pt x="1274696" y="6329067"/>
                </a:lnTo>
                <a:lnTo>
                  <a:pt x="1276193" y="6334221"/>
                </a:lnTo>
                <a:lnTo>
                  <a:pt x="1277993" y="6339192"/>
                </a:lnTo>
                <a:lnTo>
                  <a:pt x="1280085" y="6343971"/>
                </a:lnTo>
                <a:lnTo>
                  <a:pt x="1282459" y="6348549"/>
                </a:lnTo>
                <a:lnTo>
                  <a:pt x="1285104" y="6352916"/>
                </a:lnTo>
                <a:lnTo>
                  <a:pt x="1288009" y="6357066"/>
                </a:lnTo>
                <a:lnTo>
                  <a:pt x="1291163" y="6360988"/>
                </a:lnTo>
                <a:lnTo>
                  <a:pt x="1294555" y="6364675"/>
                </a:lnTo>
                <a:lnTo>
                  <a:pt x="1298175" y="6368116"/>
                </a:lnTo>
                <a:lnTo>
                  <a:pt x="1302013" y="6371304"/>
                </a:lnTo>
                <a:lnTo>
                  <a:pt x="1306056" y="6374230"/>
                </a:lnTo>
                <a:lnTo>
                  <a:pt x="1310295" y="6376886"/>
                </a:lnTo>
                <a:lnTo>
                  <a:pt x="1314719" y="6379261"/>
                </a:lnTo>
                <a:lnTo>
                  <a:pt x="1319316" y="6381348"/>
                </a:lnTo>
                <a:lnTo>
                  <a:pt x="1324077" y="6383138"/>
                </a:lnTo>
                <a:lnTo>
                  <a:pt x="1328989" y="6384622"/>
                </a:lnTo>
                <a:lnTo>
                  <a:pt x="1334044" y="6385792"/>
                </a:lnTo>
                <a:lnTo>
                  <a:pt x="1339229" y="6386638"/>
                </a:lnTo>
                <a:lnTo>
                  <a:pt x="1344534" y="6387152"/>
                </a:lnTo>
                <a:lnTo>
                  <a:pt x="1349948" y="6387325"/>
                </a:lnTo>
                <a:lnTo>
                  <a:pt x="1355397" y="6387152"/>
                </a:lnTo>
                <a:lnTo>
                  <a:pt x="1360730" y="6386638"/>
                </a:lnTo>
                <a:lnTo>
                  <a:pt x="1365938" y="6385792"/>
                </a:lnTo>
                <a:lnTo>
                  <a:pt x="1371010" y="6384622"/>
                </a:lnTo>
                <a:lnTo>
                  <a:pt x="1375936" y="6383138"/>
                </a:lnTo>
                <a:lnTo>
                  <a:pt x="1380706" y="6381348"/>
                </a:lnTo>
                <a:lnTo>
                  <a:pt x="1385308" y="6379261"/>
                </a:lnTo>
                <a:lnTo>
                  <a:pt x="1389734" y="6376886"/>
                </a:lnTo>
                <a:lnTo>
                  <a:pt x="1393971" y="6374230"/>
                </a:lnTo>
                <a:lnTo>
                  <a:pt x="1398010" y="6371304"/>
                </a:lnTo>
                <a:lnTo>
                  <a:pt x="1401841" y="6368116"/>
                </a:lnTo>
                <a:lnTo>
                  <a:pt x="1405453" y="6364675"/>
                </a:lnTo>
                <a:lnTo>
                  <a:pt x="1408836" y="6360988"/>
                </a:lnTo>
                <a:lnTo>
                  <a:pt x="1411979" y="6357066"/>
                </a:lnTo>
                <a:lnTo>
                  <a:pt x="1414872" y="6352916"/>
                </a:lnTo>
                <a:lnTo>
                  <a:pt x="1417504" y="6348549"/>
                </a:lnTo>
                <a:lnTo>
                  <a:pt x="1419533" y="6344617"/>
                </a:lnTo>
                <a:lnTo>
                  <a:pt x="1421947" y="6339192"/>
                </a:lnTo>
                <a:lnTo>
                  <a:pt x="1423736" y="6334221"/>
                </a:lnTo>
                <a:lnTo>
                  <a:pt x="1425223" y="6329067"/>
                </a:lnTo>
                <a:lnTo>
                  <a:pt x="1426398" y="6323737"/>
                </a:lnTo>
                <a:lnTo>
                  <a:pt x="1427249" y="6318242"/>
                </a:lnTo>
                <a:lnTo>
                  <a:pt x="1427768" y="6312589"/>
                </a:lnTo>
                <a:lnTo>
                  <a:pt x="1427943" y="6306788"/>
                </a:lnTo>
                <a:lnTo>
                  <a:pt x="1427753" y="6300739"/>
                </a:lnTo>
                <a:lnTo>
                  <a:pt x="1427188" y="6294856"/>
                </a:lnTo>
                <a:lnTo>
                  <a:pt x="1426262" y="6289148"/>
                </a:lnTo>
                <a:lnTo>
                  <a:pt x="1424986" y="6283625"/>
                </a:lnTo>
                <a:lnTo>
                  <a:pt x="1423372" y="6278296"/>
                </a:lnTo>
                <a:lnTo>
                  <a:pt x="1421432" y="6273170"/>
                </a:lnTo>
                <a:lnTo>
                  <a:pt x="1419639" y="6269264"/>
                </a:lnTo>
                <a:lnTo>
                  <a:pt x="1419177" y="6268258"/>
                </a:lnTo>
                <a:lnTo>
                  <a:pt x="1416619" y="6263569"/>
                </a:lnTo>
                <a:lnTo>
                  <a:pt x="1413770" y="6259113"/>
                </a:lnTo>
                <a:lnTo>
                  <a:pt x="1410643" y="6254900"/>
                </a:lnTo>
                <a:lnTo>
                  <a:pt x="1407247" y="6250938"/>
                </a:lnTo>
                <a:lnTo>
                  <a:pt x="1403597" y="6247238"/>
                </a:lnTo>
                <a:lnTo>
                  <a:pt x="1399702" y="6243809"/>
                </a:lnTo>
                <a:lnTo>
                  <a:pt x="1395576" y="6240661"/>
                </a:lnTo>
                <a:lnTo>
                  <a:pt x="1391230" y="6237803"/>
                </a:lnTo>
                <a:lnTo>
                  <a:pt x="1386675" y="6235246"/>
                </a:lnTo>
                <a:lnTo>
                  <a:pt x="1381923" y="6232998"/>
                </a:lnTo>
                <a:lnTo>
                  <a:pt x="1376987" y="6231070"/>
                </a:lnTo>
                <a:lnTo>
                  <a:pt x="1371878" y="6229471"/>
                </a:lnTo>
                <a:lnTo>
                  <a:pt x="1366608" y="6228210"/>
                </a:lnTo>
                <a:lnTo>
                  <a:pt x="1361188" y="6227298"/>
                </a:lnTo>
                <a:lnTo>
                  <a:pt x="1355631" y="6226743"/>
                </a:lnTo>
                <a:close/>
                <a:moveTo>
                  <a:pt x="782044" y="6166457"/>
                </a:moveTo>
                <a:lnTo>
                  <a:pt x="780496" y="6166780"/>
                </a:lnTo>
                <a:lnTo>
                  <a:pt x="779232" y="6167660"/>
                </a:lnTo>
                <a:lnTo>
                  <a:pt x="778380" y="6168966"/>
                </a:lnTo>
                <a:lnTo>
                  <a:pt x="778067" y="6170564"/>
                </a:lnTo>
                <a:lnTo>
                  <a:pt x="778067" y="6378643"/>
                </a:lnTo>
                <a:lnTo>
                  <a:pt x="778380" y="6380242"/>
                </a:lnTo>
                <a:lnTo>
                  <a:pt x="779232" y="6381547"/>
                </a:lnTo>
                <a:lnTo>
                  <a:pt x="780496" y="6382427"/>
                </a:lnTo>
                <a:lnTo>
                  <a:pt x="782044" y="6382750"/>
                </a:lnTo>
                <a:lnTo>
                  <a:pt x="907033" y="6382750"/>
                </a:lnTo>
                <a:lnTo>
                  <a:pt x="908581" y="6382427"/>
                </a:lnTo>
                <a:lnTo>
                  <a:pt x="909845" y="6381547"/>
                </a:lnTo>
                <a:lnTo>
                  <a:pt x="910697" y="6380242"/>
                </a:lnTo>
                <a:lnTo>
                  <a:pt x="911010" y="6378643"/>
                </a:lnTo>
                <a:lnTo>
                  <a:pt x="911010" y="6341097"/>
                </a:lnTo>
                <a:lnTo>
                  <a:pt x="908581" y="6337313"/>
                </a:lnTo>
                <a:lnTo>
                  <a:pt x="828722" y="6336990"/>
                </a:lnTo>
                <a:lnTo>
                  <a:pt x="827174" y="6336667"/>
                </a:lnTo>
                <a:lnTo>
                  <a:pt x="825910" y="6335787"/>
                </a:lnTo>
                <a:lnTo>
                  <a:pt x="825057" y="6334481"/>
                </a:lnTo>
                <a:lnTo>
                  <a:pt x="824744" y="6332883"/>
                </a:lnTo>
                <a:lnTo>
                  <a:pt x="824744" y="6299607"/>
                </a:lnTo>
                <a:lnTo>
                  <a:pt x="825057" y="6298009"/>
                </a:lnTo>
                <a:lnTo>
                  <a:pt x="825910" y="6296703"/>
                </a:lnTo>
                <a:lnTo>
                  <a:pt x="827174" y="6295823"/>
                </a:lnTo>
                <a:lnTo>
                  <a:pt x="828722" y="6295500"/>
                </a:lnTo>
                <a:lnTo>
                  <a:pt x="898759" y="6295500"/>
                </a:lnTo>
                <a:lnTo>
                  <a:pt x="900308" y="6295178"/>
                </a:lnTo>
                <a:lnTo>
                  <a:pt x="901572" y="6294298"/>
                </a:lnTo>
                <a:lnTo>
                  <a:pt x="902425" y="6292992"/>
                </a:lnTo>
                <a:lnTo>
                  <a:pt x="902738" y="6291393"/>
                </a:lnTo>
                <a:lnTo>
                  <a:pt x="902738" y="6257204"/>
                </a:lnTo>
                <a:lnTo>
                  <a:pt x="902425" y="6255605"/>
                </a:lnTo>
                <a:lnTo>
                  <a:pt x="901572" y="6254300"/>
                </a:lnTo>
                <a:lnTo>
                  <a:pt x="900308" y="6253419"/>
                </a:lnTo>
                <a:lnTo>
                  <a:pt x="898759" y="6253097"/>
                </a:lnTo>
                <a:lnTo>
                  <a:pt x="828722" y="6253097"/>
                </a:lnTo>
                <a:lnTo>
                  <a:pt x="827174" y="6252774"/>
                </a:lnTo>
                <a:lnTo>
                  <a:pt x="825910" y="6251894"/>
                </a:lnTo>
                <a:lnTo>
                  <a:pt x="825057" y="6250589"/>
                </a:lnTo>
                <a:lnTo>
                  <a:pt x="824744" y="6248990"/>
                </a:lnTo>
                <a:lnTo>
                  <a:pt x="824744" y="6216020"/>
                </a:lnTo>
                <a:lnTo>
                  <a:pt x="825057" y="6214421"/>
                </a:lnTo>
                <a:lnTo>
                  <a:pt x="825910" y="6213116"/>
                </a:lnTo>
                <a:lnTo>
                  <a:pt x="827174" y="6212236"/>
                </a:lnTo>
                <a:lnTo>
                  <a:pt x="828722" y="6211913"/>
                </a:lnTo>
                <a:lnTo>
                  <a:pt x="906737" y="6211913"/>
                </a:lnTo>
                <a:lnTo>
                  <a:pt x="908285" y="6211590"/>
                </a:lnTo>
                <a:lnTo>
                  <a:pt x="909549" y="6210710"/>
                </a:lnTo>
                <a:lnTo>
                  <a:pt x="910401" y="6209405"/>
                </a:lnTo>
                <a:lnTo>
                  <a:pt x="910714" y="6207806"/>
                </a:lnTo>
                <a:lnTo>
                  <a:pt x="910714" y="6170564"/>
                </a:lnTo>
                <a:lnTo>
                  <a:pt x="910401" y="6168966"/>
                </a:lnTo>
                <a:lnTo>
                  <a:pt x="909549" y="6167660"/>
                </a:lnTo>
                <a:lnTo>
                  <a:pt x="908285" y="6166780"/>
                </a:lnTo>
                <a:lnTo>
                  <a:pt x="906737" y="6166457"/>
                </a:lnTo>
                <a:close/>
                <a:moveTo>
                  <a:pt x="1124613" y="6157611"/>
                </a:moveTo>
                <a:lnTo>
                  <a:pt x="1119425" y="6158165"/>
                </a:lnTo>
                <a:lnTo>
                  <a:pt x="1114569" y="6159751"/>
                </a:lnTo>
                <a:lnTo>
                  <a:pt x="1110156" y="6162260"/>
                </a:lnTo>
                <a:lnTo>
                  <a:pt x="1106297" y="6165581"/>
                </a:lnTo>
                <a:lnTo>
                  <a:pt x="1103103" y="6169602"/>
                </a:lnTo>
                <a:lnTo>
                  <a:pt x="1100684" y="6174213"/>
                </a:lnTo>
                <a:lnTo>
                  <a:pt x="1099151" y="6179304"/>
                </a:lnTo>
                <a:lnTo>
                  <a:pt x="1098616" y="6184762"/>
                </a:lnTo>
                <a:lnTo>
                  <a:pt x="1099151" y="6190221"/>
                </a:lnTo>
                <a:lnTo>
                  <a:pt x="1100684" y="6195311"/>
                </a:lnTo>
                <a:lnTo>
                  <a:pt x="1103103" y="6199922"/>
                </a:lnTo>
                <a:lnTo>
                  <a:pt x="1106297" y="6203943"/>
                </a:lnTo>
                <a:lnTo>
                  <a:pt x="1110156" y="6207264"/>
                </a:lnTo>
                <a:lnTo>
                  <a:pt x="1114569" y="6209773"/>
                </a:lnTo>
                <a:lnTo>
                  <a:pt x="1119425" y="6211360"/>
                </a:lnTo>
                <a:lnTo>
                  <a:pt x="1124613" y="6211913"/>
                </a:lnTo>
                <a:lnTo>
                  <a:pt x="1129997" y="6211360"/>
                </a:lnTo>
                <a:lnTo>
                  <a:pt x="1135000" y="6209773"/>
                </a:lnTo>
                <a:lnTo>
                  <a:pt x="1139518" y="6207264"/>
                </a:lnTo>
                <a:lnTo>
                  <a:pt x="1143447" y="6203943"/>
                </a:lnTo>
                <a:lnTo>
                  <a:pt x="1146685" y="6199922"/>
                </a:lnTo>
                <a:lnTo>
                  <a:pt x="1149125" y="6195311"/>
                </a:lnTo>
                <a:lnTo>
                  <a:pt x="1150666" y="6190221"/>
                </a:lnTo>
                <a:lnTo>
                  <a:pt x="1151203" y="6184762"/>
                </a:lnTo>
                <a:lnTo>
                  <a:pt x="1150666" y="6179304"/>
                </a:lnTo>
                <a:lnTo>
                  <a:pt x="1149125" y="6174213"/>
                </a:lnTo>
                <a:lnTo>
                  <a:pt x="1146685" y="6169602"/>
                </a:lnTo>
                <a:lnTo>
                  <a:pt x="1143447" y="6165581"/>
                </a:lnTo>
                <a:lnTo>
                  <a:pt x="1139518" y="6162260"/>
                </a:lnTo>
                <a:lnTo>
                  <a:pt x="1135000" y="6159751"/>
                </a:lnTo>
                <a:lnTo>
                  <a:pt x="1129997" y="6158165"/>
                </a:lnTo>
                <a:close/>
                <a:moveTo>
                  <a:pt x="581250" y="6120863"/>
                </a:moveTo>
                <a:lnTo>
                  <a:pt x="575834" y="6121606"/>
                </a:lnTo>
                <a:lnTo>
                  <a:pt x="570703" y="6123833"/>
                </a:lnTo>
                <a:lnTo>
                  <a:pt x="468377" y="6185889"/>
                </a:lnTo>
                <a:lnTo>
                  <a:pt x="463977" y="6189443"/>
                </a:lnTo>
                <a:lnTo>
                  <a:pt x="460658" y="6193998"/>
                </a:lnTo>
                <a:lnTo>
                  <a:pt x="458562" y="6199295"/>
                </a:lnTo>
                <a:lnTo>
                  <a:pt x="457832" y="6205076"/>
                </a:lnTo>
                <a:lnTo>
                  <a:pt x="457832" y="6329188"/>
                </a:lnTo>
                <a:lnTo>
                  <a:pt x="458562" y="6334969"/>
                </a:lnTo>
                <a:lnTo>
                  <a:pt x="460658" y="6340266"/>
                </a:lnTo>
                <a:lnTo>
                  <a:pt x="463977" y="6344822"/>
                </a:lnTo>
                <a:lnTo>
                  <a:pt x="468378" y="6348377"/>
                </a:lnTo>
                <a:lnTo>
                  <a:pt x="570703" y="6410433"/>
                </a:lnTo>
                <a:lnTo>
                  <a:pt x="575834" y="6412659"/>
                </a:lnTo>
                <a:lnTo>
                  <a:pt x="581250" y="6413401"/>
                </a:lnTo>
                <a:lnTo>
                  <a:pt x="586665" y="6412659"/>
                </a:lnTo>
                <a:lnTo>
                  <a:pt x="591796" y="6410433"/>
                </a:lnTo>
                <a:lnTo>
                  <a:pt x="687555" y="6352359"/>
                </a:lnTo>
                <a:lnTo>
                  <a:pt x="694122" y="6348377"/>
                </a:lnTo>
                <a:lnTo>
                  <a:pt x="698523" y="6344822"/>
                </a:lnTo>
                <a:lnTo>
                  <a:pt x="701842" y="6340266"/>
                </a:lnTo>
                <a:lnTo>
                  <a:pt x="703937" y="6334969"/>
                </a:lnTo>
                <a:lnTo>
                  <a:pt x="704667" y="6329188"/>
                </a:lnTo>
                <a:lnTo>
                  <a:pt x="704667" y="6277512"/>
                </a:lnTo>
                <a:lnTo>
                  <a:pt x="581250" y="6352359"/>
                </a:lnTo>
                <a:lnTo>
                  <a:pt x="512614" y="6310735"/>
                </a:lnTo>
                <a:lnTo>
                  <a:pt x="512651" y="6225511"/>
                </a:lnTo>
                <a:lnTo>
                  <a:pt x="576185" y="6186958"/>
                </a:lnTo>
                <a:lnTo>
                  <a:pt x="578647" y="6185889"/>
                </a:lnTo>
                <a:lnTo>
                  <a:pt x="581250" y="6185532"/>
                </a:lnTo>
                <a:lnTo>
                  <a:pt x="583855" y="6185889"/>
                </a:lnTo>
                <a:lnTo>
                  <a:pt x="586321" y="6186960"/>
                </a:lnTo>
                <a:lnTo>
                  <a:pt x="649885" y="6225509"/>
                </a:lnTo>
                <a:lnTo>
                  <a:pt x="589785" y="6261958"/>
                </a:lnTo>
                <a:lnTo>
                  <a:pt x="585633" y="6263759"/>
                </a:lnTo>
                <a:lnTo>
                  <a:pt x="581250" y="6264359"/>
                </a:lnTo>
                <a:lnTo>
                  <a:pt x="576868" y="6263758"/>
                </a:lnTo>
                <a:lnTo>
                  <a:pt x="572716" y="6261956"/>
                </a:lnTo>
                <a:lnTo>
                  <a:pt x="529723" y="6235870"/>
                </a:lnTo>
                <a:lnTo>
                  <a:pt x="529693" y="6300334"/>
                </a:lnTo>
                <a:lnTo>
                  <a:pt x="581250" y="6331602"/>
                </a:lnTo>
                <a:lnTo>
                  <a:pt x="692128" y="6264359"/>
                </a:lnTo>
                <a:lnTo>
                  <a:pt x="704667" y="6256755"/>
                </a:lnTo>
                <a:lnTo>
                  <a:pt x="704667" y="6205076"/>
                </a:lnTo>
                <a:lnTo>
                  <a:pt x="703937" y="6199295"/>
                </a:lnTo>
                <a:lnTo>
                  <a:pt x="701842" y="6193998"/>
                </a:lnTo>
                <a:lnTo>
                  <a:pt x="698523" y="6189443"/>
                </a:lnTo>
                <a:lnTo>
                  <a:pt x="694122" y="6185888"/>
                </a:lnTo>
                <a:lnTo>
                  <a:pt x="693534" y="6185532"/>
                </a:lnTo>
                <a:lnTo>
                  <a:pt x="591796" y="6123833"/>
                </a:lnTo>
                <a:lnTo>
                  <a:pt x="586665" y="612160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9819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White Logo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9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13853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Grey Logo Top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9907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- Yellow Logo Top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351" y="0"/>
            <a:ext cx="12185651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085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31"/>
            <a:ext cx="9969556" cy="525401"/>
          </a:xfrm>
        </p:spPr>
        <p:txBody>
          <a:bodyPr/>
          <a:lstStyle>
            <a:lvl1pPr>
              <a:defRPr>
                <a:solidFill>
                  <a:srgbClr val="425563"/>
                </a:solidFill>
              </a:defRPr>
            </a:lvl1pPr>
          </a:lstStyle>
          <a:p>
            <a:r>
              <a:rPr lang="en-US"/>
              <a:t>Click to edit Master </a:t>
            </a:r>
            <a:r>
              <a:rPr lang="en-US" noProof="0"/>
              <a:t>title</a:t>
            </a:r>
            <a:r>
              <a:rPr lang="en-US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7" y="1517907"/>
            <a:ext cx="11359616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rgbClr val="425563"/>
                </a:solidFill>
              </a:defRPr>
            </a:lvl1pPr>
            <a:lvl2pPr>
              <a:defRPr>
                <a:solidFill>
                  <a:srgbClr val="425563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rgbClr val="425563"/>
                </a:solidFill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r>
              <a:rPr lang="en-US" noProof="0"/>
              <a:t>text</a:t>
            </a:r>
            <a:r>
              <a:rPr lang="en-US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1999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2043" y="6249381"/>
            <a:ext cx="388142" cy="193171"/>
          </a:xfrm>
          <a:prstGeom prst="rect">
            <a:avLst/>
          </a:prstGeom>
        </p:spPr>
        <p:txBody>
          <a:bodyPr vert="horz" wrap="square" lIns="54000" tIns="45720" rIns="54000" bIns="45720" rtlCol="0" anchor="t" anchorCtr="0">
            <a:noAutofit/>
          </a:bodyPr>
          <a:lstStyle>
            <a:lvl1pPr algn="r">
              <a:lnSpc>
                <a:spcPct val="100000"/>
              </a:lnSpc>
              <a:buFontTx/>
              <a:buNone/>
              <a:defRPr sz="900" b="0"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96607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53CBFBD-7519-6844-B3AC-8D991A83E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5A6B97-2A9C-7D4E-81B4-DD7EF8FED5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3374" y="2020826"/>
            <a:ext cx="7642370" cy="3984689"/>
          </a:xfrm>
        </p:spPr>
        <p:txBody>
          <a:bodyPr lIns="91440" rIns="9144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75000"/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tabLst>
                <a:tab pos="1824038" algn="l"/>
              </a:tabLs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1445F3-18A2-A14D-8A89-45D4544A9DBF}"/>
              </a:ext>
            </a:extLst>
          </p:cNvPr>
          <p:cNvCxnSpPr/>
          <p:nvPr userDrawn="1"/>
        </p:nvCxnSpPr>
        <p:spPr>
          <a:xfrm flipH="1">
            <a:off x="8414859" y="2020825"/>
            <a:ext cx="7434" cy="400232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24652D8C-D522-E443-A8E9-BA8DF4191B43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8771636" y="2020943"/>
            <a:ext cx="2972574" cy="4002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744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1587" y="412629"/>
            <a:ext cx="9969556" cy="5254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589" y="1517905"/>
            <a:ext cx="11332623" cy="4487609"/>
          </a:xfrm>
        </p:spPr>
        <p:txBody>
          <a:bodyPr lIns="91440" rIns="9144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5720" rIns="9144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53CBFBD-7519-6844-B3AC-8D991A83E2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80753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05873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AD506D2-2447-AA48-BA07-08C6B5E07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634351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Yellow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6" y="1517905"/>
            <a:ext cx="5451244" cy="4487609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object 10"/>
          <p:cNvSpPr>
            <a:spLocks/>
          </p:cNvSpPr>
          <p:nvPr userDrawn="1"/>
        </p:nvSpPr>
        <p:spPr bwMode="auto">
          <a:xfrm>
            <a:off x="6091140" y="1503362"/>
            <a:ext cx="51869" cy="4489704"/>
          </a:xfrm>
          <a:custGeom>
            <a:avLst/>
            <a:gdLst>
              <a:gd name="T0" fmla="*/ 0 h 2499360"/>
              <a:gd name="T1" fmla="*/ 2499207 h 2499360"/>
            </a:gdLst>
            <a:ahLst/>
            <a:cxnLst>
              <a:cxn ang="0">
                <a:pos x="0" y="T0"/>
              </a:cxn>
              <a:cxn ang="0">
                <a:pos x="0" y="T1"/>
              </a:cxn>
            </a:cxnLst>
            <a:rect l="0" t="0" r="r" b="b"/>
            <a:pathLst>
              <a:path h="2499360">
                <a:moveTo>
                  <a:pt x="0" y="0"/>
                </a:moveTo>
                <a:lnTo>
                  <a:pt x="0" y="2499207"/>
                </a:lnTo>
              </a:path>
            </a:pathLst>
          </a:cu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80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61181" y="1517905"/>
            <a:ext cx="5451244" cy="4487609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2000">
                <a:solidFill>
                  <a:schemeClr val="tx1"/>
                </a:solidFill>
              </a:defRPr>
            </a:lvl1pPr>
            <a:lvl2pPr marL="533400" indent="-276225"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lang="en-US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2475" indent="-209550">
              <a:buClr>
                <a:srgbClr val="425563"/>
              </a:buClr>
              <a:buSzPct val="75000"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1075" indent="-228600"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9675" indent="-219075"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DD9DF511-00BA-F74E-9B0F-8B7CADA5B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48919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1587" y="2020824"/>
            <a:ext cx="3439040" cy="3447288"/>
          </a:xfrm>
        </p:spPr>
        <p:txBody>
          <a:bodyPr rIns="90000"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81117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0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1587" y="932688"/>
            <a:ext cx="9969556" cy="374904"/>
          </a:xfrm>
        </p:spPr>
        <p:txBody>
          <a:bodyPr wrap="square" lIns="91440" tIns="46800" rIns="0" bIns="46800">
            <a:noAutofit/>
          </a:bodyPr>
          <a:lstStyle>
            <a:lvl1pPr marL="0" indent="0">
              <a:spcBef>
                <a:spcPts val="830"/>
              </a:spcBef>
              <a:buFontTx/>
              <a:buNone/>
              <a:defRPr sz="2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8"/>
          </p:nvPr>
        </p:nvSpPr>
        <p:spPr>
          <a:xfrm>
            <a:off x="8328829" y="2020824"/>
            <a:ext cx="3439040" cy="3447288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800">
                <a:solidFill>
                  <a:schemeClr val="tx1"/>
                </a:solidFill>
              </a:defRPr>
            </a:lvl1pPr>
            <a:lvl2pPr>
              <a:lnSpc>
                <a:spcPct val="105000"/>
              </a:lnSpc>
              <a:spcBef>
                <a:spcPts val="250"/>
              </a:spcBef>
              <a:spcAft>
                <a:spcPts val="250"/>
              </a:spcAft>
              <a:defRPr sz="1600">
                <a:solidFill>
                  <a:schemeClr val="tx1"/>
                </a:solidFill>
              </a:defRPr>
            </a:lvl2pPr>
            <a:lvl3pPr>
              <a:buClr>
                <a:srgbClr val="425563"/>
              </a:buClr>
              <a:buSzPct val="75000"/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H="1">
            <a:off x="4117991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H="1">
            <a:off x="8076392" y="2024460"/>
            <a:ext cx="1" cy="3447995"/>
          </a:xfrm>
          <a:prstGeom prst="line">
            <a:avLst/>
          </a:prstGeom>
          <a:ln w="12700">
            <a:solidFill>
              <a:srgbClr val="FFCD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Draft version Sep 2021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941EFE71-2885-C24E-AE15-11CB55A418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5577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image" Target="../media/image15.png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tags" Target="../tags/tag98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image" Target="../media/image15.png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tags" Target="../tags/tag118.xml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73.xml"/><Relationship Id="rId7" Type="http://schemas.openxmlformats.org/officeDocument/2006/relationships/theme" Target="../theme/theme2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5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74.xml"/><Relationship Id="rId9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79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tags" Target="../tags/tag14.xml"/><Relationship Id="rId5" Type="http://schemas.openxmlformats.org/officeDocument/2006/relationships/theme" Target="../theme/theme3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85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84.xml"/><Relationship Id="rId9" Type="http://schemas.openxmlformats.org/officeDocument/2006/relationships/tags" Target="../tags/tag20.xml"/><Relationship Id="rId14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91.xml"/><Relationship Id="rId9" Type="http://schemas.openxmlformats.org/officeDocument/2006/relationships/tags" Target="../tags/tag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tags" Target="../tags/tag36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tags" Target="../tags/tag53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20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image" Target="../media/image8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tags" Target="../tags/tag81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47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1317610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471" imgH="472" progId="TCLayout.ActiveDocument.1">
                  <p:embed/>
                </p:oleObj>
              </mc:Choice>
              <mc:Fallback>
                <p:oleObj name="think-cell Slide" r:id="rId74" imgW="471" imgH="47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Epiroc Logo - NEW GRAY.png"/>
          <p:cNvPicPr>
            <a:picLocks noChangeAspect="1"/>
          </p:cNvPicPr>
          <p:nvPr userDrawn="1"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1696" y="414101"/>
            <a:ext cx="1138916" cy="31691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7" y="1514476"/>
            <a:ext cx="11359806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</a:t>
            </a:r>
            <a:r>
              <a:rPr lang="en-US" noProof="0"/>
              <a:t>Master</a:t>
            </a:r>
            <a:r>
              <a:rPr lang="en-US"/>
              <a:t>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5000" y="6281928"/>
            <a:ext cx="615867" cy="192024"/>
          </a:xfrm>
          <a:prstGeom prst="rect">
            <a:avLst/>
          </a:prstGeom>
        </p:spPr>
        <p:txBody>
          <a:bodyPr vert="horz" wrap="square" lIns="54000" tIns="45720" rIns="54000" bIns="45720" rtlCol="0" anchor="t" anchorCtr="0">
            <a:noAutofit/>
          </a:bodyPr>
          <a:lstStyle>
            <a:lvl1pPr algn="r">
              <a:lnSpc>
                <a:spcPct val="100000"/>
              </a:lnSpc>
              <a:buFontTx/>
              <a:buNone/>
              <a:defRPr sz="900" b="0">
                <a:solidFill>
                  <a:srgbClr val="425563"/>
                </a:solidFill>
              </a:defRPr>
            </a:lvl1pPr>
          </a:lstStyle>
          <a:p>
            <a:fld id="{B3CEEFAE-073D-426F-B1B3-DA068A342DA9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9" name="Text Placeholder 3"/>
          <p:cNvSpPr txBox="1">
            <a:spLocks/>
          </p:cNvSpPr>
          <p:nvPr userDrawn="1"/>
        </p:nvSpPr>
        <p:spPr>
          <a:xfrm>
            <a:off x="7797821" y="6278565"/>
            <a:ext cx="3754904" cy="196535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>
                <a:solidFill>
                  <a:schemeClr val="tx1"/>
                </a:solidFill>
                <a:latin typeface="+mn-lt"/>
                <a:ea typeface="+mn-ea"/>
                <a:cs typeface="Arial"/>
              </a:rPr>
              <a:t>Confidential</a:t>
            </a:r>
            <a:r>
              <a:rPr lang="en-US" sz="900">
                <a:solidFill>
                  <a:srgbClr val="425563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>
                <a:solidFill>
                  <a:schemeClr val="tx2"/>
                </a:solidFill>
                <a:latin typeface="+mn-lt"/>
                <a:ea typeface="+mn-ea"/>
                <a:cs typeface="Arial"/>
              </a:rPr>
              <a:t> |  </a:t>
            </a:r>
            <a:r>
              <a:rPr lang="en-US" sz="900">
                <a:solidFill>
                  <a:schemeClr val="tx1"/>
                </a:solidFill>
                <a:latin typeface="+mn-lt"/>
                <a:ea typeface="+mn-ea"/>
                <a:cs typeface="Arial"/>
              </a:rPr>
              <a:t>All</a:t>
            </a:r>
            <a:r>
              <a:rPr lang="en-US" sz="900" baseline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 rights reserved by</a:t>
            </a:r>
            <a:r>
              <a:rPr lang="en-US" sz="900" spc="-10">
                <a:solidFill>
                  <a:schemeClr val="tx1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>
                <a:solidFill>
                  <a:schemeClr val="tx1"/>
                </a:solidFill>
                <a:latin typeface="+mn-lt"/>
                <a:ea typeface="+mn-ea"/>
                <a:cs typeface="Arial"/>
              </a:rPr>
              <a:t>Epiroc. </a:t>
            </a: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411587" y="6319438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rgbClr val="425559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411587" y="6444402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rgbClr val="425559"/>
                </a:solidFill>
              </a:defRPr>
            </a:lvl1pPr>
          </a:lstStyle>
          <a:p>
            <a:endParaRPr lang="en-US" noProof="0"/>
          </a:p>
        </p:txBody>
      </p:sp>
    </p:spTree>
    <p:custDataLst>
      <p:tags r:id="rId72"/>
    </p:custDataLst>
    <p:extLst>
      <p:ext uri="{BB962C8B-B14F-4D97-AF65-F5344CB8AC3E}">
        <p14:creationId xmlns:p14="http://schemas.microsoft.com/office/powerpoint/2010/main" val="19065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5282" r:id="rId7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rgbClr val="425563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rgbClr val="425563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rgbClr val="425563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800" kern="1200">
          <a:solidFill>
            <a:srgbClr val="425563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800" kern="1200">
          <a:solidFill>
            <a:srgbClr val="425563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‒"/>
        <a:defRPr sz="1800" kern="1200">
          <a:solidFill>
            <a:srgbClr val="42556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89">
          <p15:clr>
            <a:srgbClr val="F26B43"/>
          </p15:clr>
        </p15:guide>
        <p15:guide id="3" pos="4006">
          <p15:clr>
            <a:srgbClr val="F26B43"/>
          </p15:clr>
        </p15:guide>
        <p15:guide id="4" pos="7348">
          <p15:clr>
            <a:srgbClr val="F26B43"/>
          </p15:clr>
        </p15:guide>
        <p15:guide id="5" orient="horz" pos="343">
          <p15:clr>
            <a:srgbClr val="F26B43"/>
          </p15:clr>
        </p15:guide>
        <p15:guide id="6" orient="horz" pos="756">
          <p15:clr>
            <a:srgbClr val="F26B43"/>
          </p15:clr>
        </p15:guide>
        <p15:guide id="7" orient="horz" pos="954">
          <p15:clr>
            <a:srgbClr val="F26B43"/>
          </p15:clr>
        </p15:guide>
        <p15:guide id="8" orient="horz" pos="378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36163"/>
            <a:ext cx="9969556" cy="477054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425563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4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900">
                <a:solidFill>
                  <a:srgbClr val="495362"/>
                </a:solidFill>
                <a:cs typeface="Arial"/>
              </a:rPr>
              <a:t>© </a:t>
            </a:r>
            <a:r>
              <a:rPr lang="en-US" sz="900" spc="-20">
                <a:solidFill>
                  <a:srgbClr val="495362"/>
                </a:solidFill>
                <a:cs typeface="Arial"/>
              </a:rPr>
              <a:t>2018 </a:t>
            </a:r>
            <a:r>
              <a:rPr lang="en-US" sz="900" spc="-10">
                <a:solidFill>
                  <a:srgbClr val="495362"/>
                </a:solidFill>
                <a:cs typeface="Arial"/>
              </a:rPr>
              <a:t>by </a:t>
            </a:r>
            <a:r>
              <a:rPr lang="en-US" sz="900">
                <a:solidFill>
                  <a:srgbClr val="495362"/>
                </a:solidFill>
                <a:cs typeface="Arial"/>
              </a:rPr>
              <a:t>Epiroc. All rights</a:t>
            </a:r>
            <a:r>
              <a:rPr lang="en-US" sz="900" spc="100">
                <a:solidFill>
                  <a:srgbClr val="495362"/>
                </a:solidFill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cs typeface="Arial"/>
              </a:rPr>
              <a:t>reserved.</a:t>
            </a:r>
            <a:endParaRPr lang="en-US" sz="900">
              <a:solidFill>
                <a:srgbClr val="425563"/>
              </a:solidFill>
            </a:endParaRPr>
          </a:p>
        </p:txBody>
      </p:sp>
      <p:sp>
        <p:nvSpPr>
          <p:cNvPr id="5" name="fc"/>
          <p:cNvSpPr txBox="1"/>
          <p:nvPr userDrawn="1"/>
        </p:nvSpPr>
        <p:spPr bwMode="gray">
          <a:xfrm>
            <a:off x="6003635" y="6671437"/>
            <a:ext cx="184731" cy="21967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endParaRPr lang="en-US" sz="850" err="1">
              <a:solidFill>
                <a:srgbClr val="000000"/>
              </a:solidFill>
              <a:latin typeface="arial unicode ms" panose="020B0604020202020204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399" y="518971"/>
            <a:ext cx="1038588" cy="281247"/>
          </a:xfrm>
          <a:prstGeom prst="rect">
            <a:avLst/>
          </a:prstGeom>
        </p:spPr>
      </p:pic>
    </p:spTree>
    <p:custDataLst>
      <p:tags r:id="rId23"/>
    </p:custDataLst>
    <p:extLst>
      <p:ext uri="{BB962C8B-B14F-4D97-AF65-F5344CB8AC3E}">
        <p14:creationId xmlns:p14="http://schemas.microsoft.com/office/powerpoint/2010/main" val="300723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05" r:id="rId4"/>
    <p:sldLayoutId id="2147485406" r:id="rId5"/>
    <p:sldLayoutId id="2147485407" r:id="rId6"/>
    <p:sldLayoutId id="2147485408" r:id="rId7"/>
    <p:sldLayoutId id="2147485409" r:id="rId8"/>
    <p:sldLayoutId id="2147485410" r:id="rId9"/>
    <p:sldLayoutId id="2147485411" r:id="rId10"/>
    <p:sldLayoutId id="2147485412" r:id="rId11"/>
    <p:sldLayoutId id="2147485413" r:id="rId12"/>
    <p:sldLayoutId id="2147485414" r:id="rId13"/>
    <p:sldLayoutId id="2147485415" r:id="rId14"/>
    <p:sldLayoutId id="2147485416" r:id="rId15"/>
    <p:sldLayoutId id="2147485417" r:id="rId16"/>
    <p:sldLayoutId id="2147485418" r:id="rId17"/>
    <p:sldLayoutId id="2147485419" r:id="rId18"/>
    <p:sldLayoutId id="2147485420" r:id="rId19"/>
    <p:sldLayoutId id="2147485421" r:id="rId20"/>
    <p:sldLayoutId id="2147485435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90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36163"/>
            <a:ext cx="9969556" cy="477054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6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59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425563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4"/>
            <a:ext cx="1177486" cy="31885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>
                <a:solidFill>
                  <a:srgbClr val="425563"/>
                </a:solidFill>
              </a:rPr>
              <a:pPr/>
              <a:t>‹N°›</a:t>
            </a:fld>
            <a:endParaRPr>
              <a:solidFill>
                <a:srgbClr val="425563"/>
              </a:solidFill>
            </a:endParaRPr>
          </a:p>
        </p:txBody>
      </p:sp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2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900">
                <a:solidFill>
                  <a:srgbClr val="495362"/>
                </a:solidFill>
                <a:cs typeface="Arial"/>
              </a:rPr>
              <a:t>© </a:t>
            </a:r>
            <a:r>
              <a:rPr lang="en-US" sz="900" spc="-20">
                <a:solidFill>
                  <a:srgbClr val="495362"/>
                </a:solidFill>
                <a:cs typeface="Arial"/>
              </a:rPr>
              <a:t>2018 </a:t>
            </a:r>
            <a:r>
              <a:rPr lang="en-US" sz="900" spc="-10">
                <a:solidFill>
                  <a:srgbClr val="495362"/>
                </a:solidFill>
                <a:cs typeface="Arial"/>
              </a:rPr>
              <a:t>by </a:t>
            </a:r>
            <a:r>
              <a:rPr lang="en-US" sz="900">
                <a:solidFill>
                  <a:srgbClr val="495362"/>
                </a:solidFill>
                <a:cs typeface="Arial"/>
              </a:rPr>
              <a:t>Epiroc. All rights</a:t>
            </a:r>
            <a:r>
              <a:rPr lang="en-US" sz="900" spc="100">
                <a:solidFill>
                  <a:srgbClr val="495362"/>
                </a:solidFill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cs typeface="Arial"/>
              </a:rPr>
              <a:t>reserved.</a:t>
            </a:r>
            <a:endParaRPr lang="en-US" sz="900">
              <a:solidFill>
                <a:srgbClr val="425563"/>
              </a:solidFill>
            </a:endParaRPr>
          </a:p>
        </p:txBody>
      </p:sp>
      <p:sp>
        <p:nvSpPr>
          <p:cNvPr id="5" name="fc"/>
          <p:cNvSpPr txBox="1"/>
          <p:nvPr userDrawn="1"/>
        </p:nvSpPr>
        <p:spPr bwMode="gray">
          <a:xfrm>
            <a:off x="6003610" y="6671437"/>
            <a:ext cx="184778" cy="21659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endParaRPr lang="en-US" sz="850" err="1">
              <a:solidFill>
                <a:srgbClr val="000000"/>
              </a:solidFill>
              <a:latin typeface="arial unicode ms" panose="020B0604020202020204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9399" y="518970"/>
            <a:ext cx="1038588" cy="281247"/>
          </a:xfrm>
          <a:prstGeom prst="rect">
            <a:avLst/>
          </a:prstGeom>
        </p:spPr>
      </p:pic>
    </p:spTree>
    <p:custDataLst>
      <p:tags r:id="rId23"/>
    </p:custDataLst>
    <p:extLst>
      <p:ext uri="{BB962C8B-B14F-4D97-AF65-F5344CB8AC3E}">
        <p14:creationId xmlns:p14="http://schemas.microsoft.com/office/powerpoint/2010/main" val="2428277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7" r:id="rId1"/>
    <p:sldLayoutId id="2147485438" r:id="rId2"/>
    <p:sldLayoutId id="2147485439" r:id="rId3"/>
    <p:sldLayoutId id="2147485440" r:id="rId4"/>
    <p:sldLayoutId id="2147485441" r:id="rId5"/>
    <p:sldLayoutId id="2147485442" r:id="rId6"/>
    <p:sldLayoutId id="2147485443" r:id="rId7"/>
    <p:sldLayoutId id="2147485444" r:id="rId8"/>
    <p:sldLayoutId id="2147485445" r:id="rId9"/>
    <p:sldLayoutId id="2147485446" r:id="rId10"/>
    <p:sldLayoutId id="2147485447" r:id="rId11"/>
    <p:sldLayoutId id="2147485448" r:id="rId12"/>
    <p:sldLayoutId id="2147485449" r:id="rId13"/>
    <p:sldLayoutId id="2147485450" r:id="rId14"/>
    <p:sldLayoutId id="2147485451" r:id="rId15"/>
    <p:sldLayoutId id="2147485452" r:id="rId16"/>
    <p:sldLayoutId id="2147485453" r:id="rId17"/>
    <p:sldLayoutId id="2147485454" r:id="rId18"/>
    <p:sldLayoutId id="2147485455" r:id="rId19"/>
    <p:sldLayoutId id="2147485456" r:id="rId20"/>
    <p:sldLayoutId id="2147485457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90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43">
          <p15:clr>
            <a:srgbClr val="F26B43"/>
          </p15:clr>
        </p15:guide>
        <p15:guide id="6" orient="horz" pos="756">
          <p15:clr>
            <a:srgbClr val="F26B43"/>
          </p15:clr>
        </p15:guide>
        <p15:guide id="7" orient="horz" pos="954">
          <p15:clr>
            <a:srgbClr val="F26B43"/>
          </p15:clr>
        </p15:guide>
        <p15:guide id="8" orient="horz" pos="3783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60031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1" imgH="472" progId="TCLayout.ActiveDocument.1">
                  <p:embed/>
                </p:oleObj>
              </mc:Choice>
              <mc:Fallback>
                <p:oleObj name="think-cell Slide" r:id="rId10" imgW="471" imgH="472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6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59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4"/>
            <a:ext cx="1177486" cy="31885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1847971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  <p:sldLayoutId id="2147484272" r:id="rId5"/>
    <p:sldLayoutId id="2147484273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2592">
          <p15:clr>
            <a:srgbClr val="F26B43"/>
          </p15:clr>
        </p15:guide>
        <p15:guide id="3" pos="4006">
          <p15:clr>
            <a:srgbClr val="F26B43"/>
          </p15:clr>
        </p15:guide>
        <p15:guide id="4" pos="7348">
          <p15:clr>
            <a:srgbClr val="F26B43"/>
          </p15:clr>
        </p15:guide>
        <p15:guide id="5" orient="horz" pos="343">
          <p15:clr>
            <a:srgbClr val="F26B43"/>
          </p15:clr>
        </p15:guide>
        <p15:guide id="6" orient="horz" pos="756">
          <p15:clr>
            <a:srgbClr val="F26B43"/>
          </p15:clr>
        </p15:guide>
        <p15:guide id="7" orient="horz" pos="954">
          <p15:clr>
            <a:srgbClr val="F26B43"/>
          </p15:clr>
        </p15:guide>
        <p15:guide id="8" orient="horz" pos="3783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pos="3839">
          <p15:clr>
            <a:srgbClr val="F26B43"/>
          </p15:clr>
        </p15:guide>
        <p15:guide id="11" pos="709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8908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1" imgH="472" progId="TCLayout.ActiveDocument.1">
                  <p:embed/>
                </p:oleObj>
              </mc:Choice>
              <mc:Fallback>
                <p:oleObj name="think-cell Slide" r:id="rId8" imgW="471" imgH="472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6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59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4"/>
            <a:ext cx="1177486" cy="31885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88" y="6184459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2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Confidential  </a:t>
            </a:r>
            <a:r>
              <a:rPr lang="en-US" sz="900">
                <a:solidFill>
                  <a:srgbClr val="FFC20D"/>
                </a:solidFill>
                <a:latin typeface="+mn-lt"/>
                <a:ea typeface="+mn-ea"/>
                <a:cs typeface="Arial"/>
              </a:rPr>
              <a:t>|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All rights</a:t>
            </a:r>
            <a:r>
              <a:rPr lang="en-US" sz="900" spc="1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reserved</a:t>
            </a:r>
            <a:r>
              <a:rPr lang="en-US" sz="900" spc="-1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by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Epiroc.</a:t>
            </a:r>
            <a:endParaRPr lang="en-US" sz="900">
              <a:solidFill>
                <a:schemeClr val="tx1"/>
              </a:solidFill>
            </a:endParaRPr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272223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4" r:id="rId1"/>
    <p:sldLayoutId id="2147484945" r:id="rId2"/>
    <p:sldLayoutId id="2147484946" r:id="rId3"/>
    <p:sldLayoutId id="2147485003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89">
          <p15:clr>
            <a:srgbClr val="F26B43"/>
          </p15:clr>
        </p15:guide>
        <p15:guide id="3" pos="4006">
          <p15:clr>
            <a:srgbClr val="F26B43"/>
          </p15:clr>
        </p15:guide>
        <p15:guide id="4" pos="7348">
          <p15:clr>
            <a:srgbClr val="F26B43"/>
          </p15:clr>
        </p15:guide>
        <p15:guide id="5" orient="horz" pos="343">
          <p15:clr>
            <a:srgbClr val="F26B43"/>
          </p15:clr>
        </p15:guide>
        <p15:guide id="6" orient="horz" pos="756">
          <p15:clr>
            <a:srgbClr val="F26B43"/>
          </p15:clr>
        </p15:guide>
        <p15:guide id="7" orient="horz" pos="954">
          <p15:clr>
            <a:srgbClr val="F26B43"/>
          </p15:clr>
        </p15:guide>
        <p15:guide id="8" orient="horz" pos="3783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pos="3839">
          <p15:clr>
            <a:srgbClr val="F26B43"/>
          </p15:clr>
        </p15:guide>
        <p15:guide id="11" pos="709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6" imgH="416" progId="TCLayout.ActiveDocument.1">
                  <p:embed/>
                </p:oleObj>
              </mc:Choice>
              <mc:Fallback>
                <p:oleObj name="think-cell Slide" r:id="rId12" imgW="416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1"/>
            </p:custDataLst>
          </p:nvPr>
        </p:nvSpPr>
        <p:spPr bwMode="gray">
          <a:xfrm>
            <a:off x="2" y="0"/>
            <a:ext cx="158791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ts val="400"/>
              </a:spcBef>
            </a:pPr>
            <a:endParaRPr lang="en-US" sz="28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77600-4DB3-7A4B-8CFB-266CA732A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256" y="635635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8DE7933-EAA0-C94D-B690-946B54238D30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3267487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4" r:id="rId1"/>
    <p:sldLayoutId id="2147485285" r:id="rId2"/>
    <p:sldLayoutId id="2147485286" r:id="rId3"/>
    <p:sldLayoutId id="2147485287" r:id="rId4"/>
    <p:sldLayoutId id="2147485288" r:id="rId5"/>
    <p:sldLayoutId id="2147485289" r:id="rId6"/>
    <p:sldLayoutId id="2147485290" r:id="rId7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2593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raft version Sep 202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4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All rights</a:t>
            </a:r>
            <a:r>
              <a:rPr lang="en-US" sz="900" spc="1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reserved</a:t>
            </a:r>
            <a:r>
              <a:rPr lang="en-US" sz="900" spc="-1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by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Epiroc.</a:t>
            </a:r>
            <a:endParaRPr lang="en-US" sz="900">
              <a:solidFill>
                <a:schemeClr val="tx1"/>
              </a:solidFill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12263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2" r:id="rId1"/>
    <p:sldLayoutId id="2147485293" r:id="rId2"/>
    <p:sldLayoutId id="2147485294" r:id="rId3"/>
    <p:sldLayoutId id="2147485295" r:id="rId4"/>
    <p:sldLayoutId id="2147485296" r:id="rId5"/>
    <p:sldLayoutId id="2147485297" r:id="rId6"/>
    <p:sldLayoutId id="2147485299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90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36163"/>
            <a:ext cx="9969556" cy="477054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raft version Sep 202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4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All rights</a:t>
            </a:r>
            <a:r>
              <a:rPr lang="en-US" sz="900" spc="1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reserved</a:t>
            </a:r>
            <a:r>
              <a:rPr lang="en-US" sz="900" spc="-10">
                <a:solidFill>
                  <a:srgbClr val="495362"/>
                </a:solidFill>
                <a:latin typeface="+mn-lt"/>
                <a:ea typeface="+mn-ea"/>
                <a:cs typeface="Arial"/>
              </a:rPr>
              <a:t> by </a:t>
            </a:r>
            <a:r>
              <a:rPr lang="en-US" sz="900">
                <a:solidFill>
                  <a:srgbClr val="495362"/>
                </a:solidFill>
                <a:latin typeface="+mn-lt"/>
                <a:ea typeface="+mn-ea"/>
                <a:cs typeface="Arial"/>
              </a:rPr>
              <a:t>Epiroc.</a:t>
            </a:r>
            <a:endParaRPr lang="en-US" sz="900">
              <a:solidFill>
                <a:schemeClr val="tx1"/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36FDDE1-F4B8-3F46-B39C-EB27F5E22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2051075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1" r:id="rId1"/>
    <p:sldLayoutId id="2147485302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  <p:sldLayoutId id="2147485311" r:id="rId11"/>
    <p:sldLayoutId id="2147485312" r:id="rId12"/>
    <p:sldLayoutId id="2147485313" r:id="rId13"/>
    <p:sldLayoutId id="2147485314" r:id="rId14"/>
    <p:sldLayoutId id="2147485315" r:id="rId15"/>
    <p:sldLayoutId id="2147485316" r:id="rId1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90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36163"/>
            <a:ext cx="9969556" cy="477054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>
              <a:solidFill>
                <a:srgbClr val="425563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425563"/>
                </a:solidFill>
              </a:rPr>
              <a:t>Draft version Sep 202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8030954" y="6246013"/>
            <a:ext cx="3335335" cy="239234"/>
          </a:xfrm>
          <a:prstGeom prst="rect">
            <a:avLst/>
          </a:prstGeom>
        </p:spPr>
        <p:txBody>
          <a:bodyPr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900">
                <a:solidFill>
                  <a:srgbClr val="495362"/>
                </a:solidFill>
                <a:cs typeface="Arial"/>
              </a:rPr>
              <a:t>All rights</a:t>
            </a:r>
            <a:r>
              <a:rPr lang="en-US" sz="900" spc="100">
                <a:solidFill>
                  <a:srgbClr val="495362"/>
                </a:solidFill>
                <a:cs typeface="Arial"/>
              </a:rPr>
              <a:t> </a:t>
            </a:r>
            <a:r>
              <a:rPr lang="en-US" sz="900">
                <a:solidFill>
                  <a:srgbClr val="495362"/>
                </a:solidFill>
                <a:cs typeface="Arial"/>
              </a:rPr>
              <a:t>reserved</a:t>
            </a:r>
            <a:r>
              <a:rPr lang="en-US" sz="900" spc="-10">
                <a:solidFill>
                  <a:srgbClr val="495362"/>
                </a:solidFill>
                <a:cs typeface="Arial"/>
              </a:rPr>
              <a:t> by </a:t>
            </a:r>
            <a:r>
              <a:rPr lang="en-US" sz="900">
                <a:solidFill>
                  <a:srgbClr val="495362"/>
                </a:solidFill>
                <a:cs typeface="Arial"/>
              </a:rPr>
              <a:t>Epiroc.</a:t>
            </a:r>
            <a:endParaRPr lang="en-US" sz="900">
              <a:solidFill>
                <a:srgbClr val="425563"/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36FDDE1-F4B8-3F46-B39C-EB27F5E22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1117" y="6183069"/>
            <a:ext cx="503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FC2F67B-10DA-D246-B5A9-D7CFB0ECA607}" type="slidenum">
              <a:rPr lang="en-US" smtClean="0">
                <a:solidFill>
                  <a:srgbClr val="425563"/>
                </a:solidFill>
              </a:rPr>
              <a:pPr/>
              <a:t>‹N°›</a:t>
            </a:fld>
            <a:endParaRPr lang="en-US">
              <a:solidFill>
                <a:srgbClr val="425563"/>
              </a:solidFill>
            </a:endParaRPr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55420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  <p:sldLayoutId id="2147485329" r:id="rId12"/>
    <p:sldLayoutId id="2147485330" r:id="rId13"/>
    <p:sldLayoutId id="2147485331" r:id="rId14"/>
    <p:sldLayoutId id="2147485332" r:id="rId15"/>
    <p:sldLayoutId id="2147485333" r:id="rId1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90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11991"/>
            <a:ext cx="9969556" cy="525401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Draft version Sep 202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177600-4DB3-7A4B-8CFB-266CA732A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1256" y="635635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DE7933-EAA0-C94D-B690-946B54238D30}" type="slidenum">
              <a:rPr lang="en-US" smtClean="0"/>
              <a:t>‹N°›</a:t>
            </a:fld>
            <a:endParaRPr lang="en-US"/>
          </a:p>
        </p:txBody>
      </p:sp>
    </p:spTree>
    <p:custDataLst>
      <p:tags r:id="rId13"/>
    </p:custDataLst>
    <p:extLst>
      <p:ext uri="{BB962C8B-B14F-4D97-AF65-F5344CB8AC3E}">
        <p14:creationId xmlns:p14="http://schemas.microsoft.com/office/powerpoint/2010/main" val="2205224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5" r:id="rId1"/>
    <p:sldLayoutId id="2147485336" r:id="rId2"/>
    <p:sldLayoutId id="2147485337" r:id="rId3"/>
    <p:sldLayoutId id="2147485338" r:id="rId4"/>
    <p:sldLayoutId id="2147485339" r:id="rId5"/>
    <p:sldLayoutId id="2147485340" r:id="rId6"/>
    <p:sldLayoutId id="2147485341" r:id="rId7"/>
    <p:sldLayoutId id="2147485342" r:id="rId8"/>
    <p:sldLayoutId id="2147485343" r:id="rId9"/>
    <p:sldLayoutId id="2147485344" r:id="rId10"/>
    <p:sldLayoutId id="2147485345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2593">
          <p15:clr>
            <a:srgbClr val="F26B43"/>
          </p15:clr>
        </p15:guide>
        <p15:guide id="3" pos="4007">
          <p15:clr>
            <a:srgbClr val="F26B43"/>
          </p15:clr>
        </p15:guide>
        <p15:guide id="4" pos="7350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40">
          <p15:clr>
            <a:srgbClr val="F26B43"/>
          </p15:clr>
        </p15:guide>
        <p15:guide id="11" pos="709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372" y="436163"/>
            <a:ext cx="9969556" cy="477054"/>
          </a:xfrm>
          <a:prstGeom prst="rect">
            <a:avLst/>
          </a:prstGeom>
        </p:spPr>
        <p:txBody>
          <a:bodyPr vert="horz" wrap="square" lIns="91440" tIns="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1588" y="1514477"/>
            <a:ext cx="11256400" cy="4492625"/>
          </a:xfrm>
          <a:prstGeom prst="rect">
            <a:avLst/>
          </a:prstGeom>
        </p:spPr>
        <p:txBody>
          <a:bodyPr vert="horz" lIns="91440" tIns="45720" rIns="91440" bIns="468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 flipH="1">
            <a:off x="533539" y="6184460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 flipH="1">
            <a:off x="533539" y="6309423"/>
            <a:ext cx="3197870" cy="123111"/>
          </a:xfrm>
          <a:prstGeom prst="rect">
            <a:avLst/>
          </a:prstGeom>
        </p:spPr>
        <p:txBody>
          <a:bodyPr vert="horz" wrap="square" lIns="0" tIns="0" rIns="36000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0502" y="419805"/>
            <a:ext cx="1177486" cy="31885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66290" y="6184460"/>
            <a:ext cx="377923" cy="349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9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A8CD8C97-9AF4-4DB6-B014-E488ABEEB47A}" type="slidenum">
              <a:rPr lang="en-US" smtClean="0"/>
              <a:pPr/>
              <a:t>‹N°›</a:t>
            </a:fld>
            <a:endParaRPr lang="en-US"/>
          </a:p>
        </p:txBody>
      </p:sp>
    </p:spTree>
    <p:custDataLst>
      <p:tags r:id="rId18"/>
    </p:custDataLst>
    <p:extLst>
      <p:ext uri="{BB962C8B-B14F-4D97-AF65-F5344CB8AC3E}">
        <p14:creationId xmlns:p14="http://schemas.microsoft.com/office/powerpoint/2010/main" val="3556411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7" r:id="rId1"/>
    <p:sldLayoutId id="2147485348" r:id="rId2"/>
    <p:sldLayoutId id="2147485349" r:id="rId3"/>
    <p:sldLayoutId id="2147485350" r:id="rId4"/>
    <p:sldLayoutId id="2147485351" r:id="rId5"/>
    <p:sldLayoutId id="2147485352" r:id="rId6"/>
    <p:sldLayoutId id="2147485353" r:id="rId7"/>
    <p:sldLayoutId id="2147485354" r:id="rId8"/>
    <p:sldLayoutId id="2147485355" r:id="rId9"/>
    <p:sldLayoutId id="2147485356" r:id="rId10"/>
    <p:sldLayoutId id="2147485357" r:id="rId11"/>
    <p:sldLayoutId id="2147485358" r:id="rId12"/>
    <p:sldLayoutId id="2147485359" r:id="rId13"/>
    <p:sldLayoutId id="2147485360" r:id="rId14"/>
    <p:sldLayoutId id="2147485361" r:id="rId15"/>
    <p:sldLayoutId id="2147485362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914400" rtl="0" eaLnBrk="1" latinLnBrk="0" hangingPunct="1">
        <a:lnSpc>
          <a:spcPct val="105000"/>
        </a:lnSpc>
        <a:spcBef>
          <a:spcPts val="800"/>
        </a:spcBef>
        <a:buClr>
          <a:srgbClr val="435363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6225" algn="l" defTabSz="914400" rtl="0" eaLnBrk="1" latinLnBrk="0" hangingPunct="1">
        <a:lnSpc>
          <a:spcPct val="105000"/>
        </a:lnSpc>
        <a:spcBef>
          <a:spcPts val="250"/>
        </a:spcBef>
        <a:spcAft>
          <a:spcPts val="250"/>
        </a:spcAft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2475" indent="-209550" algn="l" defTabSz="914400" rtl="0" eaLnBrk="1" latinLnBrk="0" hangingPunct="1">
        <a:lnSpc>
          <a:spcPct val="105000"/>
        </a:lnSpc>
        <a:spcBef>
          <a:spcPts val="163"/>
        </a:spcBef>
        <a:spcAft>
          <a:spcPts val="250"/>
        </a:spcAft>
        <a:buClr>
          <a:srgbClr val="425563"/>
        </a:buClr>
        <a:buSzPct val="75000"/>
        <a:buFont typeface="Courier New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1075" indent="-228600" algn="l" defTabSz="914400" rtl="0" eaLnBrk="1" latinLnBrk="0" hangingPunct="1">
        <a:lnSpc>
          <a:spcPct val="105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9675" indent="-219075" algn="l" defTabSz="914400" rtl="0" eaLnBrk="1" latinLnBrk="0" hangingPunct="1">
        <a:lnSpc>
          <a:spcPct val="105000"/>
        </a:lnSpc>
        <a:spcBef>
          <a:spcPts val="138"/>
        </a:spcBef>
        <a:spcAft>
          <a:spcPts val="138"/>
        </a:spcAft>
        <a:buClr>
          <a:srgbClr val="43536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99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99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3689">
          <p15:clr>
            <a:srgbClr val="F26B43"/>
          </p15:clr>
        </p15:guide>
        <p15:guide id="3" pos="4006">
          <p15:clr>
            <a:srgbClr val="F26B43"/>
          </p15:clr>
        </p15:guide>
        <p15:guide id="4" pos="7348">
          <p15:clr>
            <a:srgbClr val="F26B43"/>
          </p15:clr>
        </p15:guide>
        <p15:guide id="5" orient="horz" pos="351">
          <p15:clr>
            <a:srgbClr val="F26B43"/>
          </p15:clr>
        </p15:guide>
        <p15:guide id="6" orient="horz" pos="775">
          <p15:clr>
            <a:srgbClr val="F26B43"/>
          </p15:clr>
        </p15:guide>
        <p15:guide id="7" orient="horz" pos="978">
          <p15:clr>
            <a:srgbClr val="F26B43"/>
          </p15:clr>
        </p15:guide>
        <p15:guide id="8" orient="horz" pos="3877">
          <p15:clr>
            <a:srgbClr val="F26B43"/>
          </p15:clr>
        </p15:guide>
        <p15:guide id="9" orient="horz" pos="4072">
          <p15:clr>
            <a:srgbClr val="F26B43"/>
          </p15:clr>
        </p15:guide>
        <p15:guide id="10" pos="3839">
          <p15:clr>
            <a:srgbClr val="F26B43"/>
          </p15:clr>
        </p15:guide>
        <p15:guide id="11" pos="70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137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microsoft.com/office/2007/relationships/hdphoto" Target="../media/hdphoto1.wdp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55.xml"/><Relationship Id="rId5" Type="http://schemas.openxmlformats.org/officeDocument/2006/relationships/image" Target="../media/image76.png"/><Relationship Id="rId4" Type="http://schemas.openxmlformats.org/officeDocument/2006/relationships/image" Target="../media/image7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55.xml"/><Relationship Id="rId4" Type="http://schemas.openxmlformats.org/officeDocument/2006/relationships/image" Target="../media/image7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5.xml"/><Relationship Id="rId4" Type="http://schemas.openxmlformats.org/officeDocument/2006/relationships/image" Target="../media/image82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7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33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29" Type="http://schemas.openxmlformats.org/officeDocument/2006/relationships/image" Target="../media/image44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24" Type="http://schemas.openxmlformats.org/officeDocument/2006/relationships/image" Target="../media/image39.gif"/><Relationship Id="rId32" Type="http://schemas.openxmlformats.org/officeDocument/2006/relationships/image" Target="../media/image47.jpeg"/><Relationship Id="rId5" Type="http://schemas.openxmlformats.org/officeDocument/2006/relationships/image" Target="../media/image20.png"/><Relationship Id="rId15" Type="http://schemas.openxmlformats.org/officeDocument/2006/relationships/image" Target="../media/image30.jpe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31" Type="http://schemas.openxmlformats.org/officeDocument/2006/relationships/image" Target="../media/image46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8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56.png"/><Relationship Id="rId11" Type="http://schemas.openxmlformats.org/officeDocument/2006/relationships/image" Target="../media/image60.png"/><Relationship Id="rId5" Type="http://schemas.openxmlformats.org/officeDocument/2006/relationships/image" Target="../media/image55.png"/><Relationship Id="rId10" Type="http://schemas.openxmlformats.org/officeDocument/2006/relationships/image" Target="../media/image59.png"/><Relationship Id="rId4" Type="http://schemas.openxmlformats.org/officeDocument/2006/relationships/image" Target="../media/image54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7.xml"/><Relationship Id="rId4" Type="http://schemas.openxmlformats.org/officeDocument/2006/relationships/image" Target="../media/image6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7.png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pour une image  8">
            <a:extLst>
              <a:ext uri="{FF2B5EF4-FFF2-40B4-BE49-F238E27FC236}">
                <a16:creationId xmlns:a16="http://schemas.microsoft.com/office/drawing/2014/main" id="{D4B61023-8FF7-8879-7137-9E0C6521337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1" t="8922" r="27726" b="9055"/>
          <a:stretch/>
        </p:blipFill>
        <p:spPr>
          <a:xfrm>
            <a:off x="-39688" y="-3162"/>
            <a:ext cx="8011246" cy="6869113"/>
          </a:xfrm>
        </p:spPr>
      </p:pic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0" imgH="409" progId="TCLayout.ActiveDocument.1">
                  <p:embed/>
                </p:oleObj>
              </mc:Choice>
              <mc:Fallback>
                <p:oleObj name="think-cell Slide" r:id="rId5" imgW="410" imgH="409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391419" y="2972307"/>
            <a:ext cx="3582188" cy="521208"/>
          </a:xfrm>
        </p:spPr>
        <p:txBody>
          <a:bodyPr vert="horz">
            <a:noAutofit/>
          </a:bodyPr>
          <a:lstStyle/>
          <a:p>
            <a:r>
              <a:rPr lang="en-US" sz="2900"/>
              <a:t>Brand transitio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8391418" y="3540378"/>
            <a:ext cx="3234257" cy="299533"/>
          </a:xfrm>
        </p:spPr>
        <p:txBody>
          <a:bodyPr/>
          <a:lstStyle/>
          <a:p>
            <a:r>
              <a:rPr lang="fr-FR" sz="1800" b="0" err="1"/>
              <a:t>Turning</a:t>
            </a:r>
            <a:r>
              <a:rPr lang="fr-FR" sz="1800" b="0"/>
              <a:t> Fordia </a:t>
            </a:r>
            <a:r>
              <a:rPr lang="fr-FR" sz="1800" b="0" err="1"/>
              <a:t>into</a:t>
            </a:r>
            <a:r>
              <a:rPr lang="fr-FR" sz="1800" b="0"/>
              <a:t> a </a:t>
            </a:r>
            <a:r>
              <a:rPr lang="fr-FR" sz="1800" b="0" err="1"/>
              <a:t>trademark</a:t>
            </a:r>
            <a:endParaRPr lang="fr-FR" sz="1800" b="0"/>
          </a:p>
        </p:txBody>
      </p:sp>
    </p:spTree>
    <p:extLst>
      <p:ext uri="{BB962C8B-B14F-4D97-AF65-F5344CB8AC3E}">
        <p14:creationId xmlns:p14="http://schemas.microsoft.com/office/powerpoint/2010/main" val="39811671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and transition stag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rganizing chaos </a:t>
            </a:r>
          </a:p>
        </p:txBody>
      </p:sp>
    </p:spTree>
    <p:extLst>
      <p:ext uri="{BB962C8B-B14F-4D97-AF65-F5344CB8AC3E}">
        <p14:creationId xmlns:p14="http://schemas.microsoft.com/office/powerpoint/2010/main" val="356127292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33B65-3743-7DF2-83B2-095952B67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>
                <a:solidFill>
                  <a:schemeClr val="bg1"/>
                </a:solidFill>
              </a:rPr>
              <a:t>OBK Brand Transition 	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5BC00E-0121-F1D5-729F-136C303B28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b="1">
                <a:solidFill>
                  <a:schemeClr val="bg1"/>
                </a:solidFill>
              </a:rPr>
              <a:t>Stage 1</a:t>
            </a:r>
            <a:endParaRPr lang="fr-CA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</a:endParaRP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C61061A-3BCD-B743-F7AF-0F131CD6CAC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b="1">
                <a:solidFill>
                  <a:schemeClr val="bg1"/>
                </a:solidFill>
              </a:rPr>
              <a:t>Stage 2</a:t>
            </a:r>
            <a:endParaRPr lang="fr-CA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Tx/>
              <a:buChar char="-"/>
            </a:pPr>
            <a:endParaRPr lang="fr-CA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  <a:buFontTx/>
              <a:buChar char="-"/>
            </a:pPr>
            <a:endParaRPr lang="fr-CA">
              <a:solidFill>
                <a:schemeClr val="bg1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7030F6E-B7DA-517D-84F5-E353DB99B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err="1"/>
              <a:t>Examples</a:t>
            </a:r>
            <a:r>
              <a:rPr lang="fr-CA"/>
              <a:t> of stag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9B2BD43-2AE5-41AD-AA21-A22F2FEDF590}"/>
              </a:ext>
            </a:extLst>
          </p:cNvPr>
          <p:cNvSpPr>
            <a:spLocks noGrp="1"/>
          </p:cNvSpPr>
          <p:nvPr>
            <p:ph sz="half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b="1">
                <a:solidFill>
                  <a:schemeClr val="bg1"/>
                </a:solidFill>
              </a:rPr>
              <a:t>Stage 3</a:t>
            </a:r>
            <a:endParaRPr lang="fr-CA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6A5CA01-D8C2-1B5A-C7BD-F417594FD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8CD8C97-9AF4-4DB6-B014-E488ABEEB47A}" type="slidenum">
              <a:rPr lang="fr-CA">
                <a:solidFill>
                  <a:srgbClr val="425563"/>
                </a:solidFill>
                <a:latin typeface="Arial"/>
              </a:rPr>
              <a:pPr>
                <a:defRPr/>
              </a:pPr>
              <a:t>11</a:t>
            </a:fld>
            <a:endParaRPr lang="fr-CA">
              <a:solidFill>
                <a:srgbClr val="425563"/>
              </a:solidFill>
              <a:latin typeface="Arial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4AACA6-63C2-D204-842B-1B80C4427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388" y="2631938"/>
            <a:ext cx="3299439" cy="329337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F8E4D73-2407-3890-BF89-2F0F3CF1D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5109" y="2631938"/>
            <a:ext cx="3299439" cy="32933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FE45E0F-332F-404C-986E-2ADBA1865B57}"/>
              </a:ext>
            </a:extLst>
          </p:cNvPr>
          <p:cNvSpPr/>
          <p:nvPr/>
        </p:nvSpPr>
        <p:spPr bwMode="gray">
          <a:xfrm>
            <a:off x="6337738" y="2877207"/>
            <a:ext cx="890752" cy="4808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7" name="Image 16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931BA3F5-B406-3950-9EF1-EA5418E5E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9968" y="2948317"/>
            <a:ext cx="986293" cy="33862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32E52A4-0455-D000-754B-C81E9354077F}"/>
              </a:ext>
            </a:extLst>
          </p:cNvPr>
          <p:cNvSpPr/>
          <p:nvPr/>
        </p:nvSpPr>
        <p:spPr bwMode="gray">
          <a:xfrm>
            <a:off x="5793828" y="3610303"/>
            <a:ext cx="1127234" cy="287753"/>
          </a:xfrm>
          <a:prstGeom prst="rect">
            <a:avLst/>
          </a:prstGeom>
          <a:gradFill flip="none" rotWithShape="1">
            <a:gsLst>
              <a:gs pos="0">
                <a:srgbClr val="F1F2E5"/>
              </a:gs>
              <a:gs pos="79000">
                <a:srgbClr val="FEFFF7"/>
              </a:gs>
              <a:gs pos="100000">
                <a:srgbClr val="B4A88C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endParaRPr lang="fr-CA" sz="800" b="1">
              <a:solidFill>
                <a:srgbClr val="425563"/>
              </a:solidFill>
              <a:latin typeface="Raleway" pitchFamily="2" charset="0"/>
            </a:endParaRPr>
          </a:p>
        </p:txBody>
      </p:sp>
      <p:sp>
        <p:nvSpPr>
          <p:cNvPr id="22" name="Forme libre : forme 21">
            <a:extLst>
              <a:ext uri="{FF2B5EF4-FFF2-40B4-BE49-F238E27FC236}">
                <a16:creationId xmlns:a16="http://schemas.microsoft.com/office/drawing/2014/main" id="{3A533207-E57B-6385-E6F4-6C76CED9D428}"/>
              </a:ext>
            </a:extLst>
          </p:cNvPr>
          <p:cNvSpPr/>
          <p:nvPr/>
        </p:nvSpPr>
        <p:spPr bwMode="gray">
          <a:xfrm>
            <a:off x="7167563" y="3448051"/>
            <a:ext cx="209550" cy="342900"/>
          </a:xfrm>
          <a:custGeom>
            <a:avLst/>
            <a:gdLst>
              <a:gd name="connsiteX0" fmla="*/ 9525 w 209550"/>
              <a:gd name="connsiteY0" fmla="*/ 342900 h 342900"/>
              <a:gd name="connsiteX1" fmla="*/ 209550 w 209550"/>
              <a:gd name="connsiteY1" fmla="*/ 261938 h 342900"/>
              <a:gd name="connsiteX2" fmla="*/ 195262 w 209550"/>
              <a:gd name="connsiteY2" fmla="*/ 90488 h 342900"/>
              <a:gd name="connsiteX3" fmla="*/ 119062 w 209550"/>
              <a:gd name="connsiteY3" fmla="*/ 104775 h 342900"/>
              <a:gd name="connsiteX4" fmla="*/ 142875 w 209550"/>
              <a:gd name="connsiteY4" fmla="*/ 28575 h 342900"/>
              <a:gd name="connsiteX5" fmla="*/ 95250 w 209550"/>
              <a:gd name="connsiteY5" fmla="*/ 0 h 342900"/>
              <a:gd name="connsiteX6" fmla="*/ 52387 w 209550"/>
              <a:gd name="connsiteY6" fmla="*/ 76200 h 342900"/>
              <a:gd name="connsiteX7" fmla="*/ 80962 w 209550"/>
              <a:gd name="connsiteY7" fmla="*/ 128588 h 342900"/>
              <a:gd name="connsiteX8" fmla="*/ 0 w 209550"/>
              <a:gd name="connsiteY8" fmla="*/ 185738 h 342900"/>
              <a:gd name="connsiteX9" fmla="*/ 9525 w 209550"/>
              <a:gd name="connsiteY9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9550" h="342900">
                <a:moveTo>
                  <a:pt x="9525" y="342900"/>
                </a:moveTo>
                <a:lnTo>
                  <a:pt x="209550" y="261938"/>
                </a:lnTo>
                <a:lnTo>
                  <a:pt x="195262" y="90488"/>
                </a:lnTo>
                <a:lnTo>
                  <a:pt x="119062" y="104775"/>
                </a:lnTo>
                <a:lnTo>
                  <a:pt x="142875" y="28575"/>
                </a:lnTo>
                <a:lnTo>
                  <a:pt x="95250" y="0"/>
                </a:lnTo>
                <a:lnTo>
                  <a:pt x="52387" y="76200"/>
                </a:lnTo>
                <a:lnTo>
                  <a:pt x="80962" y="128588"/>
                </a:lnTo>
                <a:lnTo>
                  <a:pt x="0" y="185738"/>
                </a:lnTo>
                <a:lnTo>
                  <a:pt x="9525" y="342900"/>
                </a:ln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D3A07361-9487-444C-1BF7-9F208BE55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4639" y="2631938"/>
            <a:ext cx="3299439" cy="329337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4D3E3DBB-EFD7-1954-FA51-443241BC30F8}"/>
              </a:ext>
            </a:extLst>
          </p:cNvPr>
          <p:cNvSpPr/>
          <p:nvPr/>
        </p:nvSpPr>
        <p:spPr bwMode="gray">
          <a:xfrm>
            <a:off x="10282038" y="2877207"/>
            <a:ext cx="986293" cy="4808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5" name="Image 24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575ED901-E312-5DE0-50DD-F8687B2FF7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9809" y="2948317"/>
            <a:ext cx="986293" cy="338627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763F167-045E-B25B-289B-FBC218990A3A}"/>
              </a:ext>
            </a:extLst>
          </p:cNvPr>
          <p:cNvSpPr/>
          <p:nvPr/>
        </p:nvSpPr>
        <p:spPr bwMode="gray">
          <a:xfrm>
            <a:off x="9713398" y="4947525"/>
            <a:ext cx="723090" cy="4017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7" name="Image 26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DD359A05-68A4-9F7C-0C9E-BE9ECA598C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192" y="5066625"/>
            <a:ext cx="664181" cy="228035"/>
          </a:xfrm>
          <a:prstGeom prst="rect">
            <a:avLst/>
          </a:prstGeom>
        </p:spPr>
      </p:pic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3758FA05-6438-04B7-769A-C8292412ABCF}"/>
              </a:ext>
            </a:extLst>
          </p:cNvPr>
          <p:cNvSpPr/>
          <p:nvPr/>
        </p:nvSpPr>
        <p:spPr bwMode="gray">
          <a:xfrm>
            <a:off x="11133878" y="3444241"/>
            <a:ext cx="209550" cy="342900"/>
          </a:xfrm>
          <a:custGeom>
            <a:avLst/>
            <a:gdLst>
              <a:gd name="connsiteX0" fmla="*/ 9525 w 209550"/>
              <a:gd name="connsiteY0" fmla="*/ 342900 h 342900"/>
              <a:gd name="connsiteX1" fmla="*/ 209550 w 209550"/>
              <a:gd name="connsiteY1" fmla="*/ 261938 h 342900"/>
              <a:gd name="connsiteX2" fmla="*/ 195262 w 209550"/>
              <a:gd name="connsiteY2" fmla="*/ 90488 h 342900"/>
              <a:gd name="connsiteX3" fmla="*/ 119062 w 209550"/>
              <a:gd name="connsiteY3" fmla="*/ 104775 h 342900"/>
              <a:gd name="connsiteX4" fmla="*/ 142875 w 209550"/>
              <a:gd name="connsiteY4" fmla="*/ 28575 h 342900"/>
              <a:gd name="connsiteX5" fmla="*/ 95250 w 209550"/>
              <a:gd name="connsiteY5" fmla="*/ 0 h 342900"/>
              <a:gd name="connsiteX6" fmla="*/ 52387 w 209550"/>
              <a:gd name="connsiteY6" fmla="*/ 76200 h 342900"/>
              <a:gd name="connsiteX7" fmla="*/ 80962 w 209550"/>
              <a:gd name="connsiteY7" fmla="*/ 128588 h 342900"/>
              <a:gd name="connsiteX8" fmla="*/ 0 w 209550"/>
              <a:gd name="connsiteY8" fmla="*/ 185738 h 342900"/>
              <a:gd name="connsiteX9" fmla="*/ 9525 w 209550"/>
              <a:gd name="connsiteY9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9550" h="342900">
                <a:moveTo>
                  <a:pt x="9525" y="342900"/>
                </a:moveTo>
                <a:lnTo>
                  <a:pt x="209550" y="261938"/>
                </a:lnTo>
                <a:lnTo>
                  <a:pt x="195262" y="90488"/>
                </a:lnTo>
                <a:lnTo>
                  <a:pt x="119062" y="104775"/>
                </a:lnTo>
                <a:lnTo>
                  <a:pt x="142875" y="28575"/>
                </a:lnTo>
                <a:lnTo>
                  <a:pt x="95250" y="0"/>
                </a:lnTo>
                <a:lnTo>
                  <a:pt x="52387" y="76200"/>
                </a:lnTo>
                <a:lnTo>
                  <a:pt x="80962" y="128588"/>
                </a:lnTo>
                <a:lnTo>
                  <a:pt x="0" y="185738"/>
                </a:lnTo>
                <a:lnTo>
                  <a:pt x="9525" y="342900"/>
                </a:ln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1E4BD3E-5AAD-6514-2668-1E2B1244DDF7}"/>
              </a:ext>
            </a:extLst>
          </p:cNvPr>
          <p:cNvSpPr/>
          <p:nvPr/>
        </p:nvSpPr>
        <p:spPr bwMode="gray">
          <a:xfrm>
            <a:off x="9757773" y="3603322"/>
            <a:ext cx="1164499" cy="287753"/>
          </a:xfrm>
          <a:prstGeom prst="rect">
            <a:avLst/>
          </a:prstGeom>
          <a:gradFill flip="none" rotWithShape="1">
            <a:gsLst>
              <a:gs pos="0">
                <a:srgbClr val="F1F2E5"/>
              </a:gs>
              <a:gs pos="79000">
                <a:srgbClr val="FEFFF7"/>
              </a:gs>
              <a:gs pos="100000">
                <a:srgbClr val="B4A88C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fr-CA" sz="781" b="1">
                <a:solidFill>
                  <a:srgbClr val="425563"/>
                </a:solidFill>
                <a:latin typeface="Raleway" pitchFamily="2" charset="0"/>
              </a:rPr>
              <a:t>Exploration &amp;</a:t>
            </a:r>
            <a:br>
              <a:rPr lang="fr-CA" sz="781" b="1">
                <a:solidFill>
                  <a:srgbClr val="425563"/>
                </a:solidFill>
                <a:latin typeface="Raleway" pitchFamily="2" charset="0"/>
              </a:rPr>
            </a:br>
            <a:r>
              <a:rPr lang="fr-CA" sz="781" b="1">
                <a:solidFill>
                  <a:srgbClr val="425563"/>
                </a:solidFill>
                <a:latin typeface="Raleway" pitchFamily="2" charset="0"/>
              </a:rPr>
              <a:t>OreBody Solutions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2B58D845-A1F9-B8A0-3A5A-0A1FE36135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22947" y1="61610" x2="32526" y2="64241"/>
                        <a14:foregroundMark x1="32526" y1="64241" x2="49895" y2="63777"/>
                        <a14:foregroundMark x1="49895" y1="63777" x2="54842" y2="65015"/>
                        <a14:foregroundMark x1="62526" y1="67028" x2="83895" y2="65170"/>
                        <a14:foregroundMark x1="83895" y1="65170" x2="84105" y2="65170"/>
                      </a14:backgroundRemoval>
                    </a14:imgEffect>
                  </a14:imgLayer>
                </a14:imgProps>
              </a:ext>
            </a:extLst>
          </a:blip>
          <a:srcRect b="22766"/>
          <a:stretch/>
        </p:blipFill>
        <p:spPr>
          <a:xfrm>
            <a:off x="8993299" y="3925798"/>
            <a:ext cx="764893" cy="401717"/>
          </a:xfrm>
          <a:prstGeom prst="rect">
            <a:avLst/>
          </a:prstGeom>
        </p:spPr>
      </p:pic>
      <p:sp>
        <p:nvSpPr>
          <p:cNvPr id="38" name="ZoneTexte 37">
            <a:extLst>
              <a:ext uri="{FF2B5EF4-FFF2-40B4-BE49-F238E27FC236}">
                <a16:creationId xmlns:a16="http://schemas.microsoft.com/office/drawing/2014/main" id="{E9E58770-88E6-7912-C18F-7366D3D7D509}"/>
              </a:ext>
            </a:extLst>
          </p:cNvPr>
          <p:cNvSpPr txBox="1"/>
          <p:nvPr/>
        </p:nvSpPr>
        <p:spPr bwMode="gray">
          <a:xfrm>
            <a:off x="1511287" y="2021826"/>
            <a:ext cx="247228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Associated brand has been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implemented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and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is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consistently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used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. </a:t>
            </a:r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3E28B34E-C89B-5A46-252F-2BDD4542EC8E}"/>
              </a:ext>
            </a:extLst>
          </p:cNvPr>
          <p:cNvSpPr/>
          <p:nvPr/>
        </p:nvSpPr>
        <p:spPr bwMode="gray">
          <a:xfrm>
            <a:off x="3243263" y="3448051"/>
            <a:ext cx="209550" cy="342900"/>
          </a:xfrm>
          <a:custGeom>
            <a:avLst/>
            <a:gdLst>
              <a:gd name="connsiteX0" fmla="*/ 9525 w 209550"/>
              <a:gd name="connsiteY0" fmla="*/ 342900 h 342900"/>
              <a:gd name="connsiteX1" fmla="*/ 209550 w 209550"/>
              <a:gd name="connsiteY1" fmla="*/ 261938 h 342900"/>
              <a:gd name="connsiteX2" fmla="*/ 195262 w 209550"/>
              <a:gd name="connsiteY2" fmla="*/ 90488 h 342900"/>
              <a:gd name="connsiteX3" fmla="*/ 119062 w 209550"/>
              <a:gd name="connsiteY3" fmla="*/ 104775 h 342900"/>
              <a:gd name="connsiteX4" fmla="*/ 142875 w 209550"/>
              <a:gd name="connsiteY4" fmla="*/ 28575 h 342900"/>
              <a:gd name="connsiteX5" fmla="*/ 95250 w 209550"/>
              <a:gd name="connsiteY5" fmla="*/ 0 h 342900"/>
              <a:gd name="connsiteX6" fmla="*/ 52387 w 209550"/>
              <a:gd name="connsiteY6" fmla="*/ 76200 h 342900"/>
              <a:gd name="connsiteX7" fmla="*/ 80962 w 209550"/>
              <a:gd name="connsiteY7" fmla="*/ 128588 h 342900"/>
              <a:gd name="connsiteX8" fmla="*/ 0 w 209550"/>
              <a:gd name="connsiteY8" fmla="*/ 185738 h 342900"/>
              <a:gd name="connsiteX9" fmla="*/ 9525 w 209550"/>
              <a:gd name="connsiteY9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9550" h="342900">
                <a:moveTo>
                  <a:pt x="9525" y="342900"/>
                </a:moveTo>
                <a:lnTo>
                  <a:pt x="209550" y="261938"/>
                </a:lnTo>
                <a:lnTo>
                  <a:pt x="195262" y="90488"/>
                </a:lnTo>
                <a:lnTo>
                  <a:pt x="119062" y="104775"/>
                </a:lnTo>
                <a:lnTo>
                  <a:pt x="142875" y="28575"/>
                </a:lnTo>
                <a:lnTo>
                  <a:pt x="95250" y="0"/>
                </a:lnTo>
                <a:lnTo>
                  <a:pt x="52387" y="76200"/>
                </a:lnTo>
                <a:lnTo>
                  <a:pt x="80962" y="128588"/>
                </a:lnTo>
                <a:lnTo>
                  <a:pt x="0" y="185738"/>
                </a:lnTo>
                <a:lnTo>
                  <a:pt x="9525" y="342900"/>
                </a:ln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F2EAD35F-7616-76B2-0281-51160B09CC04}"/>
              </a:ext>
            </a:extLst>
          </p:cNvPr>
          <p:cNvSpPr txBox="1"/>
          <p:nvPr/>
        </p:nvSpPr>
        <p:spPr bwMode="gray">
          <a:xfrm>
            <a:off x="5355412" y="1938945"/>
            <a:ext cx="2597694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Epiroc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is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shown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as the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umbrella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brand. Associated brand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is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still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presented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, but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with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a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lower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focus.  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B541456C-C11D-CFC9-875F-332BDF039D79}"/>
              </a:ext>
            </a:extLst>
          </p:cNvPr>
          <p:cNvSpPr txBox="1"/>
          <p:nvPr/>
        </p:nvSpPr>
        <p:spPr bwMode="gray">
          <a:xfrm>
            <a:off x="9399747" y="2014716"/>
            <a:ext cx="2561932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Epiroc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is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the brand.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Trademark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</a:t>
            </a:r>
            <a:r>
              <a:rPr lang="fr-CA" sz="1000" err="1">
                <a:solidFill>
                  <a:prstClr val="white"/>
                </a:solidFill>
                <a:latin typeface="Raleway" pitchFamily="2" charset="0"/>
              </a:rPr>
              <a:t>products</a:t>
            </a:r>
            <a:r>
              <a:rPr lang="fr-CA" sz="1000">
                <a:solidFill>
                  <a:prstClr val="white"/>
                </a:solidFill>
                <a:latin typeface="Raleway" pitchFamily="2" charset="0"/>
              </a:rPr>
              <a:t> are part of the portfolio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5EB397-7B03-2AB8-0D9A-0B7DF2482030}"/>
              </a:ext>
            </a:extLst>
          </p:cNvPr>
          <p:cNvSpPr/>
          <p:nvPr/>
        </p:nvSpPr>
        <p:spPr bwMode="gray">
          <a:xfrm>
            <a:off x="5650625" y="4928522"/>
            <a:ext cx="890752" cy="9076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8EEFE3-43D4-82C1-DEBE-91DFE63522DC}"/>
              </a:ext>
            </a:extLst>
          </p:cNvPr>
          <p:cNvSpPr/>
          <p:nvPr/>
        </p:nvSpPr>
        <p:spPr bwMode="gray">
          <a:xfrm>
            <a:off x="5635384" y="5006906"/>
            <a:ext cx="1127234" cy="2877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fr-CA" sz="650" b="1">
                <a:solidFill>
                  <a:prstClr val="white"/>
                </a:solidFill>
                <a:latin typeface="Raleway" pitchFamily="2" charset="0"/>
              </a:rPr>
              <a:t>Exploration &amp;</a:t>
            </a:r>
            <a:br>
              <a:rPr lang="fr-CA" sz="650" b="1">
                <a:solidFill>
                  <a:prstClr val="white"/>
                </a:solidFill>
                <a:latin typeface="Raleway" pitchFamily="2" charset="0"/>
              </a:rPr>
            </a:br>
            <a:r>
              <a:rPr lang="fr-CA" sz="650" b="1">
                <a:solidFill>
                  <a:prstClr val="white"/>
                </a:solidFill>
                <a:latin typeface="Raleway" pitchFamily="2" charset="0"/>
              </a:rPr>
              <a:t>OreBody Solu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7AEFC7-0266-7507-936E-B6028379E82D}"/>
              </a:ext>
            </a:extLst>
          </p:cNvPr>
          <p:cNvSpPr/>
          <p:nvPr/>
        </p:nvSpPr>
        <p:spPr bwMode="gray">
          <a:xfrm>
            <a:off x="9051323" y="3358055"/>
            <a:ext cx="585856" cy="533020"/>
          </a:xfrm>
          <a:prstGeom prst="rect">
            <a:avLst/>
          </a:prstGeom>
          <a:solidFill>
            <a:srgbClr val="F2F3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endParaRPr lang="fr-CA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AA1EE5C-3B10-B4B9-302A-66D9057DE6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22947" y1="61610" x2="32526" y2="64241"/>
                        <a14:foregroundMark x1="32526" y1="64241" x2="49895" y2="63777"/>
                        <a14:foregroundMark x1="49895" y1="63777" x2="54842" y2="65015"/>
                        <a14:foregroundMark x1="62526" y1="67028" x2="83895" y2="65170"/>
                        <a14:foregroundMark x1="83895" y1="65170" x2="84105" y2="65170"/>
                      </a14:backgroundRemoval>
                    </a14:imgEffect>
                  </a14:imgLayer>
                </a14:imgProps>
              </a:ext>
            </a:extLst>
          </a:blip>
          <a:srcRect b="22766"/>
          <a:stretch/>
        </p:blipFill>
        <p:spPr>
          <a:xfrm>
            <a:off x="4982759" y="3925759"/>
            <a:ext cx="764893" cy="40171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1589A01-A971-079D-7C14-0A56802ACB3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22947" y1="61610" x2="32526" y2="64241"/>
                        <a14:foregroundMark x1="32526" y1="64241" x2="49895" y2="63777"/>
                        <a14:foregroundMark x1="49895" y1="63777" x2="54842" y2="65015"/>
                        <a14:foregroundMark x1="62526" y1="67028" x2="83895" y2="65170"/>
                        <a14:foregroundMark x1="83895" y1="65170" x2="84105" y2="65170"/>
                      </a14:backgroundRemoval>
                    </a14:imgEffect>
                  </a14:imgLayer>
                </a14:imgProps>
              </a:ext>
            </a:extLst>
          </a:blip>
          <a:srcRect b="22766"/>
          <a:stretch/>
        </p:blipFill>
        <p:spPr>
          <a:xfrm>
            <a:off x="1075489" y="3909055"/>
            <a:ext cx="764893" cy="4017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6AEAC7F-54D6-3B4E-824F-3AB153D50FDE}"/>
              </a:ext>
            </a:extLst>
          </p:cNvPr>
          <p:cNvSpPr/>
          <p:nvPr/>
        </p:nvSpPr>
        <p:spPr bwMode="gray">
          <a:xfrm>
            <a:off x="481387" y="5925312"/>
            <a:ext cx="3299439" cy="920473"/>
          </a:xfrm>
          <a:prstGeom prst="rect">
            <a:avLst/>
          </a:prstGeom>
          <a:solidFill>
            <a:srgbClr val="212A3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r>
              <a:rPr lang="fr-CA" sz="4000" b="1">
                <a:latin typeface="Aptos" panose="020B0004020202020204" pitchFamily="34" charset="0"/>
              </a:rPr>
              <a:t>2019 - 202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3B1DA76-6456-886F-67BA-EA74F3E2CC45}"/>
              </a:ext>
            </a:extLst>
          </p:cNvPr>
          <p:cNvSpPr/>
          <p:nvPr/>
        </p:nvSpPr>
        <p:spPr bwMode="gray">
          <a:xfrm>
            <a:off x="4405109" y="5921538"/>
            <a:ext cx="3299439" cy="907692"/>
          </a:xfrm>
          <a:prstGeom prst="rect">
            <a:avLst/>
          </a:prstGeom>
          <a:solidFill>
            <a:srgbClr val="212A3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r>
              <a:rPr lang="fr-CA" sz="4000" b="1">
                <a:latin typeface="Aptos" panose="020B0004020202020204" pitchFamily="34" charset="0"/>
              </a:rPr>
              <a:t>2022-2023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13D7E93-9251-98C6-63DB-A56B7DCE0974}"/>
              </a:ext>
            </a:extLst>
          </p:cNvPr>
          <p:cNvSpPr/>
          <p:nvPr/>
        </p:nvSpPr>
        <p:spPr bwMode="gray">
          <a:xfrm>
            <a:off x="8374639" y="5921538"/>
            <a:ext cx="3299439" cy="907692"/>
          </a:xfrm>
          <a:prstGeom prst="rect">
            <a:avLst/>
          </a:prstGeom>
          <a:solidFill>
            <a:srgbClr val="212A31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r>
              <a:rPr lang="fr-CA" sz="4000" b="1">
                <a:latin typeface="Aptos" panose="020B0004020202020204" pitchFamily="34" charset="0"/>
              </a:rPr>
              <a:t>2024+</a:t>
            </a:r>
          </a:p>
        </p:txBody>
      </p:sp>
    </p:spTree>
    <p:extLst>
      <p:ext uri="{BB962C8B-B14F-4D97-AF65-F5344CB8AC3E}">
        <p14:creationId xmlns:p14="http://schemas.microsoft.com/office/powerpoint/2010/main" val="164981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hat to expect</a:t>
            </a:r>
          </a:p>
        </p:txBody>
      </p:sp>
    </p:spTree>
    <p:extLst>
      <p:ext uri="{BB962C8B-B14F-4D97-AF65-F5344CB8AC3E}">
        <p14:creationId xmlns:p14="http://schemas.microsoft.com/office/powerpoint/2010/main" val="293055036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433DBF-B09C-C19A-1982-68833469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>
                <a:solidFill>
                  <a:schemeClr val="bg1"/>
                </a:solidFill>
              </a:rPr>
              <a:t>Upcoming chang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ED8ED1-8962-13FC-C625-8C8EDC7C97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/>
              <a:t>The 2024 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01B3BF-7E2E-844E-CAA4-36D1E5B06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CD8C97-9AF4-4DB6-B014-E488ABEEB47A}" type="slidenum">
              <a:rPr lang="fr-CA" smtClean="0">
                <a:solidFill>
                  <a:srgbClr val="425563"/>
                </a:solidFill>
              </a:rPr>
              <a:pPr/>
              <a:t>13</a:t>
            </a:fld>
            <a:endParaRPr lang="fr-CA">
              <a:solidFill>
                <a:srgbClr val="425563"/>
              </a:solidFill>
            </a:endParaRPr>
          </a:p>
        </p:txBody>
      </p:sp>
      <p:graphicFrame>
        <p:nvGraphicFramePr>
          <p:cNvPr id="12" name="Espace réservé du contenu 11">
            <a:extLst>
              <a:ext uri="{FF2B5EF4-FFF2-40B4-BE49-F238E27FC236}">
                <a16:creationId xmlns:a16="http://schemas.microsoft.com/office/drawing/2014/main" id="{373A7F6C-1BC5-462A-7326-3711DAC981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67932553"/>
              </p:ext>
            </p:extLst>
          </p:nvPr>
        </p:nvGraphicFramePr>
        <p:xfrm>
          <a:off x="411051" y="1373200"/>
          <a:ext cx="11333162" cy="4427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E8834AD0-E07E-A93D-3AD1-4C04539CB52D}"/>
              </a:ext>
            </a:extLst>
          </p:cNvPr>
          <p:cNvSpPr/>
          <p:nvPr/>
        </p:nvSpPr>
        <p:spPr bwMode="gray">
          <a:xfrm>
            <a:off x="818984" y="6160033"/>
            <a:ext cx="10918504" cy="443453"/>
          </a:xfrm>
          <a:prstGeom prst="roundRect">
            <a:avLst/>
          </a:prstGeom>
          <a:solidFill>
            <a:schemeClr val="tx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200"/>
              </a:spcBef>
            </a:pPr>
            <a:r>
              <a:rPr lang="en-CA" sz="1400">
                <a:solidFill>
                  <a:schemeClr val="tx2"/>
                </a:solidFill>
                <a:latin typeface="Aptos" panose="020B0004020202020204" pitchFamily="34" charset="0"/>
              </a:rPr>
              <a:t>Task force committee </a:t>
            </a:r>
            <a:r>
              <a:rPr lang="en-CA" sz="1400">
                <a:latin typeface="Aptos" panose="020B0004020202020204" pitchFamily="34" charset="0"/>
              </a:rPr>
              <a:t>to monitor brand transition progression via quarterly meetings :</a:t>
            </a:r>
          </a:p>
          <a:p>
            <a:pPr algn="ctr">
              <a:lnSpc>
                <a:spcPct val="95000"/>
              </a:lnSpc>
              <a:spcBef>
                <a:spcPts val="200"/>
              </a:spcBef>
            </a:pPr>
            <a:r>
              <a:rPr lang="en-CA" sz="1100" i="1">
                <a:latin typeface="Aptos" panose="020B0004020202020204" pitchFamily="34" charset="0"/>
              </a:rPr>
              <a:t>Brian Doffing, Sara Paquet, Anna Dahlman Herrgard, Annie Lévesque, Laëtitia Banfi, Marc Paquin &amp; Julie Massé</a:t>
            </a:r>
            <a:endParaRPr lang="en-CA" sz="1200" i="1">
              <a:latin typeface="Aptos" panose="020B0004020202020204" pitchFamily="34" charset="0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BE0CC6F8-1424-2AD3-DA56-F9AC86027FFE}"/>
              </a:ext>
            </a:extLst>
          </p:cNvPr>
          <p:cNvSpPr/>
          <p:nvPr/>
        </p:nvSpPr>
        <p:spPr bwMode="gray">
          <a:xfrm>
            <a:off x="818985" y="5864746"/>
            <a:ext cx="2560320" cy="221727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200"/>
              </a:spcBef>
            </a:pPr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Mostly internal visibility</a:t>
            </a:r>
            <a:endParaRPr lang="en-CA" sz="1100" i="1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F7807BCA-809F-0A3F-271F-76F240D7AF88}"/>
              </a:ext>
            </a:extLst>
          </p:cNvPr>
          <p:cNvSpPr/>
          <p:nvPr/>
        </p:nvSpPr>
        <p:spPr bwMode="gray">
          <a:xfrm>
            <a:off x="3458817" y="5872697"/>
            <a:ext cx="8285396" cy="22172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200"/>
              </a:spcBef>
            </a:pPr>
            <a:r>
              <a:rPr lang="en-CA" sz="1200">
                <a:solidFill>
                  <a:schemeClr val="tx1"/>
                </a:solidFill>
                <a:latin typeface="Aptos" panose="020B0004020202020204" pitchFamily="34" charset="0"/>
              </a:rPr>
              <a:t>Internal and external visibility</a:t>
            </a:r>
            <a:endParaRPr lang="en-CA" sz="1100" i="1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9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433DBF-B09C-C19A-1982-68833469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err="1">
                <a:solidFill>
                  <a:schemeClr val="bg1"/>
                </a:solidFill>
              </a:rPr>
              <a:t>Internal</a:t>
            </a:r>
            <a:r>
              <a:rPr lang="fr-CA">
                <a:solidFill>
                  <a:schemeClr val="bg1"/>
                </a:solidFill>
              </a:rPr>
              <a:t> Communic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8C1F1F1-A616-8C2C-21EE-FA27AB9C3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589" y="1517905"/>
            <a:ext cx="5333961" cy="4487609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Employee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to carry the Epiroc brand </a:t>
            </a:r>
          </a:p>
          <a:p>
            <a:pPr lvl="1"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Emails and email signatures</a:t>
            </a:r>
          </a:p>
          <a:p>
            <a:pPr lvl="1"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Business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cards</a:t>
            </a: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lvl="1">
              <a:buClr>
                <a:schemeClr val="bg1"/>
              </a:buClr>
            </a:pP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Employee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apparel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and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uniforms</a:t>
            </a: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lvl="1"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Trucks</a:t>
            </a:r>
          </a:p>
          <a:p>
            <a:pPr>
              <a:buClr>
                <a:schemeClr val="bg1"/>
              </a:buClr>
            </a:pP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Implementation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of a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monthly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OBK News Update</a:t>
            </a:r>
          </a:p>
          <a:p>
            <a:pPr>
              <a:buClr>
                <a:schemeClr val="bg1"/>
              </a:buClr>
            </a:pP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Implementation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of the OBK section in the Surface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Sharepoint</a:t>
            </a: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New OBK guidelines for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using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the Fordia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trademark</a:t>
            </a: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ED8ED1-8962-13FC-C625-8C8EDC7C97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/>
              <a:t>The 2024 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01B3BF-7E2E-844E-CAA4-36D1E5B06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CD8C97-9AF4-4DB6-B014-E488ABEEB47A}" type="slidenum">
              <a:rPr lang="fr-CA" smtClean="0">
                <a:solidFill>
                  <a:srgbClr val="425563"/>
                </a:solidFill>
              </a:rPr>
              <a:pPr/>
              <a:t>14</a:t>
            </a:fld>
            <a:endParaRPr lang="fr-CA">
              <a:solidFill>
                <a:srgbClr val="425563"/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8C9253B-595D-D8BB-9D2A-C114FF172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3346" y="258668"/>
            <a:ext cx="2166394" cy="63406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30" name="Picture 6" descr="Digital Print – Metro Printing">
            <a:extLst>
              <a:ext uri="{FF2B5EF4-FFF2-40B4-BE49-F238E27FC236}">
                <a16:creationId xmlns:a16="http://schemas.microsoft.com/office/drawing/2014/main" id="{DD98B3EF-5F2C-7F58-C3E9-A8B27574E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550" y="0"/>
            <a:ext cx="2166393" cy="1616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79CCEA8-325D-39F8-F6FB-C05DA89333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7" r="17258"/>
          <a:stretch/>
        </p:blipFill>
        <p:spPr bwMode="auto">
          <a:xfrm>
            <a:off x="5745550" y="3588224"/>
            <a:ext cx="2166395" cy="326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ownload Microsoft SharePoint Logo in SVG Vector or PNG File Format -  Logo.wine">
            <a:extLst>
              <a:ext uri="{FF2B5EF4-FFF2-40B4-BE49-F238E27FC236}">
                <a16:creationId xmlns:a16="http://schemas.microsoft.com/office/drawing/2014/main" id="{137F7A73-A450-E157-66A7-7E846502B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713" y="992962"/>
            <a:ext cx="4833367" cy="3222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037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433DBF-B09C-C19A-1982-68833469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err="1">
                <a:solidFill>
                  <a:schemeClr val="bg1"/>
                </a:solidFill>
              </a:rPr>
              <a:t>External</a:t>
            </a:r>
            <a:r>
              <a:rPr lang="fr-CA">
                <a:solidFill>
                  <a:schemeClr val="bg1"/>
                </a:solidFill>
              </a:rPr>
              <a:t> Communication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8C1F1F1-A616-8C2C-21EE-FA27AB9C3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589" y="1517905"/>
            <a:ext cx="5172465" cy="4487609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Campaign to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onboard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clients</a:t>
            </a:r>
          </a:p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Buildings</a:t>
            </a:r>
          </a:p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Web site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  <a:latin typeface="Aptos" panose="020B0004020202020204" pitchFamily="34" charset="0"/>
              </a:rPr>
              <a:t>Update assets and create new required ones</a:t>
            </a:r>
          </a:p>
          <a:p>
            <a:pPr lvl="1"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  <a:latin typeface="Aptos" panose="020B0004020202020204" pitchFamily="34" charset="0"/>
              </a:rPr>
              <a:t>Catalogue, Technical documents, Guides, Instruction manual, etc.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  <a:latin typeface="Aptos" panose="020B0004020202020204" pitchFamily="34" charset="0"/>
              </a:rPr>
              <a:t>Trade show strategy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  <a:latin typeface="Aptos" panose="020B0004020202020204" pitchFamily="34" charset="0"/>
              </a:rPr>
              <a:t>Ad material </a:t>
            </a:r>
          </a:p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Packaging –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except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diamond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tools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, to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be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err="1">
                <a:solidFill>
                  <a:schemeClr val="bg1"/>
                </a:solidFill>
                <a:latin typeface="Aptos" panose="020B0004020202020204" pitchFamily="34" charset="0"/>
              </a:rPr>
              <a:t>reviewed</a:t>
            </a: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in 2025</a:t>
            </a:r>
          </a:p>
          <a:p>
            <a:pPr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Social media channels</a:t>
            </a:r>
          </a:p>
          <a:p>
            <a:pPr lvl="1">
              <a:buClr>
                <a:schemeClr val="bg1"/>
              </a:buClr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LinkedIn, YouTube, Instagram, Facebook</a:t>
            </a:r>
          </a:p>
          <a:p>
            <a:pPr>
              <a:buClr>
                <a:schemeClr val="bg1"/>
              </a:buClr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ED8ED1-8962-13FC-C625-8C8EDC7C97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/>
              <a:t>The 2024 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01B3BF-7E2E-844E-CAA4-36D1E5B06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CD8C97-9AF4-4DB6-B014-E488ABEEB47A}" type="slidenum">
              <a:rPr lang="fr-CA" smtClean="0">
                <a:solidFill>
                  <a:srgbClr val="425563"/>
                </a:solidFill>
              </a:rPr>
              <a:pPr/>
              <a:t>15</a:t>
            </a:fld>
            <a:endParaRPr lang="fr-CA">
              <a:solidFill>
                <a:srgbClr val="425563"/>
              </a:solidFill>
            </a:endParaRPr>
          </a:p>
        </p:txBody>
      </p:sp>
      <p:sp>
        <p:nvSpPr>
          <p:cNvPr id="11" name="Forme libre : forme 10">
            <a:extLst>
              <a:ext uri="{FF2B5EF4-FFF2-40B4-BE49-F238E27FC236}">
                <a16:creationId xmlns:a16="http://schemas.microsoft.com/office/drawing/2014/main" id="{13E836B4-94BB-C7FC-14EF-E02AC2B60C52}"/>
              </a:ext>
            </a:extLst>
          </p:cNvPr>
          <p:cNvSpPr/>
          <p:nvPr/>
        </p:nvSpPr>
        <p:spPr bwMode="gray">
          <a:xfrm>
            <a:off x="8202967" y="953470"/>
            <a:ext cx="3817750" cy="2705845"/>
          </a:xfrm>
          <a:custGeom>
            <a:avLst/>
            <a:gdLst>
              <a:gd name="connsiteX0" fmla="*/ 5840362 w 5840362"/>
              <a:gd name="connsiteY0" fmla="*/ 265471 h 4139380"/>
              <a:gd name="connsiteX1" fmla="*/ 5417575 w 5840362"/>
              <a:gd name="connsiteY1" fmla="*/ 2576051 h 4139380"/>
              <a:gd name="connsiteX2" fmla="*/ 5496233 w 5840362"/>
              <a:gd name="connsiteY2" fmla="*/ 2615380 h 4139380"/>
              <a:gd name="connsiteX3" fmla="*/ 3893575 w 5840362"/>
              <a:gd name="connsiteY3" fmla="*/ 4139380 h 4139380"/>
              <a:gd name="connsiteX4" fmla="*/ 3736258 w 5840362"/>
              <a:gd name="connsiteY4" fmla="*/ 4129548 h 4139380"/>
              <a:gd name="connsiteX5" fmla="*/ 0 w 5840362"/>
              <a:gd name="connsiteY5" fmla="*/ 1986116 h 4139380"/>
              <a:gd name="connsiteX6" fmla="*/ 167149 w 5840362"/>
              <a:gd name="connsiteY6" fmla="*/ 1927122 h 4139380"/>
              <a:gd name="connsiteX7" fmla="*/ 49162 w 5840362"/>
              <a:gd name="connsiteY7" fmla="*/ 1209368 h 4139380"/>
              <a:gd name="connsiteX8" fmla="*/ 825910 w 5840362"/>
              <a:gd name="connsiteY8" fmla="*/ 1071716 h 4139380"/>
              <a:gd name="connsiteX9" fmla="*/ 757084 w 5840362"/>
              <a:gd name="connsiteY9" fmla="*/ 599768 h 4139380"/>
              <a:gd name="connsiteX10" fmla="*/ 1612491 w 5840362"/>
              <a:gd name="connsiteY10" fmla="*/ 491613 h 4139380"/>
              <a:gd name="connsiteX11" fmla="*/ 1602658 w 5840362"/>
              <a:gd name="connsiteY11" fmla="*/ 0 h 4139380"/>
              <a:gd name="connsiteX12" fmla="*/ 5840362 w 5840362"/>
              <a:gd name="connsiteY12" fmla="*/ 265471 h 4139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40362" h="4139380">
                <a:moveTo>
                  <a:pt x="5840362" y="265471"/>
                </a:moveTo>
                <a:lnTo>
                  <a:pt x="5417575" y="2576051"/>
                </a:lnTo>
                <a:lnTo>
                  <a:pt x="5496233" y="2615380"/>
                </a:lnTo>
                <a:lnTo>
                  <a:pt x="3893575" y="4139380"/>
                </a:lnTo>
                <a:lnTo>
                  <a:pt x="3736258" y="4129548"/>
                </a:lnTo>
                <a:lnTo>
                  <a:pt x="0" y="1986116"/>
                </a:lnTo>
                <a:lnTo>
                  <a:pt x="167149" y="1927122"/>
                </a:lnTo>
                <a:lnTo>
                  <a:pt x="49162" y="1209368"/>
                </a:lnTo>
                <a:lnTo>
                  <a:pt x="825910" y="1071716"/>
                </a:lnTo>
                <a:lnTo>
                  <a:pt x="757084" y="599768"/>
                </a:lnTo>
                <a:lnTo>
                  <a:pt x="1612491" y="491613"/>
                </a:lnTo>
                <a:lnTo>
                  <a:pt x="1602658" y="0"/>
                </a:lnTo>
                <a:lnTo>
                  <a:pt x="5840362" y="265471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</a:pPr>
            <a:endParaRPr lang="fr-CA" sz="1600" err="1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7067FDF5-8C02-3A7E-86E8-D394F1BD3C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7728" y="3406757"/>
            <a:ext cx="2259818" cy="31903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8A30648-0E77-2ABD-90B9-C7AE47074A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5515" y="412629"/>
            <a:ext cx="2078384" cy="61844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2020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433DBF-B09C-C19A-1982-68833469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err="1">
                <a:solidFill>
                  <a:schemeClr val="bg1"/>
                </a:solidFill>
              </a:rPr>
              <a:t>Where</a:t>
            </a:r>
            <a:r>
              <a:rPr lang="fr-CA">
                <a:solidFill>
                  <a:schemeClr val="bg1"/>
                </a:solidFill>
              </a:rPr>
              <a:t> </a:t>
            </a:r>
            <a:r>
              <a:rPr lang="fr-CA" err="1">
                <a:solidFill>
                  <a:schemeClr val="bg1"/>
                </a:solidFill>
              </a:rPr>
              <a:t>will</a:t>
            </a:r>
            <a:r>
              <a:rPr lang="fr-CA">
                <a:solidFill>
                  <a:schemeClr val="bg1"/>
                </a:solidFill>
              </a:rPr>
              <a:t> the Fordia brand </a:t>
            </a:r>
            <a:r>
              <a:rPr lang="fr-CA" err="1">
                <a:solidFill>
                  <a:schemeClr val="bg1"/>
                </a:solidFill>
              </a:rPr>
              <a:t>remain</a:t>
            </a:r>
            <a:r>
              <a:rPr lang="fr-CA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8C1F1F1-A616-8C2C-21EE-FA27AB9C3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589" y="1517905"/>
            <a:ext cx="7585255" cy="4487609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On </a:t>
            </a:r>
            <a:r>
              <a:rPr lang="fr-CA" b="1" dirty="0" err="1">
                <a:solidFill>
                  <a:schemeClr val="bg1"/>
                </a:solidFill>
                <a:latin typeface="Aptos" panose="020B0004020202020204" pitchFamily="34" charset="0"/>
              </a:rPr>
              <a:t>diamond</a:t>
            </a:r>
            <a:r>
              <a:rPr lang="fr-CA" b="1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b="1" dirty="0" err="1">
                <a:solidFill>
                  <a:schemeClr val="bg1"/>
                </a:solidFill>
                <a:latin typeface="Aptos" panose="020B0004020202020204" pitchFamily="34" charset="0"/>
              </a:rPr>
              <a:t>tools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!</a:t>
            </a:r>
          </a:p>
          <a:p>
            <a:pPr>
              <a:buClr>
                <a:schemeClr val="bg1"/>
              </a:buClr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On a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lighter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b="1" dirty="0">
                <a:solidFill>
                  <a:schemeClr val="bg1"/>
                </a:solidFill>
                <a:latin typeface="Aptos" panose="020B0004020202020204" pitchFamily="34" charset="0"/>
              </a:rPr>
              <a:t>fordia.com 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web site</a:t>
            </a:r>
          </a:p>
          <a:p>
            <a:pPr>
              <a:buClr>
                <a:schemeClr val="bg1"/>
              </a:buClr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On a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given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b="1" dirty="0">
                <a:solidFill>
                  <a:schemeClr val="bg1"/>
                </a:solidFill>
                <a:latin typeface="Aptos" panose="020B0004020202020204" pitchFamily="34" charset="0"/>
              </a:rPr>
              <a:t>area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within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an Epiroc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booth</a:t>
            </a:r>
            <a:endParaRPr lang="fr-CA" dirty="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On focused but limited </a:t>
            </a:r>
            <a:r>
              <a:rPr lang="en-US" b="1" dirty="0">
                <a:solidFill>
                  <a:schemeClr val="bg1"/>
                </a:solidFill>
                <a:latin typeface="Aptos" panose="020B0004020202020204" pitchFamily="34" charset="0"/>
              </a:rPr>
              <a:t>promotional tools </a:t>
            </a: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(ad, video, etc.)</a:t>
            </a:r>
            <a:endParaRPr lang="fr-CA" dirty="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Potentially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via Facebook,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through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a network of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ambassadors</a:t>
            </a:r>
            <a:endParaRPr lang="fr-CA" dirty="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Clr>
                <a:schemeClr val="bg1"/>
              </a:buClr>
              <a:buNone/>
            </a:pP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HERO, </a:t>
            </a:r>
            <a:r>
              <a:rPr lang="en-US" dirty="0" err="1">
                <a:solidFill>
                  <a:schemeClr val="bg1"/>
                </a:solidFill>
                <a:latin typeface="Aptos" panose="020B0004020202020204" pitchFamily="34" charset="0"/>
              </a:rPr>
              <a:t>RockStar</a:t>
            </a: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, Viking and other product names…</a:t>
            </a: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Will continue to be on the packaging of diamond tools</a:t>
            </a: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Aptos" panose="020B0004020202020204" pitchFamily="34" charset="0"/>
              </a:rPr>
              <a:t>Could be part of a focused promotional tools (ad, video, promo items, etc.)</a:t>
            </a:r>
          </a:p>
          <a:p>
            <a:endParaRPr lang="fr-CA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ED8ED1-8962-13FC-C625-8C8EDC7C97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/>
              <a:t>The 2024 timelin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01B3BF-7E2E-844E-CAA4-36D1E5B06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CD8C97-9AF4-4DB6-B014-E488ABEEB47A}" type="slidenum">
              <a:rPr lang="fr-CA" smtClean="0">
                <a:solidFill>
                  <a:srgbClr val="425563"/>
                </a:solidFill>
              </a:rPr>
              <a:pPr/>
              <a:t>16</a:t>
            </a:fld>
            <a:endParaRPr lang="fr-CA">
              <a:solidFill>
                <a:srgbClr val="425563"/>
              </a:solidFill>
            </a:endParaRPr>
          </a:p>
        </p:txBody>
      </p:sp>
      <p:pic>
        <p:nvPicPr>
          <p:cNvPr id="8" name="Image 7" descr="Une image contenant texte, Police, Graphique, logo&#10;&#10;Description générée automatiquement">
            <a:extLst>
              <a:ext uri="{FF2B5EF4-FFF2-40B4-BE49-F238E27FC236}">
                <a16:creationId xmlns:a16="http://schemas.microsoft.com/office/drawing/2014/main" id="{59227299-746C-06B1-FEFC-8F30E1B740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6241" y="2810877"/>
            <a:ext cx="2686738" cy="156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433DBF-B09C-C19A-1982-688334697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err="1">
                <a:solidFill>
                  <a:schemeClr val="bg1"/>
                </a:solidFill>
              </a:rPr>
              <a:t>Getting</a:t>
            </a:r>
            <a:r>
              <a:rPr lang="fr-CA">
                <a:solidFill>
                  <a:schemeClr val="bg1"/>
                </a:solidFill>
              </a:rPr>
              <a:t> </a:t>
            </a:r>
            <a:r>
              <a:rPr lang="fr-CA" err="1">
                <a:solidFill>
                  <a:schemeClr val="bg1"/>
                </a:solidFill>
              </a:rPr>
              <a:t>started</a:t>
            </a:r>
            <a:r>
              <a:rPr lang="fr-CA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8C1F1F1-A616-8C2C-21EE-FA27AB9C3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590" y="1517905"/>
            <a:ext cx="6936862" cy="4487609"/>
          </a:xfrm>
        </p:spPr>
        <p:txBody>
          <a:bodyPr/>
          <a:lstStyle/>
          <a:p>
            <a:pPr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Approv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plan </a:t>
            </a:r>
          </a:p>
          <a:p>
            <a:pPr>
              <a:buClr>
                <a:schemeClr val="bg1"/>
              </a:buClr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Communicat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plan to the global team</a:t>
            </a:r>
          </a:p>
          <a:p>
            <a:pPr lvl="1">
              <a:buClr>
                <a:schemeClr val="bg1"/>
              </a:buClr>
              <a:buFont typeface="Aptos" panose="020B0004020202020204" pitchFamily="34" charset="0"/>
              <a:buChar char="☑"/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Attend production meetings</a:t>
            </a:r>
          </a:p>
          <a:p>
            <a:pPr lvl="1">
              <a:buClr>
                <a:schemeClr val="bg1"/>
              </a:buClr>
              <a:buFont typeface="Aptos" panose="020B0004020202020204" pitchFamily="34" charset="0"/>
              <a:buChar char="☑"/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Host Teams sessions </a:t>
            </a:r>
          </a:p>
          <a:p>
            <a:pPr lvl="1">
              <a:buClr>
                <a:schemeClr val="bg1"/>
              </a:buClr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OBK Newsletter</a:t>
            </a:r>
          </a:p>
          <a:p>
            <a:pPr lvl="1">
              <a:buClr>
                <a:schemeClr val="bg1"/>
              </a:buClr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Enkourag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+ Attractive screens</a:t>
            </a:r>
          </a:p>
          <a:p>
            <a:pPr>
              <a:buClr>
                <a:schemeClr val="bg1"/>
              </a:buClr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With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the help of the team,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list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all the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sub-categories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of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elements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need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to update,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creat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a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SmartSheet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file or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filter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in the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current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OBK B&amp;C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sheet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, to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track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progress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 </a:t>
            </a:r>
          </a:p>
          <a:p>
            <a:pPr>
              <a:buClr>
                <a:schemeClr val="bg1"/>
              </a:buClr>
            </a:pP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Form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the </a:t>
            </a:r>
            <a:r>
              <a:rPr lang="fr-CA" dirty="0" err="1">
                <a:solidFill>
                  <a:schemeClr val="bg1"/>
                </a:solidFill>
                <a:latin typeface="Aptos" panose="020B0004020202020204" pitchFamily="34" charset="0"/>
              </a:rPr>
              <a:t>Committee</a:t>
            </a: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 and book sessions</a:t>
            </a:r>
          </a:p>
          <a:p>
            <a:pPr>
              <a:buClr>
                <a:schemeClr val="bg1"/>
              </a:buClr>
            </a:pPr>
            <a:r>
              <a:rPr lang="fr-CA" dirty="0">
                <a:solidFill>
                  <a:schemeClr val="bg1"/>
                </a:solidFill>
                <a:latin typeface="Aptos" panose="020B0004020202020204" pitchFamily="34" charset="0"/>
              </a:rPr>
              <a:t>Rock ‘n Roll!</a:t>
            </a:r>
          </a:p>
          <a:p>
            <a:pPr lvl="1">
              <a:buClr>
                <a:schemeClr val="bg1"/>
              </a:buClr>
            </a:pPr>
            <a:endParaRPr lang="fr-CA" dirty="0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3ED8ED1-8962-13FC-C625-8C8EDC7C97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/>
              <a:t>To-do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501B3BF-7E2E-844E-CAA4-36D1E5B06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CD8C97-9AF4-4DB6-B014-E488ABEEB47A}" type="slidenum">
              <a:rPr lang="fr-CA" smtClean="0">
                <a:solidFill>
                  <a:srgbClr val="425563"/>
                </a:solidFill>
              </a:rPr>
              <a:pPr/>
              <a:t>17</a:t>
            </a:fld>
            <a:endParaRPr lang="fr-CA">
              <a:solidFill>
                <a:srgbClr val="425563"/>
              </a:solidFill>
            </a:endParaRPr>
          </a:p>
        </p:txBody>
      </p:sp>
      <p:pic>
        <p:nvPicPr>
          <p:cNvPr id="8" name="Graphique 7" descr="Guide opérationnel avec un remplissage uni">
            <a:extLst>
              <a:ext uri="{FF2B5EF4-FFF2-40B4-BE49-F238E27FC236}">
                <a16:creationId xmlns:a16="http://schemas.microsoft.com/office/drawing/2014/main" id="{77A8629E-5EEA-6299-8150-3971B051E8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92405" y="1458089"/>
            <a:ext cx="4262846" cy="4262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2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2" descr="Une image contenant herbe, extérieur, ciel, jaune&#10;&#10;Description générée automatiquement">
            <a:extLst>
              <a:ext uri="{FF2B5EF4-FFF2-40B4-BE49-F238E27FC236}">
                <a16:creationId xmlns:a16="http://schemas.microsoft.com/office/drawing/2014/main" id="{45EE6502-9F54-57EF-7E82-88DEBA4F725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80" b="12480"/>
          <a:stretch>
            <a:fillRect/>
          </a:stretch>
        </p:blipFill>
        <p:spPr>
          <a:xfrm>
            <a:off x="6350" y="0"/>
            <a:ext cx="12185650" cy="6858000"/>
          </a:xfrm>
          <a:custGeom>
            <a:avLst/>
            <a:gdLst/>
            <a:ahLst/>
            <a:cxnLst/>
            <a:rect l="l" t="t" r="r" b="b"/>
            <a:pathLst>
              <a:path w="12188825" h="6858000">
                <a:moveTo>
                  <a:pt x="11521444" y="506220"/>
                </a:moveTo>
                <a:lnTo>
                  <a:pt x="11526077" y="506516"/>
                </a:lnTo>
                <a:lnTo>
                  <a:pt x="11530585" y="507411"/>
                </a:lnTo>
                <a:lnTo>
                  <a:pt x="11534901" y="508912"/>
                </a:lnTo>
                <a:lnTo>
                  <a:pt x="11538958" y="511028"/>
                </a:lnTo>
                <a:lnTo>
                  <a:pt x="11542691" y="513767"/>
                </a:lnTo>
                <a:lnTo>
                  <a:pt x="11546032" y="517137"/>
                </a:lnTo>
                <a:lnTo>
                  <a:pt x="11548914" y="521146"/>
                </a:lnTo>
                <a:lnTo>
                  <a:pt x="11551273" y="525804"/>
                </a:lnTo>
                <a:lnTo>
                  <a:pt x="11553039" y="531116"/>
                </a:lnTo>
                <a:lnTo>
                  <a:pt x="11554148" y="537094"/>
                </a:lnTo>
                <a:lnTo>
                  <a:pt x="11554533" y="543744"/>
                </a:lnTo>
                <a:lnTo>
                  <a:pt x="11554148" y="550401"/>
                </a:lnTo>
                <a:lnTo>
                  <a:pt x="11553039" y="556398"/>
                </a:lnTo>
                <a:lnTo>
                  <a:pt x="11551273" y="561740"/>
                </a:lnTo>
                <a:lnTo>
                  <a:pt x="11548914" y="566433"/>
                </a:lnTo>
                <a:lnTo>
                  <a:pt x="11546032" y="570483"/>
                </a:lnTo>
                <a:lnTo>
                  <a:pt x="11542691" y="573895"/>
                </a:lnTo>
                <a:lnTo>
                  <a:pt x="11538958" y="576673"/>
                </a:lnTo>
                <a:lnTo>
                  <a:pt x="11534901" y="578825"/>
                </a:lnTo>
                <a:lnTo>
                  <a:pt x="11530585" y="580355"/>
                </a:lnTo>
                <a:lnTo>
                  <a:pt x="11526077" y="581269"/>
                </a:lnTo>
                <a:lnTo>
                  <a:pt x="11521444" y="581573"/>
                </a:lnTo>
                <a:lnTo>
                  <a:pt x="11516878" y="581262"/>
                </a:lnTo>
                <a:lnTo>
                  <a:pt x="11512412" y="580331"/>
                </a:lnTo>
                <a:lnTo>
                  <a:pt x="11508116" y="578776"/>
                </a:lnTo>
                <a:lnTo>
                  <a:pt x="11504061" y="576596"/>
                </a:lnTo>
                <a:lnTo>
                  <a:pt x="11500318" y="573791"/>
                </a:lnTo>
                <a:lnTo>
                  <a:pt x="11496957" y="570359"/>
                </a:lnTo>
                <a:lnTo>
                  <a:pt x="11494049" y="566298"/>
                </a:lnTo>
                <a:lnTo>
                  <a:pt x="11491664" y="561608"/>
                </a:lnTo>
                <a:lnTo>
                  <a:pt x="11489874" y="556286"/>
                </a:lnTo>
                <a:lnTo>
                  <a:pt x="11488747" y="550332"/>
                </a:lnTo>
                <a:lnTo>
                  <a:pt x="11488356" y="543744"/>
                </a:lnTo>
                <a:lnTo>
                  <a:pt x="11488747" y="537094"/>
                </a:lnTo>
                <a:lnTo>
                  <a:pt x="11489874" y="531116"/>
                </a:lnTo>
                <a:lnTo>
                  <a:pt x="11491664" y="525804"/>
                </a:lnTo>
                <a:lnTo>
                  <a:pt x="11494049" y="521146"/>
                </a:lnTo>
                <a:lnTo>
                  <a:pt x="11496957" y="517137"/>
                </a:lnTo>
                <a:lnTo>
                  <a:pt x="11500318" y="513767"/>
                </a:lnTo>
                <a:lnTo>
                  <a:pt x="11504061" y="511028"/>
                </a:lnTo>
                <a:lnTo>
                  <a:pt x="11508116" y="508912"/>
                </a:lnTo>
                <a:lnTo>
                  <a:pt x="11512412" y="507411"/>
                </a:lnTo>
                <a:lnTo>
                  <a:pt x="11516878" y="506516"/>
                </a:lnTo>
                <a:close/>
                <a:moveTo>
                  <a:pt x="11176214" y="503046"/>
                </a:moveTo>
                <a:lnTo>
                  <a:pt x="11180986" y="503349"/>
                </a:lnTo>
                <a:lnTo>
                  <a:pt x="11185596" y="504262"/>
                </a:lnTo>
                <a:lnTo>
                  <a:pt x="11189980" y="505787"/>
                </a:lnTo>
                <a:lnTo>
                  <a:pt x="11194077" y="507931"/>
                </a:lnTo>
                <a:lnTo>
                  <a:pt x="11197827" y="510696"/>
                </a:lnTo>
                <a:lnTo>
                  <a:pt x="11201169" y="514087"/>
                </a:lnTo>
                <a:lnTo>
                  <a:pt x="11204040" y="518107"/>
                </a:lnTo>
                <a:lnTo>
                  <a:pt x="11206380" y="522761"/>
                </a:lnTo>
                <a:lnTo>
                  <a:pt x="11208127" y="528054"/>
                </a:lnTo>
                <a:lnTo>
                  <a:pt x="11209220" y="533988"/>
                </a:lnTo>
                <a:lnTo>
                  <a:pt x="11209598" y="540569"/>
                </a:lnTo>
                <a:lnTo>
                  <a:pt x="11209220" y="547157"/>
                </a:lnTo>
                <a:lnTo>
                  <a:pt x="11208127" y="553111"/>
                </a:lnTo>
                <a:lnTo>
                  <a:pt x="11206380" y="558433"/>
                </a:lnTo>
                <a:lnTo>
                  <a:pt x="11204040" y="563123"/>
                </a:lnTo>
                <a:lnTo>
                  <a:pt x="11201169" y="567184"/>
                </a:lnTo>
                <a:lnTo>
                  <a:pt x="11197827" y="570616"/>
                </a:lnTo>
                <a:lnTo>
                  <a:pt x="11194077" y="573421"/>
                </a:lnTo>
                <a:lnTo>
                  <a:pt x="11189980" y="575601"/>
                </a:lnTo>
                <a:lnTo>
                  <a:pt x="11185596" y="577156"/>
                </a:lnTo>
                <a:lnTo>
                  <a:pt x="11180986" y="578088"/>
                </a:lnTo>
                <a:lnTo>
                  <a:pt x="11176214" y="578398"/>
                </a:lnTo>
                <a:lnTo>
                  <a:pt x="11171514" y="578081"/>
                </a:lnTo>
                <a:lnTo>
                  <a:pt x="11166966" y="577131"/>
                </a:lnTo>
                <a:lnTo>
                  <a:pt x="11162630" y="575551"/>
                </a:lnTo>
                <a:lnTo>
                  <a:pt x="11158570" y="573345"/>
                </a:lnTo>
                <a:lnTo>
                  <a:pt x="11154848" y="570513"/>
                </a:lnTo>
                <a:lnTo>
                  <a:pt x="11151528" y="567060"/>
                </a:lnTo>
                <a:lnTo>
                  <a:pt x="11148670" y="562989"/>
                </a:lnTo>
                <a:lnTo>
                  <a:pt x="11146339" y="558301"/>
                </a:lnTo>
                <a:lnTo>
                  <a:pt x="11144596" y="553000"/>
                </a:lnTo>
                <a:lnTo>
                  <a:pt x="11143505" y="547088"/>
                </a:lnTo>
                <a:lnTo>
                  <a:pt x="11143127" y="540569"/>
                </a:lnTo>
                <a:lnTo>
                  <a:pt x="11143505" y="533988"/>
                </a:lnTo>
                <a:lnTo>
                  <a:pt x="11144596" y="528054"/>
                </a:lnTo>
                <a:lnTo>
                  <a:pt x="11146339" y="522761"/>
                </a:lnTo>
                <a:lnTo>
                  <a:pt x="11148670" y="518107"/>
                </a:lnTo>
                <a:lnTo>
                  <a:pt x="11151528" y="514087"/>
                </a:lnTo>
                <a:lnTo>
                  <a:pt x="11154848" y="510696"/>
                </a:lnTo>
                <a:lnTo>
                  <a:pt x="11158570" y="507931"/>
                </a:lnTo>
                <a:lnTo>
                  <a:pt x="11162630" y="505787"/>
                </a:lnTo>
                <a:lnTo>
                  <a:pt x="11166966" y="504262"/>
                </a:lnTo>
                <a:lnTo>
                  <a:pt x="11171514" y="503349"/>
                </a:lnTo>
                <a:close/>
                <a:moveTo>
                  <a:pt x="11277930" y="468088"/>
                </a:moveTo>
                <a:lnTo>
                  <a:pt x="11276382" y="468411"/>
                </a:lnTo>
                <a:lnTo>
                  <a:pt x="11275118" y="469291"/>
                </a:lnTo>
                <a:lnTo>
                  <a:pt x="11274265" y="470596"/>
                </a:lnTo>
                <a:lnTo>
                  <a:pt x="11273953" y="472195"/>
                </a:lnTo>
                <a:lnTo>
                  <a:pt x="11273953" y="615599"/>
                </a:lnTo>
                <a:lnTo>
                  <a:pt x="11274265" y="617198"/>
                </a:lnTo>
                <a:lnTo>
                  <a:pt x="11275118" y="618503"/>
                </a:lnTo>
                <a:lnTo>
                  <a:pt x="11276382" y="619383"/>
                </a:lnTo>
                <a:lnTo>
                  <a:pt x="11277930" y="619706"/>
                </a:lnTo>
                <a:lnTo>
                  <a:pt x="11314879" y="619706"/>
                </a:lnTo>
                <a:lnTo>
                  <a:pt x="11316428" y="619383"/>
                </a:lnTo>
                <a:lnTo>
                  <a:pt x="11317693" y="618503"/>
                </a:lnTo>
                <a:lnTo>
                  <a:pt x="11318546" y="617198"/>
                </a:lnTo>
                <a:lnTo>
                  <a:pt x="11318858" y="615599"/>
                </a:lnTo>
                <a:lnTo>
                  <a:pt x="11318858" y="472195"/>
                </a:lnTo>
                <a:lnTo>
                  <a:pt x="11318546" y="470596"/>
                </a:lnTo>
                <a:lnTo>
                  <a:pt x="11317693" y="469291"/>
                </a:lnTo>
                <a:lnTo>
                  <a:pt x="11316428" y="468411"/>
                </a:lnTo>
                <a:lnTo>
                  <a:pt x="11314879" y="468088"/>
                </a:lnTo>
                <a:close/>
                <a:moveTo>
                  <a:pt x="11426235" y="466563"/>
                </a:moveTo>
                <a:lnTo>
                  <a:pt x="11421520" y="466806"/>
                </a:lnTo>
                <a:lnTo>
                  <a:pt x="11416375" y="467592"/>
                </a:lnTo>
                <a:lnTo>
                  <a:pt x="11411009" y="469008"/>
                </a:lnTo>
                <a:lnTo>
                  <a:pt x="11405629" y="471139"/>
                </a:lnTo>
                <a:lnTo>
                  <a:pt x="11400443" y="474070"/>
                </a:lnTo>
                <a:lnTo>
                  <a:pt x="11395658" y="477888"/>
                </a:lnTo>
                <a:lnTo>
                  <a:pt x="11391483" y="482679"/>
                </a:lnTo>
                <a:lnTo>
                  <a:pt x="11388125" y="488528"/>
                </a:lnTo>
                <a:lnTo>
                  <a:pt x="11388125" y="472194"/>
                </a:lnTo>
                <a:lnTo>
                  <a:pt x="11387812" y="470596"/>
                </a:lnTo>
                <a:lnTo>
                  <a:pt x="11386959" y="469290"/>
                </a:lnTo>
                <a:lnTo>
                  <a:pt x="11385695" y="468410"/>
                </a:lnTo>
                <a:lnTo>
                  <a:pt x="11384146" y="468087"/>
                </a:lnTo>
                <a:lnTo>
                  <a:pt x="11348674" y="468087"/>
                </a:lnTo>
                <a:lnTo>
                  <a:pt x="11347126" y="468410"/>
                </a:lnTo>
                <a:lnTo>
                  <a:pt x="11345861" y="469290"/>
                </a:lnTo>
                <a:lnTo>
                  <a:pt x="11345009" y="470596"/>
                </a:lnTo>
                <a:lnTo>
                  <a:pt x="11344697" y="472194"/>
                </a:lnTo>
                <a:lnTo>
                  <a:pt x="11344697" y="615598"/>
                </a:lnTo>
                <a:lnTo>
                  <a:pt x="11345009" y="617197"/>
                </a:lnTo>
                <a:lnTo>
                  <a:pt x="11345861" y="618503"/>
                </a:lnTo>
                <a:lnTo>
                  <a:pt x="11347126" y="619384"/>
                </a:lnTo>
                <a:lnTo>
                  <a:pt x="11348674" y="619707"/>
                </a:lnTo>
                <a:lnTo>
                  <a:pt x="11385624" y="619707"/>
                </a:lnTo>
                <a:lnTo>
                  <a:pt x="11387172" y="619384"/>
                </a:lnTo>
                <a:lnTo>
                  <a:pt x="11388436" y="618503"/>
                </a:lnTo>
                <a:lnTo>
                  <a:pt x="11389288" y="617197"/>
                </a:lnTo>
                <a:lnTo>
                  <a:pt x="11389601" y="615598"/>
                </a:lnTo>
                <a:lnTo>
                  <a:pt x="11389601" y="553505"/>
                </a:lnTo>
                <a:lnTo>
                  <a:pt x="11389993" y="545737"/>
                </a:lnTo>
                <a:lnTo>
                  <a:pt x="11391125" y="538881"/>
                </a:lnTo>
                <a:lnTo>
                  <a:pt x="11392933" y="532902"/>
                </a:lnTo>
                <a:lnTo>
                  <a:pt x="11395351" y="527762"/>
                </a:lnTo>
                <a:lnTo>
                  <a:pt x="11398313" y="523426"/>
                </a:lnTo>
                <a:lnTo>
                  <a:pt x="11401755" y="519856"/>
                </a:lnTo>
                <a:lnTo>
                  <a:pt x="11405611" y="517018"/>
                </a:lnTo>
                <a:lnTo>
                  <a:pt x="11409816" y="514873"/>
                </a:lnTo>
                <a:lnTo>
                  <a:pt x="11414305" y="513386"/>
                </a:lnTo>
                <a:lnTo>
                  <a:pt x="11419012" y="512521"/>
                </a:lnTo>
                <a:lnTo>
                  <a:pt x="11423872" y="512240"/>
                </a:lnTo>
                <a:lnTo>
                  <a:pt x="11426095" y="512268"/>
                </a:lnTo>
                <a:lnTo>
                  <a:pt x="11428226" y="512358"/>
                </a:lnTo>
                <a:lnTo>
                  <a:pt x="11430317" y="512521"/>
                </a:lnTo>
                <a:lnTo>
                  <a:pt x="11432390" y="512765"/>
                </a:lnTo>
                <a:lnTo>
                  <a:pt x="11433968" y="512669"/>
                </a:lnTo>
                <a:lnTo>
                  <a:pt x="11434843" y="512240"/>
                </a:lnTo>
                <a:lnTo>
                  <a:pt x="11435343" y="511995"/>
                </a:lnTo>
                <a:lnTo>
                  <a:pt x="11436373" y="510845"/>
                </a:lnTo>
                <a:lnTo>
                  <a:pt x="11436911" y="509319"/>
                </a:lnTo>
                <a:lnTo>
                  <a:pt x="11439940" y="488528"/>
                </a:lnTo>
                <a:lnTo>
                  <a:pt x="11442246" y="472693"/>
                </a:lnTo>
                <a:lnTo>
                  <a:pt x="11442183" y="471123"/>
                </a:lnTo>
                <a:lnTo>
                  <a:pt x="11435808" y="467437"/>
                </a:lnTo>
                <a:lnTo>
                  <a:pt x="11429070" y="466668"/>
                </a:lnTo>
                <a:close/>
                <a:moveTo>
                  <a:pt x="11692792" y="463512"/>
                </a:moveTo>
                <a:lnTo>
                  <a:pt x="11687218" y="463699"/>
                </a:lnTo>
                <a:lnTo>
                  <a:pt x="11681757" y="464254"/>
                </a:lnTo>
                <a:lnTo>
                  <a:pt x="11676422" y="465167"/>
                </a:lnTo>
                <a:lnTo>
                  <a:pt x="11671225" y="466428"/>
                </a:lnTo>
                <a:lnTo>
                  <a:pt x="11666179" y="468029"/>
                </a:lnTo>
                <a:lnTo>
                  <a:pt x="11661296" y="469959"/>
                </a:lnTo>
                <a:lnTo>
                  <a:pt x="11656589" y="472210"/>
                </a:lnTo>
                <a:lnTo>
                  <a:pt x="11652069" y="474772"/>
                </a:lnTo>
                <a:lnTo>
                  <a:pt x="11647751" y="477635"/>
                </a:lnTo>
                <a:lnTo>
                  <a:pt x="11643646" y="480790"/>
                </a:lnTo>
                <a:lnTo>
                  <a:pt x="11639767" y="484227"/>
                </a:lnTo>
                <a:lnTo>
                  <a:pt x="11636126" y="487937"/>
                </a:lnTo>
                <a:lnTo>
                  <a:pt x="11632735" y="491911"/>
                </a:lnTo>
                <a:lnTo>
                  <a:pt x="11629609" y="496138"/>
                </a:lnTo>
                <a:lnTo>
                  <a:pt x="11626758" y="500610"/>
                </a:lnTo>
                <a:lnTo>
                  <a:pt x="11624196" y="505317"/>
                </a:lnTo>
                <a:lnTo>
                  <a:pt x="11621934" y="510249"/>
                </a:lnTo>
                <a:lnTo>
                  <a:pt x="11619981" y="515417"/>
                </a:lnTo>
                <a:lnTo>
                  <a:pt x="11618365" y="520753"/>
                </a:lnTo>
                <a:lnTo>
                  <a:pt x="11617082" y="526305"/>
                </a:lnTo>
                <a:lnTo>
                  <a:pt x="11616150" y="532045"/>
                </a:lnTo>
                <a:lnTo>
                  <a:pt x="11615581" y="537963"/>
                </a:lnTo>
                <a:lnTo>
                  <a:pt x="11615389" y="544049"/>
                </a:lnTo>
                <a:lnTo>
                  <a:pt x="11615570" y="549849"/>
                </a:lnTo>
                <a:lnTo>
                  <a:pt x="11616106" y="555497"/>
                </a:lnTo>
                <a:lnTo>
                  <a:pt x="11616985" y="560985"/>
                </a:lnTo>
                <a:lnTo>
                  <a:pt x="11618195" y="566305"/>
                </a:lnTo>
                <a:lnTo>
                  <a:pt x="11619726" y="571448"/>
                </a:lnTo>
                <a:lnTo>
                  <a:pt x="11621565" y="576405"/>
                </a:lnTo>
                <a:lnTo>
                  <a:pt x="11623701" y="581169"/>
                </a:lnTo>
                <a:lnTo>
                  <a:pt x="11626123" y="585730"/>
                </a:lnTo>
                <a:lnTo>
                  <a:pt x="11628818" y="590081"/>
                </a:lnTo>
                <a:lnTo>
                  <a:pt x="11631776" y="594212"/>
                </a:lnTo>
                <a:lnTo>
                  <a:pt x="11634984" y="598115"/>
                </a:lnTo>
                <a:lnTo>
                  <a:pt x="11638432" y="601783"/>
                </a:lnTo>
                <a:lnTo>
                  <a:pt x="11642108" y="605205"/>
                </a:lnTo>
                <a:lnTo>
                  <a:pt x="11645999" y="608375"/>
                </a:lnTo>
                <a:lnTo>
                  <a:pt x="11650096" y="611283"/>
                </a:lnTo>
                <a:lnTo>
                  <a:pt x="11654385" y="613920"/>
                </a:lnTo>
                <a:lnTo>
                  <a:pt x="11658856" y="616279"/>
                </a:lnTo>
                <a:lnTo>
                  <a:pt x="11663497" y="618351"/>
                </a:lnTo>
                <a:lnTo>
                  <a:pt x="11668297" y="620128"/>
                </a:lnTo>
                <a:lnTo>
                  <a:pt x="11673243" y="621600"/>
                </a:lnTo>
                <a:lnTo>
                  <a:pt x="11678325" y="622761"/>
                </a:lnTo>
                <a:lnTo>
                  <a:pt x="11683531" y="623599"/>
                </a:lnTo>
                <a:lnTo>
                  <a:pt x="11688849" y="624109"/>
                </a:lnTo>
                <a:lnTo>
                  <a:pt x="11694268" y="624281"/>
                </a:lnTo>
                <a:lnTo>
                  <a:pt x="11701099" y="624010"/>
                </a:lnTo>
                <a:lnTo>
                  <a:pt x="11707609" y="623217"/>
                </a:lnTo>
                <a:lnTo>
                  <a:pt x="11713794" y="621936"/>
                </a:lnTo>
                <a:lnTo>
                  <a:pt x="11719651" y="620198"/>
                </a:lnTo>
                <a:lnTo>
                  <a:pt x="11725177" y="618037"/>
                </a:lnTo>
                <a:lnTo>
                  <a:pt x="11730369" y="615485"/>
                </a:lnTo>
                <a:lnTo>
                  <a:pt x="11735222" y="612573"/>
                </a:lnTo>
                <a:lnTo>
                  <a:pt x="11739735" y="609335"/>
                </a:lnTo>
                <a:lnTo>
                  <a:pt x="11743903" y="605803"/>
                </a:lnTo>
                <a:lnTo>
                  <a:pt x="11747723" y="602010"/>
                </a:lnTo>
                <a:lnTo>
                  <a:pt x="11751191" y="597987"/>
                </a:lnTo>
                <a:lnTo>
                  <a:pt x="11754306" y="593768"/>
                </a:lnTo>
                <a:lnTo>
                  <a:pt x="11757062" y="589384"/>
                </a:lnTo>
                <a:lnTo>
                  <a:pt x="11759457" y="584868"/>
                </a:lnTo>
                <a:lnTo>
                  <a:pt x="11760907" y="581573"/>
                </a:lnTo>
                <a:lnTo>
                  <a:pt x="11761487" y="580253"/>
                </a:lnTo>
                <a:lnTo>
                  <a:pt x="11763150" y="575571"/>
                </a:lnTo>
                <a:lnTo>
                  <a:pt x="11763335" y="573916"/>
                </a:lnTo>
                <a:lnTo>
                  <a:pt x="11762906" y="572373"/>
                </a:lnTo>
                <a:lnTo>
                  <a:pt x="11761945" y="571115"/>
                </a:lnTo>
                <a:lnTo>
                  <a:pt x="11760533" y="570318"/>
                </a:lnTo>
                <a:lnTo>
                  <a:pt x="11728298" y="560134"/>
                </a:lnTo>
                <a:lnTo>
                  <a:pt x="11726830" y="559968"/>
                </a:lnTo>
                <a:lnTo>
                  <a:pt x="11725453" y="560353"/>
                </a:lnTo>
                <a:lnTo>
                  <a:pt x="11724293" y="561219"/>
                </a:lnTo>
                <a:lnTo>
                  <a:pt x="11723476" y="562496"/>
                </a:lnTo>
                <a:lnTo>
                  <a:pt x="11721377" y="566704"/>
                </a:lnTo>
                <a:lnTo>
                  <a:pt x="11718612" y="570655"/>
                </a:lnTo>
                <a:lnTo>
                  <a:pt x="11715165" y="574206"/>
                </a:lnTo>
                <a:lnTo>
                  <a:pt x="11711023" y="577216"/>
                </a:lnTo>
                <a:lnTo>
                  <a:pt x="11706169" y="579542"/>
                </a:lnTo>
                <a:lnTo>
                  <a:pt x="11700589" y="581041"/>
                </a:lnTo>
                <a:lnTo>
                  <a:pt x="11694268" y="581573"/>
                </a:lnTo>
                <a:lnTo>
                  <a:pt x="11689275" y="581242"/>
                </a:lnTo>
                <a:lnTo>
                  <a:pt x="11684486" y="580258"/>
                </a:lnTo>
                <a:lnTo>
                  <a:pt x="11679957" y="578633"/>
                </a:lnTo>
                <a:lnTo>
                  <a:pt x="11675747" y="576380"/>
                </a:lnTo>
                <a:lnTo>
                  <a:pt x="11671913" y="573511"/>
                </a:lnTo>
                <a:lnTo>
                  <a:pt x="11668511" y="570038"/>
                </a:lnTo>
                <a:lnTo>
                  <a:pt x="11665599" y="565973"/>
                </a:lnTo>
                <a:lnTo>
                  <a:pt x="11663235" y="561330"/>
                </a:lnTo>
                <a:lnTo>
                  <a:pt x="11661475" y="556120"/>
                </a:lnTo>
                <a:lnTo>
                  <a:pt x="11660377" y="550355"/>
                </a:lnTo>
                <a:lnTo>
                  <a:pt x="11659998" y="544049"/>
                </a:lnTo>
                <a:lnTo>
                  <a:pt x="11660363" y="537667"/>
                </a:lnTo>
                <a:lnTo>
                  <a:pt x="11661423" y="531841"/>
                </a:lnTo>
                <a:lnTo>
                  <a:pt x="11663127" y="526581"/>
                </a:lnTo>
                <a:lnTo>
                  <a:pt x="11665421" y="521899"/>
                </a:lnTo>
                <a:lnTo>
                  <a:pt x="11668255" y="517805"/>
                </a:lnTo>
                <a:lnTo>
                  <a:pt x="11671577" y="514311"/>
                </a:lnTo>
                <a:lnTo>
                  <a:pt x="11675334" y="511427"/>
                </a:lnTo>
                <a:lnTo>
                  <a:pt x="11679474" y="509166"/>
                </a:lnTo>
                <a:lnTo>
                  <a:pt x="11683947" y="507537"/>
                </a:lnTo>
                <a:lnTo>
                  <a:pt x="11688699" y="506551"/>
                </a:lnTo>
                <a:lnTo>
                  <a:pt x="11693679" y="506220"/>
                </a:lnTo>
                <a:lnTo>
                  <a:pt x="11699960" y="506739"/>
                </a:lnTo>
                <a:lnTo>
                  <a:pt x="11705435" y="508207"/>
                </a:lnTo>
                <a:lnTo>
                  <a:pt x="11710142" y="510495"/>
                </a:lnTo>
                <a:lnTo>
                  <a:pt x="11714118" y="513472"/>
                </a:lnTo>
                <a:lnTo>
                  <a:pt x="11717399" y="517006"/>
                </a:lnTo>
                <a:lnTo>
                  <a:pt x="11720023" y="520968"/>
                </a:lnTo>
                <a:lnTo>
                  <a:pt x="11722027" y="525226"/>
                </a:lnTo>
                <a:lnTo>
                  <a:pt x="11722832" y="526530"/>
                </a:lnTo>
                <a:lnTo>
                  <a:pt x="11723993" y="527419"/>
                </a:lnTo>
                <a:lnTo>
                  <a:pt x="11725380" y="527821"/>
                </a:lnTo>
                <a:lnTo>
                  <a:pt x="11726863" y="527662"/>
                </a:lnTo>
                <a:lnTo>
                  <a:pt x="11759653" y="517454"/>
                </a:lnTo>
                <a:lnTo>
                  <a:pt x="11761066" y="516666"/>
                </a:lnTo>
                <a:lnTo>
                  <a:pt x="11762031" y="515417"/>
                </a:lnTo>
                <a:lnTo>
                  <a:pt x="11762468" y="513879"/>
                </a:lnTo>
                <a:lnTo>
                  <a:pt x="11762295" y="512225"/>
                </a:lnTo>
                <a:lnTo>
                  <a:pt x="11760758" y="507739"/>
                </a:lnTo>
                <a:lnTo>
                  <a:pt x="11760118" y="506220"/>
                </a:lnTo>
                <a:lnTo>
                  <a:pt x="11758900" y="503329"/>
                </a:lnTo>
                <a:lnTo>
                  <a:pt x="11756722" y="499021"/>
                </a:lnTo>
                <a:lnTo>
                  <a:pt x="11754224" y="494840"/>
                </a:lnTo>
                <a:lnTo>
                  <a:pt x="11751407" y="490811"/>
                </a:lnTo>
                <a:lnTo>
                  <a:pt x="11748270" y="486960"/>
                </a:lnTo>
                <a:lnTo>
                  <a:pt x="11744815" y="483311"/>
                </a:lnTo>
                <a:lnTo>
                  <a:pt x="11741041" y="479890"/>
                </a:lnTo>
                <a:lnTo>
                  <a:pt x="11736949" y="476722"/>
                </a:lnTo>
                <a:lnTo>
                  <a:pt x="11732539" y="473831"/>
                </a:lnTo>
                <a:lnTo>
                  <a:pt x="11727811" y="471245"/>
                </a:lnTo>
                <a:lnTo>
                  <a:pt x="11722766" y="468987"/>
                </a:lnTo>
                <a:lnTo>
                  <a:pt x="11717404" y="467083"/>
                </a:lnTo>
                <a:lnTo>
                  <a:pt x="11711725" y="465559"/>
                </a:lnTo>
                <a:lnTo>
                  <a:pt x="11705730" y="464438"/>
                </a:lnTo>
                <a:lnTo>
                  <a:pt x="11699419" y="463748"/>
                </a:lnTo>
                <a:close/>
                <a:moveTo>
                  <a:pt x="11521444" y="463512"/>
                </a:moveTo>
                <a:lnTo>
                  <a:pt x="11515797" y="463699"/>
                </a:lnTo>
                <a:lnTo>
                  <a:pt x="11510269" y="464254"/>
                </a:lnTo>
                <a:lnTo>
                  <a:pt x="11504873" y="465166"/>
                </a:lnTo>
                <a:lnTo>
                  <a:pt x="11499620" y="466426"/>
                </a:lnTo>
                <a:lnTo>
                  <a:pt x="11494524" y="468026"/>
                </a:lnTo>
                <a:lnTo>
                  <a:pt x="11489596" y="469954"/>
                </a:lnTo>
                <a:lnTo>
                  <a:pt x="11484849" y="472202"/>
                </a:lnTo>
                <a:lnTo>
                  <a:pt x="11480295" y="474759"/>
                </a:lnTo>
                <a:lnTo>
                  <a:pt x="11475946" y="477617"/>
                </a:lnTo>
                <a:lnTo>
                  <a:pt x="11471814" y="480765"/>
                </a:lnTo>
                <a:lnTo>
                  <a:pt x="11467912" y="484194"/>
                </a:lnTo>
                <a:lnTo>
                  <a:pt x="11464252" y="487894"/>
                </a:lnTo>
                <a:lnTo>
                  <a:pt x="11460846" y="491855"/>
                </a:lnTo>
                <a:lnTo>
                  <a:pt x="11457706" y="496069"/>
                </a:lnTo>
                <a:lnTo>
                  <a:pt x="11454845" y="500525"/>
                </a:lnTo>
                <a:lnTo>
                  <a:pt x="11452274" y="505214"/>
                </a:lnTo>
                <a:lnTo>
                  <a:pt x="11450007" y="510126"/>
                </a:lnTo>
                <a:lnTo>
                  <a:pt x="11448055" y="515251"/>
                </a:lnTo>
                <a:lnTo>
                  <a:pt x="11446430" y="520581"/>
                </a:lnTo>
                <a:lnTo>
                  <a:pt x="11445145" y="526104"/>
                </a:lnTo>
                <a:lnTo>
                  <a:pt x="11444212" y="531812"/>
                </a:lnTo>
                <a:lnTo>
                  <a:pt x="11443643" y="537695"/>
                </a:lnTo>
                <a:lnTo>
                  <a:pt x="11443451" y="543744"/>
                </a:lnTo>
                <a:lnTo>
                  <a:pt x="11443628" y="549545"/>
                </a:lnTo>
                <a:lnTo>
                  <a:pt x="11444150" y="555198"/>
                </a:lnTo>
                <a:lnTo>
                  <a:pt x="11445009" y="560693"/>
                </a:lnTo>
                <a:lnTo>
                  <a:pt x="11446192" y="566022"/>
                </a:lnTo>
                <a:lnTo>
                  <a:pt x="11447689" y="571177"/>
                </a:lnTo>
                <a:lnTo>
                  <a:pt x="11449489" y="576148"/>
                </a:lnTo>
                <a:lnTo>
                  <a:pt x="11451581" y="580927"/>
                </a:lnTo>
                <a:lnTo>
                  <a:pt x="11453955" y="585504"/>
                </a:lnTo>
                <a:lnTo>
                  <a:pt x="11456600" y="589872"/>
                </a:lnTo>
                <a:lnTo>
                  <a:pt x="11459505" y="594022"/>
                </a:lnTo>
                <a:lnTo>
                  <a:pt x="11462659" y="597944"/>
                </a:lnTo>
                <a:lnTo>
                  <a:pt x="11466051" y="601630"/>
                </a:lnTo>
                <a:lnTo>
                  <a:pt x="11469672" y="605072"/>
                </a:lnTo>
                <a:lnTo>
                  <a:pt x="11473509" y="608260"/>
                </a:lnTo>
                <a:lnTo>
                  <a:pt x="11477552" y="611186"/>
                </a:lnTo>
                <a:lnTo>
                  <a:pt x="11481791" y="613841"/>
                </a:lnTo>
                <a:lnTo>
                  <a:pt x="11486215" y="616217"/>
                </a:lnTo>
                <a:lnTo>
                  <a:pt x="11490812" y="618304"/>
                </a:lnTo>
                <a:lnTo>
                  <a:pt x="11495572" y="620094"/>
                </a:lnTo>
                <a:lnTo>
                  <a:pt x="11500485" y="621578"/>
                </a:lnTo>
                <a:lnTo>
                  <a:pt x="11505540" y="622747"/>
                </a:lnTo>
                <a:lnTo>
                  <a:pt x="11510725" y="623594"/>
                </a:lnTo>
                <a:lnTo>
                  <a:pt x="11516030" y="624108"/>
                </a:lnTo>
                <a:lnTo>
                  <a:pt x="11521444" y="624281"/>
                </a:lnTo>
                <a:lnTo>
                  <a:pt x="11526893" y="624108"/>
                </a:lnTo>
                <a:lnTo>
                  <a:pt x="11532226" y="623594"/>
                </a:lnTo>
                <a:lnTo>
                  <a:pt x="11537434" y="622747"/>
                </a:lnTo>
                <a:lnTo>
                  <a:pt x="11542506" y="621578"/>
                </a:lnTo>
                <a:lnTo>
                  <a:pt x="11547432" y="620094"/>
                </a:lnTo>
                <a:lnTo>
                  <a:pt x="11552202" y="618304"/>
                </a:lnTo>
                <a:lnTo>
                  <a:pt x="11556804" y="616217"/>
                </a:lnTo>
                <a:lnTo>
                  <a:pt x="11561230" y="613841"/>
                </a:lnTo>
                <a:lnTo>
                  <a:pt x="11565467" y="611186"/>
                </a:lnTo>
                <a:lnTo>
                  <a:pt x="11569506" y="608260"/>
                </a:lnTo>
                <a:lnTo>
                  <a:pt x="11573337" y="605072"/>
                </a:lnTo>
                <a:lnTo>
                  <a:pt x="11576949" y="601630"/>
                </a:lnTo>
                <a:lnTo>
                  <a:pt x="11580332" y="597944"/>
                </a:lnTo>
                <a:lnTo>
                  <a:pt x="11583475" y="594022"/>
                </a:lnTo>
                <a:lnTo>
                  <a:pt x="11586368" y="589872"/>
                </a:lnTo>
                <a:lnTo>
                  <a:pt x="11589001" y="585504"/>
                </a:lnTo>
                <a:lnTo>
                  <a:pt x="11591029" y="581573"/>
                </a:lnTo>
                <a:lnTo>
                  <a:pt x="11593443" y="576148"/>
                </a:lnTo>
                <a:lnTo>
                  <a:pt x="11595232" y="571177"/>
                </a:lnTo>
                <a:lnTo>
                  <a:pt x="11596719" y="566022"/>
                </a:lnTo>
                <a:lnTo>
                  <a:pt x="11597893" y="560693"/>
                </a:lnTo>
                <a:lnTo>
                  <a:pt x="11598745" y="555198"/>
                </a:lnTo>
                <a:lnTo>
                  <a:pt x="11599264" y="549545"/>
                </a:lnTo>
                <a:lnTo>
                  <a:pt x="11599439" y="543744"/>
                </a:lnTo>
                <a:lnTo>
                  <a:pt x="11599249" y="537695"/>
                </a:lnTo>
                <a:lnTo>
                  <a:pt x="11598684" y="531812"/>
                </a:lnTo>
                <a:lnTo>
                  <a:pt x="11597758" y="526104"/>
                </a:lnTo>
                <a:lnTo>
                  <a:pt x="11596482" y="520581"/>
                </a:lnTo>
                <a:lnTo>
                  <a:pt x="11594868" y="515251"/>
                </a:lnTo>
                <a:lnTo>
                  <a:pt x="11592928" y="510126"/>
                </a:lnTo>
                <a:lnTo>
                  <a:pt x="11591135" y="506220"/>
                </a:lnTo>
                <a:lnTo>
                  <a:pt x="11590673" y="505214"/>
                </a:lnTo>
                <a:lnTo>
                  <a:pt x="11588115" y="500525"/>
                </a:lnTo>
                <a:lnTo>
                  <a:pt x="11585266" y="496069"/>
                </a:lnTo>
                <a:lnTo>
                  <a:pt x="11582139" y="491855"/>
                </a:lnTo>
                <a:lnTo>
                  <a:pt x="11578743" y="487894"/>
                </a:lnTo>
                <a:lnTo>
                  <a:pt x="11575093" y="484194"/>
                </a:lnTo>
                <a:lnTo>
                  <a:pt x="11571198" y="480765"/>
                </a:lnTo>
                <a:lnTo>
                  <a:pt x="11567072" y="477617"/>
                </a:lnTo>
                <a:lnTo>
                  <a:pt x="11562725" y="474759"/>
                </a:lnTo>
                <a:lnTo>
                  <a:pt x="11558170" y="472202"/>
                </a:lnTo>
                <a:lnTo>
                  <a:pt x="11553419" y="469954"/>
                </a:lnTo>
                <a:lnTo>
                  <a:pt x="11548483" y="468026"/>
                </a:lnTo>
                <a:lnTo>
                  <a:pt x="11543374" y="466426"/>
                </a:lnTo>
                <a:lnTo>
                  <a:pt x="11538104" y="465166"/>
                </a:lnTo>
                <a:lnTo>
                  <a:pt x="11532684" y="464254"/>
                </a:lnTo>
                <a:lnTo>
                  <a:pt x="11527127" y="463699"/>
                </a:lnTo>
                <a:close/>
                <a:moveTo>
                  <a:pt x="11185373" y="461252"/>
                </a:moveTo>
                <a:lnTo>
                  <a:pt x="11178574" y="461590"/>
                </a:lnTo>
                <a:lnTo>
                  <a:pt x="11172185" y="462553"/>
                </a:lnTo>
                <a:lnTo>
                  <a:pt x="11166247" y="464065"/>
                </a:lnTo>
                <a:lnTo>
                  <a:pt x="11160797" y="466053"/>
                </a:lnTo>
                <a:lnTo>
                  <a:pt x="11155875" y="468439"/>
                </a:lnTo>
                <a:lnTo>
                  <a:pt x="11151519" y="471149"/>
                </a:lnTo>
                <a:lnTo>
                  <a:pt x="11147768" y="474108"/>
                </a:lnTo>
                <a:lnTo>
                  <a:pt x="11142240" y="480471"/>
                </a:lnTo>
                <a:lnTo>
                  <a:pt x="11142240" y="469019"/>
                </a:lnTo>
                <a:lnTo>
                  <a:pt x="11141927" y="467421"/>
                </a:lnTo>
                <a:lnTo>
                  <a:pt x="11141075" y="466115"/>
                </a:lnTo>
                <a:lnTo>
                  <a:pt x="11139810" y="465235"/>
                </a:lnTo>
                <a:lnTo>
                  <a:pt x="11138261" y="464912"/>
                </a:lnTo>
                <a:lnTo>
                  <a:pt x="11102790" y="464912"/>
                </a:lnTo>
                <a:lnTo>
                  <a:pt x="11101241" y="465235"/>
                </a:lnTo>
                <a:lnTo>
                  <a:pt x="11099976" y="466115"/>
                </a:lnTo>
                <a:lnTo>
                  <a:pt x="11099124" y="467421"/>
                </a:lnTo>
                <a:lnTo>
                  <a:pt x="11098811" y="469019"/>
                </a:lnTo>
                <a:lnTo>
                  <a:pt x="11098811" y="670386"/>
                </a:lnTo>
                <a:lnTo>
                  <a:pt x="11099124" y="671985"/>
                </a:lnTo>
                <a:lnTo>
                  <a:pt x="11099976" y="673290"/>
                </a:lnTo>
                <a:lnTo>
                  <a:pt x="11101241" y="674170"/>
                </a:lnTo>
                <a:lnTo>
                  <a:pt x="11102790" y="674493"/>
                </a:lnTo>
                <a:lnTo>
                  <a:pt x="11139739" y="674493"/>
                </a:lnTo>
                <a:lnTo>
                  <a:pt x="11141287" y="674170"/>
                </a:lnTo>
                <a:lnTo>
                  <a:pt x="11142551" y="673290"/>
                </a:lnTo>
                <a:lnTo>
                  <a:pt x="11143404" y="671985"/>
                </a:lnTo>
                <a:lnTo>
                  <a:pt x="11143716" y="670386"/>
                </a:lnTo>
                <a:lnTo>
                  <a:pt x="11143716" y="604634"/>
                </a:lnTo>
                <a:lnTo>
                  <a:pt x="11146606" y="607741"/>
                </a:lnTo>
                <a:lnTo>
                  <a:pt x="11150156" y="610620"/>
                </a:lnTo>
                <a:lnTo>
                  <a:pt x="11154337" y="613213"/>
                </a:lnTo>
                <a:lnTo>
                  <a:pt x="11159116" y="615463"/>
                </a:lnTo>
                <a:lnTo>
                  <a:pt x="11164463" y="617313"/>
                </a:lnTo>
                <a:lnTo>
                  <a:pt x="11170347" y="618705"/>
                </a:lnTo>
                <a:lnTo>
                  <a:pt x="11176736" y="619583"/>
                </a:lnTo>
                <a:lnTo>
                  <a:pt x="11183599" y="619888"/>
                </a:lnTo>
                <a:lnTo>
                  <a:pt x="11189122" y="619684"/>
                </a:lnTo>
                <a:lnTo>
                  <a:pt x="11194486" y="619079"/>
                </a:lnTo>
                <a:lnTo>
                  <a:pt x="11199680" y="618084"/>
                </a:lnTo>
                <a:lnTo>
                  <a:pt x="11204696" y="616711"/>
                </a:lnTo>
                <a:lnTo>
                  <a:pt x="11209524" y="614971"/>
                </a:lnTo>
                <a:lnTo>
                  <a:pt x="11214154" y="612876"/>
                </a:lnTo>
                <a:lnTo>
                  <a:pt x="11218577" y="610437"/>
                </a:lnTo>
                <a:lnTo>
                  <a:pt x="11222783" y="607665"/>
                </a:lnTo>
                <a:lnTo>
                  <a:pt x="11226683" y="604634"/>
                </a:lnTo>
                <a:lnTo>
                  <a:pt x="11230508" y="601168"/>
                </a:lnTo>
                <a:lnTo>
                  <a:pt x="11234008" y="597465"/>
                </a:lnTo>
                <a:lnTo>
                  <a:pt x="11237253" y="593475"/>
                </a:lnTo>
                <a:lnTo>
                  <a:pt x="11240234" y="589209"/>
                </a:lnTo>
                <a:lnTo>
                  <a:pt x="11242942" y="584679"/>
                </a:lnTo>
                <a:lnTo>
                  <a:pt x="11245367" y="579895"/>
                </a:lnTo>
                <a:lnTo>
                  <a:pt x="11246001" y="578398"/>
                </a:lnTo>
                <a:lnTo>
                  <a:pt x="11249329" y="569612"/>
                </a:lnTo>
                <a:lnTo>
                  <a:pt x="11250847" y="564136"/>
                </a:lnTo>
                <a:lnTo>
                  <a:pt x="11252048" y="558433"/>
                </a:lnTo>
                <a:lnTo>
                  <a:pt x="11252912" y="552571"/>
                </a:lnTo>
                <a:lnTo>
                  <a:pt x="11253440" y="546505"/>
                </a:lnTo>
                <a:lnTo>
                  <a:pt x="11253618" y="540265"/>
                </a:lnTo>
                <a:lnTo>
                  <a:pt x="11253459" y="534142"/>
                </a:lnTo>
                <a:lnTo>
                  <a:pt x="11252987" y="528179"/>
                </a:lnTo>
                <a:lnTo>
                  <a:pt x="11252206" y="522388"/>
                </a:lnTo>
                <a:lnTo>
                  <a:pt x="11251122" y="516781"/>
                </a:lnTo>
                <a:lnTo>
                  <a:pt x="11249739" y="511370"/>
                </a:lnTo>
                <a:lnTo>
                  <a:pt x="11248062" y="506168"/>
                </a:lnTo>
                <a:lnTo>
                  <a:pt x="11246830" y="503046"/>
                </a:lnTo>
                <a:lnTo>
                  <a:pt x="11246097" y="501187"/>
                </a:lnTo>
                <a:lnTo>
                  <a:pt x="11243848" y="496438"/>
                </a:lnTo>
                <a:lnTo>
                  <a:pt x="11241320" y="491935"/>
                </a:lnTo>
                <a:lnTo>
                  <a:pt x="11238519" y="487689"/>
                </a:lnTo>
                <a:lnTo>
                  <a:pt x="11235449" y="483713"/>
                </a:lnTo>
                <a:lnTo>
                  <a:pt x="11232523" y="480471"/>
                </a:lnTo>
                <a:lnTo>
                  <a:pt x="11228522" y="476617"/>
                </a:lnTo>
                <a:lnTo>
                  <a:pt x="11224676" y="473523"/>
                </a:lnTo>
                <a:lnTo>
                  <a:pt x="11220581" y="470746"/>
                </a:lnTo>
                <a:lnTo>
                  <a:pt x="11216243" y="468301"/>
                </a:lnTo>
                <a:lnTo>
                  <a:pt x="11211665" y="466198"/>
                </a:lnTo>
                <a:lnTo>
                  <a:pt x="11206854" y="464450"/>
                </a:lnTo>
                <a:lnTo>
                  <a:pt x="11201815" y="463069"/>
                </a:lnTo>
                <a:lnTo>
                  <a:pt x="11196551" y="462068"/>
                </a:lnTo>
                <a:lnTo>
                  <a:pt x="11191069" y="461458"/>
                </a:lnTo>
                <a:close/>
                <a:moveTo>
                  <a:pt x="10950365" y="403413"/>
                </a:moveTo>
                <a:lnTo>
                  <a:pt x="10948817" y="403736"/>
                </a:lnTo>
                <a:lnTo>
                  <a:pt x="10947553" y="404616"/>
                </a:lnTo>
                <a:lnTo>
                  <a:pt x="10946701" y="405921"/>
                </a:lnTo>
                <a:lnTo>
                  <a:pt x="10946388" y="407520"/>
                </a:lnTo>
                <a:lnTo>
                  <a:pt x="10946388" y="615599"/>
                </a:lnTo>
                <a:lnTo>
                  <a:pt x="10946701" y="617198"/>
                </a:lnTo>
                <a:lnTo>
                  <a:pt x="10947553" y="618503"/>
                </a:lnTo>
                <a:lnTo>
                  <a:pt x="10948817" y="619383"/>
                </a:lnTo>
                <a:lnTo>
                  <a:pt x="10950365" y="619706"/>
                </a:lnTo>
                <a:lnTo>
                  <a:pt x="11075354" y="619706"/>
                </a:lnTo>
                <a:lnTo>
                  <a:pt x="11076902" y="619383"/>
                </a:lnTo>
                <a:lnTo>
                  <a:pt x="11078166" y="618503"/>
                </a:lnTo>
                <a:lnTo>
                  <a:pt x="11079018" y="617198"/>
                </a:lnTo>
                <a:lnTo>
                  <a:pt x="11079331" y="615599"/>
                </a:lnTo>
                <a:lnTo>
                  <a:pt x="11079331" y="578053"/>
                </a:lnTo>
                <a:lnTo>
                  <a:pt x="11076902" y="574268"/>
                </a:lnTo>
                <a:lnTo>
                  <a:pt x="10997043" y="573946"/>
                </a:lnTo>
                <a:lnTo>
                  <a:pt x="10995495" y="573623"/>
                </a:lnTo>
                <a:lnTo>
                  <a:pt x="10994231" y="572743"/>
                </a:lnTo>
                <a:lnTo>
                  <a:pt x="10993378" y="571437"/>
                </a:lnTo>
                <a:lnTo>
                  <a:pt x="10993065" y="569839"/>
                </a:lnTo>
                <a:lnTo>
                  <a:pt x="10993065" y="536563"/>
                </a:lnTo>
                <a:lnTo>
                  <a:pt x="10993378" y="534965"/>
                </a:lnTo>
                <a:lnTo>
                  <a:pt x="10994231" y="533659"/>
                </a:lnTo>
                <a:lnTo>
                  <a:pt x="10995495" y="532779"/>
                </a:lnTo>
                <a:lnTo>
                  <a:pt x="10997043" y="532456"/>
                </a:lnTo>
                <a:lnTo>
                  <a:pt x="11067080" y="532456"/>
                </a:lnTo>
                <a:lnTo>
                  <a:pt x="11068629" y="532134"/>
                </a:lnTo>
                <a:lnTo>
                  <a:pt x="11069893" y="531254"/>
                </a:lnTo>
                <a:lnTo>
                  <a:pt x="11070746" y="529948"/>
                </a:lnTo>
                <a:lnTo>
                  <a:pt x="11071059" y="528349"/>
                </a:lnTo>
                <a:lnTo>
                  <a:pt x="11071059" y="494159"/>
                </a:lnTo>
                <a:lnTo>
                  <a:pt x="11070746" y="492561"/>
                </a:lnTo>
                <a:lnTo>
                  <a:pt x="11069893" y="491255"/>
                </a:lnTo>
                <a:lnTo>
                  <a:pt x="11068629" y="490375"/>
                </a:lnTo>
                <a:lnTo>
                  <a:pt x="11067080" y="490052"/>
                </a:lnTo>
                <a:lnTo>
                  <a:pt x="10997043" y="490052"/>
                </a:lnTo>
                <a:lnTo>
                  <a:pt x="10995495" y="489730"/>
                </a:lnTo>
                <a:lnTo>
                  <a:pt x="10994231" y="488850"/>
                </a:lnTo>
                <a:lnTo>
                  <a:pt x="10993378" y="487545"/>
                </a:lnTo>
                <a:lnTo>
                  <a:pt x="10993065" y="485945"/>
                </a:lnTo>
                <a:lnTo>
                  <a:pt x="10993065" y="452976"/>
                </a:lnTo>
                <a:lnTo>
                  <a:pt x="10993378" y="451377"/>
                </a:lnTo>
                <a:lnTo>
                  <a:pt x="10994231" y="450072"/>
                </a:lnTo>
                <a:lnTo>
                  <a:pt x="10995495" y="449192"/>
                </a:lnTo>
                <a:lnTo>
                  <a:pt x="10997043" y="448869"/>
                </a:lnTo>
                <a:lnTo>
                  <a:pt x="11075058" y="448869"/>
                </a:lnTo>
                <a:lnTo>
                  <a:pt x="11076606" y="448546"/>
                </a:lnTo>
                <a:lnTo>
                  <a:pt x="11077870" y="447666"/>
                </a:lnTo>
                <a:lnTo>
                  <a:pt x="11078722" y="446361"/>
                </a:lnTo>
                <a:lnTo>
                  <a:pt x="11079035" y="444762"/>
                </a:lnTo>
                <a:lnTo>
                  <a:pt x="11079035" y="407520"/>
                </a:lnTo>
                <a:lnTo>
                  <a:pt x="11078722" y="405921"/>
                </a:lnTo>
                <a:lnTo>
                  <a:pt x="11077870" y="404616"/>
                </a:lnTo>
                <a:lnTo>
                  <a:pt x="11076606" y="403736"/>
                </a:lnTo>
                <a:lnTo>
                  <a:pt x="11075058" y="403413"/>
                </a:lnTo>
                <a:close/>
                <a:moveTo>
                  <a:pt x="11296109" y="394567"/>
                </a:moveTo>
                <a:lnTo>
                  <a:pt x="11290921" y="395120"/>
                </a:lnTo>
                <a:lnTo>
                  <a:pt x="11286065" y="396707"/>
                </a:lnTo>
                <a:lnTo>
                  <a:pt x="11281652" y="399216"/>
                </a:lnTo>
                <a:lnTo>
                  <a:pt x="11277793" y="402537"/>
                </a:lnTo>
                <a:lnTo>
                  <a:pt x="11274599" y="406558"/>
                </a:lnTo>
                <a:lnTo>
                  <a:pt x="11272180" y="411169"/>
                </a:lnTo>
                <a:lnTo>
                  <a:pt x="11270647" y="416260"/>
                </a:lnTo>
                <a:lnTo>
                  <a:pt x="11270112" y="421718"/>
                </a:lnTo>
                <a:lnTo>
                  <a:pt x="11270647" y="427176"/>
                </a:lnTo>
                <a:lnTo>
                  <a:pt x="11272180" y="432267"/>
                </a:lnTo>
                <a:lnTo>
                  <a:pt x="11274599" y="436878"/>
                </a:lnTo>
                <a:lnTo>
                  <a:pt x="11277793" y="440899"/>
                </a:lnTo>
                <a:lnTo>
                  <a:pt x="11281652" y="444220"/>
                </a:lnTo>
                <a:lnTo>
                  <a:pt x="11286065" y="446729"/>
                </a:lnTo>
                <a:lnTo>
                  <a:pt x="11290921" y="448315"/>
                </a:lnTo>
                <a:lnTo>
                  <a:pt x="11296109" y="448869"/>
                </a:lnTo>
                <a:lnTo>
                  <a:pt x="11301493" y="448315"/>
                </a:lnTo>
                <a:lnTo>
                  <a:pt x="11306495" y="446729"/>
                </a:lnTo>
                <a:lnTo>
                  <a:pt x="11311014" y="444220"/>
                </a:lnTo>
                <a:lnTo>
                  <a:pt x="11314943" y="440899"/>
                </a:lnTo>
                <a:lnTo>
                  <a:pt x="11318181" y="436878"/>
                </a:lnTo>
                <a:lnTo>
                  <a:pt x="11320622" y="432267"/>
                </a:lnTo>
                <a:lnTo>
                  <a:pt x="11322162" y="427176"/>
                </a:lnTo>
                <a:lnTo>
                  <a:pt x="11322699" y="421718"/>
                </a:lnTo>
                <a:lnTo>
                  <a:pt x="11322162" y="416260"/>
                </a:lnTo>
                <a:lnTo>
                  <a:pt x="11320622" y="411169"/>
                </a:lnTo>
                <a:lnTo>
                  <a:pt x="11318181" y="406558"/>
                </a:lnTo>
                <a:lnTo>
                  <a:pt x="11314943" y="402537"/>
                </a:lnTo>
                <a:lnTo>
                  <a:pt x="11311014" y="399216"/>
                </a:lnTo>
                <a:lnTo>
                  <a:pt x="11306495" y="396707"/>
                </a:lnTo>
                <a:lnTo>
                  <a:pt x="11301493" y="395120"/>
                </a:lnTo>
                <a:close/>
                <a:moveTo>
                  <a:pt x="10752746" y="360994"/>
                </a:moveTo>
                <a:lnTo>
                  <a:pt x="10747330" y="361736"/>
                </a:lnTo>
                <a:lnTo>
                  <a:pt x="10742199" y="363963"/>
                </a:lnTo>
                <a:lnTo>
                  <a:pt x="10639873" y="426020"/>
                </a:lnTo>
                <a:lnTo>
                  <a:pt x="10635473" y="429574"/>
                </a:lnTo>
                <a:lnTo>
                  <a:pt x="10632154" y="434129"/>
                </a:lnTo>
                <a:lnTo>
                  <a:pt x="10630058" y="439426"/>
                </a:lnTo>
                <a:lnTo>
                  <a:pt x="10629328" y="445206"/>
                </a:lnTo>
                <a:lnTo>
                  <a:pt x="10629328" y="569319"/>
                </a:lnTo>
                <a:lnTo>
                  <a:pt x="10630058" y="575100"/>
                </a:lnTo>
                <a:lnTo>
                  <a:pt x="10632154" y="580397"/>
                </a:lnTo>
                <a:lnTo>
                  <a:pt x="10635473" y="584952"/>
                </a:lnTo>
                <a:lnTo>
                  <a:pt x="10639874" y="588508"/>
                </a:lnTo>
                <a:lnTo>
                  <a:pt x="10742199" y="650564"/>
                </a:lnTo>
                <a:lnTo>
                  <a:pt x="10747330" y="652790"/>
                </a:lnTo>
                <a:lnTo>
                  <a:pt x="10752746" y="653532"/>
                </a:lnTo>
                <a:lnTo>
                  <a:pt x="10758161" y="652790"/>
                </a:lnTo>
                <a:lnTo>
                  <a:pt x="10763292" y="650564"/>
                </a:lnTo>
                <a:lnTo>
                  <a:pt x="10859051" y="592490"/>
                </a:lnTo>
                <a:lnTo>
                  <a:pt x="10865618" y="588508"/>
                </a:lnTo>
                <a:lnTo>
                  <a:pt x="10870019" y="584952"/>
                </a:lnTo>
                <a:lnTo>
                  <a:pt x="10873338" y="580397"/>
                </a:lnTo>
                <a:lnTo>
                  <a:pt x="10875433" y="575100"/>
                </a:lnTo>
                <a:lnTo>
                  <a:pt x="10876163" y="569319"/>
                </a:lnTo>
                <a:lnTo>
                  <a:pt x="10876163" y="517643"/>
                </a:lnTo>
                <a:lnTo>
                  <a:pt x="10752746" y="592490"/>
                </a:lnTo>
                <a:lnTo>
                  <a:pt x="10684110" y="550866"/>
                </a:lnTo>
                <a:lnTo>
                  <a:pt x="10684147" y="465642"/>
                </a:lnTo>
                <a:lnTo>
                  <a:pt x="10747681" y="427089"/>
                </a:lnTo>
                <a:lnTo>
                  <a:pt x="10750143" y="426020"/>
                </a:lnTo>
                <a:lnTo>
                  <a:pt x="10752746" y="425663"/>
                </a:lnTo>
                <a:lnTo>
                  <a:pt x="10755351" y="426020"/>
                </a:lnTo>
                <a:lnTo>
                  <a:pt x="10757817" y="427091"/>
                </a:lnTo>
                <a:lnTo>
                  <a:pt x="10821381" y="465640"/>
                </a:lnTo>
                <a:lnTo>
                  <a:pt x="10761281" y="502088"/>
                </a:lnTo>
                <a:lnTo>
                  <a:pt x="10757129" y="503890"/>
                </a:lnTo>
                <a:lnTo>
                  <a:pt x="10752746" y="504490"/>
                </a:lnTo>
                <a:lnTo>
                  <a:pt x="10748364" y="503889"/>
                </a:lnTo>
                <a:lnTo>
                  <a:pt x="10744212" y="502087"/>
                </a:lnTo>
                <a:lnTo>
                  <a:pt x="10701219" y="476000"/>
                </a:lnTo>
                <a:lnTo>
                  <a:pt x="10701189" y="540465"/>
                </a:lnTo>
                <a:lnTo>
                  <a:pt x="10752746" y="571733"/>
                </a:lnTo>
                <a:lnTo>
                  <a:pt x="10863624" y="504490"/>
                </a:lnTo>
                <a:lnTo>
                  <a:pt x="10876163" y="496886"/>
                </a:lnTo>
                <a:lnTo>
                  <a:pt x="10876163" y="445206"/>
                </a:lnTo>
                <a:lnTo>
                  <a:pt x="10875433" y="439426"/>
                </a:lnTo>
                <a:lnTo>
                  <a:pt x="10873338" y="434129"/>
                </a:lnTo>
                <a:lnTo>
                  <a:pt x="10870019" y="429574"/>
                </a:lnTo>
                <a:lnTo>
                  <a:pt x="10865618" y="426019"/>
                </a:lnTo>
                <a:lnTo>
                  <a:pt x="10865031" y="425663"/>
                </a:lnTo>
                <a:lnTo>
                  <a:pt x="10763292" y="363963"/>
                </a:lnTo>
                <a:lnTo>
                  <a:pt x="10758161" y="361736"/>
                </a:lnTo>
                <a:close/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7" name="Rectangle 6"/>
          <p:cNvSpPr/>
          <p:nvPr/>
        </p:nvSpPr>
        <p:spPr bwMode="gray">
          <a:xfrm>
            <a:off x="1589" y="1554084"/>
            <a:ext cx="12188825" cy="1444783"/>
          </a:xfrm>
          <a:prstGeom prst="rect">
            <a:avLst/>
          </a:prstGeom>
          <a:solidFill>
            <a:srgbClr val="001E32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  <a:spcBef>
                <a:spcPts val="400"/>
              </a:spcBef>
              <a:defRPr/>
            </a:pPr>
            <a:endParaRPr lang="en-US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1312517" y="1879441"/>
            <a:ext cx="3643116" cy="794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ts val="400"/>
              </a:spcBef>
              <a:defRPr/>
            </a:pPr>
            <a:r>
              <a:rPr lang="en-US" sz="4800" b="1">
                <a:solidFill>
                  <a:prstClr val="white"/>
                </a:solidFill>
                <a:latin typeface="Arial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580778533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940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ands within Epiroc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 overview and update</a:t>
            </a:r>
          </a:p>
        </p:txBody>
      </p:sp>
    </p:spTree>
    <p:extLst>
      <p:ext uri="{BB962C8B-B14F-4D97-AF65-F5344CB8AC3E}">
        <p14:creationId xmlns:p14="http://schemas.microsoft.com/office/powerpoint/2010/main" val="484447420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889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41" descr="Ein Bild, das Text enthält.&#10;&#10;Beschreibung automatisch generiert.">
            <a:extLst>
              <a:ext uri="{FF2B5EF4-FFF2-40B4-BE49-F238E27FC236}">
                <a16:creationId xmlns:a16="http://schemas.microsoft.com/office/drawing/2014/main" id="{28115152-EF7E-8C98-2AB3-25D391C69C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337" y="4331665"/>
            <a:ext cx="1784594" cy="515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piroc brand portfolio (owned brands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Accelerate the transformation</a:t>
            </a:r>
          </a:p>
        </p:txBody>
      </p:sp>
      <p:grpSp>
        <p:nvGrpSpPr>
          <p:cNvPr id="67" name="Grupp 66">
            <a:extLst>
              <a:ext uri="{FF2B5EF4-FFF2-40B4-BE49-F238E27FC236}">
                <a16:creationId xmlns:a16="http://schemas.microsoft.com/office/drawing/2014/main" id="{72A28C4F-D566-8A44-96DF-970044B95F33}"/>
              </a:ext>
            </a:extLst>
          </p:cNvPr>
          <p:cNvGrpSpPr/>
          <p:nvPr/>
        </p:nvGrpSpPr>
        <p:grpSpPr>
          <a:xfrm>
            <a:off x="8182396" y="1564498"/>
            <a:ext cx="3554274" cy="4121320"/>
            <a:chOff x="8089774" y="1730846"/>
            <a:chExt cx="3554274" cy="412132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12584FD6-5A0F-8A4D-9021-A543FCA6AA08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089774" y="1730846"/>
              <a:ext cx="0" cy="412132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0" name="Bildobjekt 59">
              <a:extLst>
                <a:ext uri="{FF2B5EF4-FFF2-40B4-BE49-F238E27FC236}">
                  <a16:creationId xmlns:a16="http://schemas.microsoft.com/office/drawing/2014/main" id="{0003CFCB-D4A8-D54D-8D18-8A46554C66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85152" y="2460196"/>
              <a:ext cx="3458896" cy="3363657"/>
            </a:xfrm>
            <a:prstGeom prst="rect">
              <a:avLst/>
            </a:prstGeom>
          </p:spPr>
        </p:pic>
        <p:pic>
          <p:nvPicPr>
            <p:cNvPr id="61" name="Picture 5">
              <a:extLst>
                <a:ext uri="{FF2B5EF4-FFF2-40B4-BE49-F238E27FC236}">
                  <a16:creationId xmlns:a16="http://schemas.microsoft.com/office/drawing/2014/main" id="{ADE888A3-BA31-AC40-94B2-5B794CBCED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30420" y="3101486"/>
              <a:ext cx="2418252" cy="655027"/>
            </a:xfrm>
            <a:prstGeom prst="rect">
              <a:avLst/>
            </a:prstGeom>
          </p:spPr>
        </p:pic>
        <p:sp>
          <p:nvSpPr>
            <p:cNvPr id="64" name="TextBox 28">
              <a:extLst>
                <a:ext uri="{FF2B5EF4-FFF2-40B4-BE49-F238E27FC236}">
                  <a16:creationId xmlns:a16="http://schemas.microsoft.com/office/drawing/2014/main" id="{D501D6B5-DE7B-3442-AB42-D413F293E866}"/>
                </a:ext>
              </a:extLst>
            </p:cNvPr>
            <p:cNvSpPr txBox="1"/>
            <p:nvPr/>
          </p:nvSpPr>
          <p:spPr bwMode="gray">
            <a:xfrm>
              <a:off x="8262575" y="1764365"/>
              <a:ext cx="2841759" cy="552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Epiroc brand</a:t>
              </a:r>
            </a:p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>
                  <a:solidFill>
                    <a:srgbClr val="425563"/>
                  </a:solidFill>
                  <a:latin typeface="Arial"/>
                </a:rPr>
                <a:t>(Master brand)</a:t>
              </a:r>
            </a:p>
          </p:txBody>
        </p:sp>
      </p:grpSp>
      <p:pic>
        <p:nvPicPr>
          <p:cNvPr id="1026" name="Picture 2" descr="MICA-FVT - CEMI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38541" y="11032917"/>
            <a:ext cx="222009" cy="72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5E843DB-D352-6D7F-8095-EA9D24D7FE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51219" y="5539351"/>
            <a:ext cx="745807" cy="246688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1095A484-2B4A-6795-DF69-C8346BFF20C6}"/>
              </a:ext>
            </a:extLst>
          </p:cNvPr>
          <p:cNvGrpSpPr/>
          <p:nvPr/>
        </p:nvGrpSpPr>
        <p:grpSpPr>
          <a:xfrm>
            <a:off x="4155943" y="1503786"/>
            <a:ext cx="3801520" cy="4121320"/>
            <a:chOff x="4004746" y="1396227"/>
            <a:chExt cx="3801520" cy="412132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6414" y="2091709"/>
              <a:ext cx="945931" cy="552972"/>
            </a:xfrm>
            <a:prstGeom prst="rect">
              <a:avLst/>
            </a:prstGeom>
          </p:spPr>
        </p:pic>
        <p:cxnSp>
          <p:nvCxnSpPr>
            <p:cNvPr id="50" name="Straight Connector 39">
              <a:extLst>
                <a:ext uri="{FF2B5EF4-FFF2-40B4-BE49-F238E27FC236}">
                  <a16:creationId xmlns:a16="http://schemas.microsoft.com/office/drawing/2014/main" id="{F5BE87E8-9E4D-DC41-8DAD-963764867CFE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004746" y="1396227"/>
              <a:ext cx="0" cy="412132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37">
              <a:extLst>
                <a:ext uri="{FF2B5EF4-FFF2-40B4-BE49-F238E27FC236}">
                  <a16:creationId xmlns:a16="http://schemas.microsoft.com/office/drawing/2014/main" id="{0524BA5A-CAD3-E74B-A35F-679B47CAF793}"/>
                </a:ext>
              </a:extLst>
            </p:cNvPr>
            <p:cNvSpPr txBox="1"/>
            <p:nvPr/>
          </p:nvSpPr>
          <p:spPr bwMode="gray">
            <a:xfrm>
              <a:off x="4155381" y="1416016"/>
              <a:ext cx="2919682" cy="552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Associated brands </a:t>
              </a:r>
            </a:p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>
                  <a:solidFill>
                    <a:srgbClr val="425563"/>
                  </a:solidFill>
                  <a:latin typeface="Arial"/>
                </a:rPr>
                <a:t>(in transit to become Epiroc brand)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F8516D5-B72F-36F6-C7E3-3BE2964E8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78885" y="2169370"/>
              <a:ext cx="1365380" cy="334681"/>
            </a:xfrm>
            <a:prstGeom prst="rect">
              <a:avLst/>
            </a:prstGeom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5AA790B-DE65-6378-0337-DE8092BB4A30}"/>
                </a:ext>
              </a:extLst>
            </p:cNvPr>
            <p:cNvGrpSpPr/>
            <p:nvPr/>
          </p:nvGrpSpPr>
          <p:grpSpPr>
            <a:xfrm>
              <a:off x="4040312" y="4018131"/>
              <a:ext cx="1658918" cy="552972"/>
              <a:chOff x="4165402" y="4374428"/>
              <a:chExt cx="1795760" cy="598586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58694D4D-85D9-89A9-827B-F34FE22CA6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165402" y="4374428"/>
                <a:ext cx="1795760" cy="598586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0621C0C9-FE34-7356-5ABB-A8056E0DD9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951583" y="4422426"/>
                <a:ext cx="871713" cy="119896"/>
              </a:xfrm>
              <a:prstGeom prst="rect">
                <a:avLst/>
              </a:prstGeom>
            </p:spPr>
          </p:pic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BF87C8D-029F-99DC-9517-6335C7727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187991" y="3506983"/>
              <a:ext cx="1143304" cy="485865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B8A1B7C-15B3-2EC7-4F96-6C064C4DF23D}"/>
                </a:ext>
              </a:extLst>
            </p:cNvPr>
            <p:cNvGrpSpPr/>
            <p:nvPr/>
          </p:nvGrpSpPr>
          <p:grpSpPr>
            <a:xfrm>
              <a:off x="4241248" y="2878637"/>
              <a:ext cx="1182658" cy="436533"/>
              <a:chOff x="4432836" y="3226986"/>
              <a:chExt cx="1182658" cy="436533"/>
            </a:xfrm>
          </p:grpSpPr>
          <p:pic>
            <p:nvPicPr>
              <p:cNvPr id="19" name="Image 2">
                <a:extLst>
                  <a:ext uri="{FF2B5EF4-FFF2-40B4-BE49-F238E27FC236}">
                    <a16:creationId xmlns:a16="http://schemas.microsoft.com/office/drawing/2014/main" id="{836C4BD1-B824-7BA2-06B7-5B0EB9E2C2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32836" y="3226986"/>
                <a:ext cx="1167492" cy="287710"/>
              </a:xfrm>
              <a:prstGeom prst="rect">
                <a:avLst/>
              </a:prstGeom>
            </p:spPr>
          </p:pic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75992B30-7CA1-BEED-703A-EE23E1523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768552" y="3547030"/>
                <a:ext cx="846942" cy="116489"/>
              </a:xfrm>
              <a:prstGeom prst="rect">
                <a:avLst/>
              </a:prstGeom>
            </p:spPr>
          </p:pic>
        </p:grp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2AFC617-C998-E4D5-4A7F-FBA5E8996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4539" y="3464424"/>
              <a:ext cx="1696428" cy="343246"/>
            </a:xfrm>
            <a:prstGeom prst="rect">
              <a:avLst/>
            </a:prstGeom>
          </p:spPr>
        </p:pic>
        <p:pic>
          <p:nvPicPr>
            <p:cNvPr id="35" name="Grafik 4">
              <a:extLst>
                <a:ext uri="{FF2B5EF4-FFF2-40B4-BE49-F238E27FC236}">
                  <a16:creationId xmlns:a16="http://schemas.microsoft.com/office/drawing/2014/main" id="{72502CD3-6A0B-4279-20D3-47CB9CA760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4124" y="3851883"/>
              <a:ext cx="1432142" cy="418868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65FE44-E134-FDE3-E3A9-BF344AD9F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68980" y="4238800"/>
              <a:ext cx="776481" cy="10679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EEC3096-1ADD-A006-247E-70A1AEEFA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466567" y="2599522"/>
              <a:ext cx="1055357" cy="387057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/>
        </p:nvSpPr>
        <p:spPr>
          <a:xfrm>
            <a:off x="640097" y="3894933"/>
            <a:ext cx="2521844" cy="2970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en-US" sz="1400" b="1">
                <a:solidFill>
                  <a:srgbClr val="FFC72C"/>
                </a:solidFill>
                <a:latin typeface="Arial"/>
              </a:rPr>
              <a:t>Brands to serve mixed fleet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86" y="4344889"/>
            <a:ext cx="1041689" cy="36589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668085" y="2285724"/>
            <a:ext cx="3094117" cy="2970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en-US" sz="1400" b="1">
                <a:solidFill>
                  <a:srgbClr val="FFC72C"/>
                </a:solidFill>
                <a:latin typeface="Arial"/>
              </a:rPr>
              <a:t>Non-compatible brand positioning</a:t>
            </a:r>
          </a:p>
        </p:txBody>
      </p:sp>
      <p:pic>
        <p:nvPicPr>
          <p:cNvPr id="17" name="Picture 16" descr="Screen Clippi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097" y="2741437"/>
            <a:ext cx="1201864" cy="487616"/>
          </a:xfrm>
          <a:prstGeom prst="rect">
            <a:avLst/>
          </a:prstGeom>
        </p:spPr>
      </p:pic>
      <p:sp>
        <p:nvSpPr>
          <p:cNvPr id="63" name="TextBox 38">
            <a:extLst>
              <a:ext uri="{FF2B5EF4-FFF2-40B4-BE49-F238E27FC236}">
                <a16:creationId xmlns:a16="http://schemas.microsoft.com/office/drawing/2014/main" id="{1606C24D-0694-0945-9CBE-E93B095FD6A5}"/>
              </a:ext>
            </a:extLst>
          </p:cNvPr>
          <p:cNvSpPr txBox="1"/>
          <p:nvPr/>
        </p:nvSpPr>
        <p:spPr bwMode="gray">
          <a:xfrm>
            <a:off x="536300" y="1598018"/>
            <a:ext cx="3780214" cy="552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en-US" sz="1600" b="1">
                <a:solidFill>
                  <a:srgbClr val="425563"/>
                </a:solidFill>
                <a:latin typeface="Arial"/>
              </a:rPr>
              <a:t>Unassociated brands </a:t>
            </a:r>
          </a:p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en-US" sz="1200">
                <a:solidFill>
                  <a:srgbClr val="425563"/>
                </a:solidFill>
                <a:latin typeface="Arial"/>
              </a:rPr>
              <a:t>(No strategic fit with Epiroc brand positioning)</a:t>
            </a:r>
          </a:p>
        </p:txBody>
      </p:sp>
      <p:pic>
        <p:nvPicPr>
          <p:cNvPr id="6" name="Picture 16">
            <a:extLst>
              <a:ext uri="{FF2B5EF4-FFF2-40B4-BE49-F238E27FC236}">
                <a16:creationId xmlns:a16="http://schemas.microsoft.com/office/drawing/2014/main" id="{8ADCC8BC-BB25-926B-2C30-987B8EA4A7D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3122" y="2761851"/>
            <a:ext cx="557779" cy="45289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83A7E21-807C-8629-ACC5-82501775282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935899" y="4159222"/>
            <a:ext cx="1278672" cy="71351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2D28872-EE43-2395-6BD5-4376146415C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9951" y="4872124"/>
            <a:ext cx="1233196" cy="3890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FECC6AC-30B0-8E94-872B-F19A5050920F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359348" y="3305597"/>
            <a:ext cx="469214" cy="51172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2E7BC43-BDDC-E95E-34AE-C2F446923D5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7165" t="16275" r="18656" b="13641"/>
          <a:stretch/>
        </p:blipFill>
        <p:spPr>
          <a:xfrm>
            <a:off x="2062147" y="4908429"/>
            <a:ext cx="879808" cy="457194"/>
          </a:xfrm>
          <a:prstGeom prst="rect">
            <a:avLst/>
          </a:prstGeom>
        </p:spPr>
      </p:pic>
      <p:pic>
        <p:nvPicPr>
          <p:cNvPr id="45" name="Picture 2" descr="http://liftonbreakers.com/img/logo.gif">
            <a:extLst>
              <a:ext uri="{FF2B5EF4-FFF2-40B4-BE49-F238E27FC236}">
                <a16:creationId xmlns:a16="http://schemas.microsoft.com/office/drawing/2014/main" id="{E2524510-1DE4-3B2C-39A2-DF692E816B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7819" y="2790813"/>
            <a:ext cx="682270" cy="38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 descr="A black and white sign&#10;&#10;Description automatically generated with low confidence">
            <a:extLst>
              <a:ext uri="{FF2B5EF4-FFF2-40B4-BE49-F238E27FC236}">
                <a16:creationId xmlns:a16="http://schemas.microsoft.com/office/drawing/2014/main" id="{A82D9D50-B633-8B98-F1F1-713505B4681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057550" y="3388767"/>
            <a:ext cx="1359032" cy="34072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974F5AC-535E-04AD-5D2A-5046E0B04BE0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l="35614" t="1408" r="33866" b="85349"/>
          <a:stretch/>
        </p:blipFill>
        <p:spPr>
          <a:xfrm>
            <a:off x="2158228" y="5634095"/>
            <a:ext cx="1492384" cy="249866"/>
          </a:xfrm>
          <a:prstGeom prst="rect">
            <a:avLst/>
          </a:prstGeom>
        </p:spPr>
      </p:pic>
      <p:pic>
        <p:nvPicPr>
          <p:cNvPr id="8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86732661-7678-0EE0-D4B0-579B0959761A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692206" y="2985458"/>
            <a:ext cx="1268597" cy="560531"/>
          </a:xfrm>
          <a:prstGeom prst="rect">
            <a:avLst/>
          </a:prstGeom>
        </p:spPr>
      </p:pic>
      <p:pic>
        <p:nvPicPr>
          <p:cNvPr id="25" name="Picture 28" descr="Logo&#10;&#10;Description automatically generated">
            <a:extLst>
              <a:ext uri="{FF2B5EF4-FFF2-40B4-BE49-F238E27FC236}">
                <a16:creationId xmlns:a16="http://schemas.microsoft.com/office/drawing/2014/main" id="{49714C50-4DC6-ABDB-5C7B-026959434BC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66860" y="5629262"/>
            <a:ext cx="1499527" cy="344136"/>
          </a:xfrm>
          <a:prstGeom prst="rect">
            <a:avLst/>
          </a:prstGeom>
        </p:spPr>
      </p:pic>
      <p:pic>
        <p:nvPicPr>
          <p:cNvPr id="29" name="Picture 37" descr="Logo, company name&#10;&#10;Description automatically generated">
            <a:extLst>
              <a:ext uri="{FF2B5EF4-FFF2-40B4-BE49-F238E27FC236}">
                <a16:creationId xmlns:a16="http://schemas.microsoft.com/office/drawing/2014/main" id="{58BD6EA9-F086-BB0D-910B-7A28F2FEF25B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761878" y="5435461"/>
            <a:ext cx="806630" cy="454468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99C7E9C7-4252-A201-18FA-826E0EAE07B0}"/>
              </a:ext>
            </a:extLst>
          </p:cNvPr>
          <p:cNvSpPr/>
          <p:nvPr/>
        </p:nvSpPr>
        <p:spPr>
          <a:xfrm>
            <a:off x="637305" y="5341781"/>
            <a:ext cx="989373" cy="297004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en-US" sz="1400" b="1">
                <a:solidFill>
                  <a:srgbClr val="FFC72C"/>
                </a:solidFill>
                <a:latin typeface="Arial"/>
              </a:rPr>
              <a:t>Channels</a:t>
            </a:r>
          </a:p>
        </p:txBody>
      </p:sp>
      <p:pic>
        <p:nvPicPr>
          <p:cNvPr id="4098" name="Picture 2" descr="Schramm Powered by Epiroc">
            <a:extLst>
              <a:ext uri="{FF2B5EF4-FFF2-40B4-BE49-F238E27FC236}">
                <a16:creationId xmlns:a16="http://schemas.microsoft.com/office/drawing/2014/main" id="{122CDBCF-73F6-7552-0824-F687A45B75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8659" y="4864031"/>
            <a:ext cx="760695" cy="381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6">
            <a:extLst>
              <a:ext uri="{FF2B5EF4-FFF2-40B4-BE49-F238E27FC236}">
                <a16:creationId xmlns:a16="http://schemas.microsoft.com/office/drawing/2014/main" id="{0AB69994-5AE2-BD40-FD8A-EA326FF72816}"/>
              </a:ext>
            </a:extLst>
          </p:cNvPr>
          <p:cNvSpPr txBox="1"/>
          <p:nvPr/>
        </p:nvSpPr>
        <p:spPr bwMode="gray">
          <a:xfrm>
            <a:off x="4317025" y="5520538"/>
            <a:ext cx="1566383" cy="26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sv-SE" sz="1200">
                <a:solidFill>
                  <a:srgbClr val="425563"/>
                </a:solidFill>
                <a:latin typeface="Arial"/>
              </a:rPr>
              <a:t>Not yet PbE</a:t>
            </a:r>
          </a:p>
        </p:txBody>
      </p:sp>
      <p:pic>
        <p:nvPicPr>
          <p:cNvPr id="4100" name="Picture 4" descr="3D-P Intelligent Connectivity – For Heavy Industry">
            <a:extLst>
              <a:ext uri="{FF2B5EF4-FFF2-40B4-BE49-F238E27FC236}">
                <a16:creationId xmlns:a16="http://schemas.microsoft.com/office/drawing/2014/main" id="{FACFDA31-2884-2C5E-85C5-D79C5B531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5827" y="4986034"/>
            <a:ext cx="976960" cy="210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Aard Powered by Epiroc">
            <a:extLst>
              <a:ext uri="{FF2B5EF4-FFF2-40B4-BE49-F238E27FC236}">
                <a16:creationId xmlns:a16="http://schemas.microsoft.com/office/drawing/2014/main" id="{985D541F-25AE-7158-7B56-87F7B0B79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152" y="4941377"/>
            <a:ext cx="1045011" cy="27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243B8D15-FB7C-7817-3F02-66BF96F7D50C}"/>
              </a:ext>
            </a:extLst>
          </p:cNvPr>
          <p:cNvSpPr/>
          <p:nvPr/>
        </p:nvSpPr>
        <p:spPr bwMode="gray">
          <a:xfrm>
            <a:off x="4260771" y="5392378"/>
            <a:ext cx="3838212" cy="489277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endParaRPr lang="sv-SE" sz="1600" err="1">
              <a:solidFill>
                <a:prstClr val="white"/>
              </a:solidFill>
              <a:latin typeface="Arial"/>
            </a:endParaRPr>
          </a:p>
        </p:txBody>
      </p:sp>
      <p:pic>
        <p:nvPicPr>
          <p:cNvPr id="4104" name="Picture 8" descr="RCT">
            <a:extLst>
              <a:ext uri="{FF2B5EF4-FFF2-40B4-BE49-F238E27FC236}">
                <a16:creationId xmlns:a16="http://schemas.microsoft.com/office/drawing/2014/main" id="{9DF62FE7-9EFA-C361-1FE6-4E22E0440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875" y="4876329"/>
            <a:ext cx="427423" cy="427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614151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piroc brand strateg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Building the power of Epiroc</a:t>
            </a:r>
          </a:p>
        </p:txBody>
      </p:sp>
      <p:grpSp>
        <p:nvGrpSpPr>
          <p:cNvPr id="22" name="Grupp 21">
            <a:extLst>
              <a:ext uri="{FF2B5EF4-FFF2-40B4-BE49-F238E27FC236}">
                <a16:creationId xmlns:a16="http://schemas.microsoft.com/office/drawing/2014/main" id="{C7661A8E-B822-C64D-8F8C-11793B982C41}"/>
              </a:ext>
            </a:extLst>
          </p:cNvPr>
          <p:cNvGrpSpPr/>
          <p:nvPr/>
        </p:nvGrpSpPr>
        <p:grpSpPr>
          <a:xfrm>
            <a:off x="8081286" y="1740154"/>
            <a:ext cx="3564350" cy="4413311"/>
            <a:chOff x="8079698" y="1740153"/>
            <a:chExt cx="3564350" cy="4413311"/>
          </a:xfrm>
        </p:grpSpPr>
        <p:pic>
          <p:nvPicPr>
            <p:cNvPr id="20" name="Bildobjekt 19">
              <a:extLst>
                <a:ext uri="{FF2B5EF4-FFF2-40B4-BE49-F238E27FC236}">
                  <a16:creationId xmlns:a16="http://schemas.microsoft.com/office/drawing/2014/main" id="{ABD7DDB9-6339-C04A-BB6D-0E87AE7BF9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79698" y="2460196"/>
              <a:ext cx="3564350" cy="3693268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 bwMode="gray">
            <a:xfrm>
              <a:off x="8285743" y="1740153"/>
              <a:ext cx="2841759" cy="552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3. Strong Epiroc brand</a:t>
              </a:r>
            </a:p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>
                  <a:solidFill>
                    <a:srgbClr val="425563"/>
                  </a:solidFill>
                  <a:latin typeface="Arial"/>
                </a:rPr>
                <a:t>(end goal)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44E0E36-D8D1-BF40-A038-B0CB958AAF18}"/>
                </a:ext>
              </a:extLst>
            </p:cNvPr>
            <p:cNvSpPr txBox="1"/>
            <p:nvPr/>
          </p:nvSpPr>
          <p:spPr bwMode="gray">
            <a:xfrm>
              <a:off x="8443102" y="4930146"/>
              <a:ext cx="3074387" cy="355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b="1" i="1">
                  <a:solidFill>
                    <a:srgbClr val="425563"/>
                  </a:solidFill>
                  <a:latin typeface="Arial"/>
                </a:rPr>
                <a:t>As attractive as possible</a:t>
              </a:r>
            </a:p>
          </p:txBody>
        </p:sp>
        <p:pic>
          <p:nvPicPr>
            <p:cNvPr id="21" name="Picture 5">
              <a:extLst>
                <a:ext uri="{FF2B5EF4-FFF2-40B4-BE49-F238E27FC236}">
                  <a16:creationId xmlns:a16="http://schemas.microsoft.com/office/drawing/2014/main" id="{E20805AE-F898-FE4F-9964-D8D28B189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75774" y="3811763"/>
              <a:ext cx="2418252" cy="655027"/>
            </a:xfrm>
            <a:prstGeom prst="rect">
              <a:avLst/>
            </a:prstGeom>
          </p:spPr>
        </p:pic>
      </p:grpSp>
      <p:grpSp>
        <p:nvGrpSpPr>
          <p:cNvPr id="18" name="Grupp 17">
            <a:extLst>
              <a:ext uri="{FF2B5EF4-FFF2-40B4-BE49-F238E27FC236}">
                <a16:creationId xmlns:a16="http://schemas.microsoft.com/office/drawing/2014/main" id="{FCC18302-18A8-9B40-BC31-825B3316CBF3}"/>
              </a:ext>
            </a:extLst>
          </p:cNvPr>
          <p:cNvGrpSpPr/>
          <p:nvPr/>
        </p:nvGrpSpPr>
        <p:grpSpPr>
          <a:xfrm>
            <a:off x="516851" y="1740154"/>
            <a:ext cx="3798353" cy="4413311"/>
            <a:chOff x="515261" y="1740153"/>
            <a:chExt cx="3798353" cy="4413311"/>
          </a:xfrm>
        </p:grpSpPr>
        <p:pic>
          <p:nvPicPr>
            <p:cNvPr id="25" name="Bildobjekt 24">
              <a:extLst>
                <a:ext uri="{FF2B5EF4-FFF2-40B4-BE49-F238E27FC236}">
                  <a16:creationId xmlns:a16="http://schemas.microsoft.com/office/drawing/2014/main" id="{A6BCACC8-4B6D-B54F-BDBD-B749A920E2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6846" b="12764"/>
            <a:stretch/>
          </p:blipFill>
          <p:spPr>
            <a:xfrm>
              <a:off x="671336" y="2460196"/>
              <a:ext cx="3642278" cy="3693268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C18BF40-B4D0-AD4D-8C61-21C21D799CEA}"/>
                </a:ext>
              </a:extLst>
            </p:cNvPr>
            <p:cNvSpPr txBox="1"/>
            <p:nvPr/>
          </p:nvSpPr>
          <p:spPr bwMode="gray">
            <a:xfrm>
              <a:off x="515261" y="1740153"/>
              <a:ext cx="3524588" cy="552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1. Unassociated brands </a:t>
              </a:r>
            </a:p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>
                  <a:solidFill>
                    <a:srgbClr val="425563"/>
                  </a:solidFill>
                  <a:latin typeface="Arial"/>
                </a:rPr>
                <a:t>(Non-strategic Epiroc brand fit)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E9DEDD2-F29B-274E-8866-53BE5538EA61}"/>
                </a:ext>
              </a:extLst>
            </p:cNvPr>
            <p:cNvSpPr txBox="1"/>
            <p:nvPr/>
          </p:nvSpPr>
          <p:spPr bwMode="gray">
            <a:xfrm>
              <a:off x="788638" y="4925315"/>
              <a:ext cx="3080892" cy="3554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b="1" i="1">
                  <a:solidFill>
                    <a:srgbClr val="425563"/>
                  </a:solidFill>
                  <a:latin typeface="Arial"/>
                </a:rPr>
                <a:t>As few as possible</a:t>
              </a:r>
            </a:p>
          </p:txBody>
        </p:sp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1A6CE774-098F-ED46-801A-554B326879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74681" y="3565825"/>
              <a:ext cx="883509" cy="973646"/>
            </a:xfrm>
            <a:prstGeom prst="rect">
              <a:avLst/>
            </a:prstGeom>
          </p:spPr>
        </p:pic>
      </p:grpSp>
      <p:grpSp>
        <p:nvGrpSpPr>
          <p:cNvPr id="19" name="Grupp 18">
            <a:extLst>
              <a:ext uri="{FF2B5EF4-FFF2-40B4-BE49-F238E27FC236}">
                <a16:creationId xmlns:a16="http://schemas.microsoft.com/office/drawing/2014/main" id="{30E4BACE-5ACC-1041-8C0A-0193740F586F}"/>
              </a:ext>
            </a:extLst>
          </p:cNvPr>
          <p:cNvGrpSpPr/>
          <p:nvPr/>
        </p:nvGrpSpPr>
        <p:grpSpPr>
          <a:xfrm>
            <a:off x="4301072" y="1740154"/>
            <a:ext cx="3780214" cy="4413311"/>
            <a:chOff x="4299484" y="1740153"/>
            <a:chExt cx="3780214" cy="4413311"/>
          </a:xfrm>
        </p:grpSpPr>
        <p:pic>
          <p:nvPicPr>
            <p:cNvPr id="26" name="Bildobjekt 25">
              <a:extLst>
                <a:ext uri="{FF2B5EF4-FFF2-40B4-BE49-F238E27FC236}">
                  <a16:creationId xmlns:a16="http://schemas.microsoft.com/office/drawing/2014/main" id="{3BC73D51-22E8-564E-BD79-6EF616557E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2905" r="32685" b="12764"/>
            <a:stretch/>
          </p:blipFill>
          <p:spPr>
            <a:xfrm>
              <a:off x="4299484" y="2460196"/>
              <a:ext cx="3780214" cy="3693268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6FD350F-E00E-0D45-B76D-0330D1B369EE}"/>
                </a:ext>
              </a:extLst>
            </p:cNvPr>
            <p:cNvSpPr txBox="1"/>
            <p:nvPr/>
          </p:nvSpPr>
          <p:spPr bwMode="gray">
            <a:xfrm>
              <a:off x="4468959" y="1740153"/>
              <a:ext cx="2919682" cy="552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2. Associated brands </a:t>
              </a:r>
            </a:p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>
                  <a:solidFill>
                    <a:srgbClr val="425563"/>
                  </a:solidFill>
                  <a:latin typeface="Arial"/>
                </a:rPr>
                <a:t>(in transit to become Epiroc brand)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9F082BC-47E4-6848-9340-54A67AA6775B}"/>
                </a:ext>
              </a:extLst>
            </p:cNvPr>
            <p:cNvSpPr txBox="1"/>
            <p:nvPr/>
          </p:nvSpPr>
          <p:spPr bwMode="gray">
            <a:xfrm>
              <a:off x="4677018" y="4925315"/>
              <a:ext cx="2980303" cy="3554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b="1" i="1">
                  <a:solidFill>
                    <a:srgbClr val="EBE8E5"/>
                  </a:solidFill>
                  <a:latin typeface="Arial"/>
                </a:rPr>
                <a:t>As short time as possible</a:t>
              </a:r>
            </a:p>
          </p:txBody>
        </p:sp>
        <p:pic>
          <p:nvPicPr>
            <p:cNvPr id="24" name="Bildobjekt 23">
              <a:extLst>
                <a:ext uri="{FF2B5EF4-FFF2-40B4-BE49-F238E27FC236}">
                  <a16:creationId xmlns:a16="http://schemas.microsoft.com/office/drawing/2014/main" id="{893C6967-F965-824C-967D-CA61C32EED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059"/>
            <a:stretch/>
          </p:blipFill>
          <p:spPr>
            <a:xfrm>
              <a:off x="5697173" y="3565825"/>
              <a:ext cx="883509" cy="973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5647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and integration proces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</a:rPr>
              <a:t>Creating a stronger Epiroc brand</a:t>
            </a: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90730CF1-8584-874F-A17E-41BA5BC63B2F}"/>
              </a:ext>
            </a:extLst>
          </p:cNvPr>
          <p:cNvGrpSpPr/>
          <p:nvPr/>
        </p:nvGrpSpPr>
        <p:grpSpPr>
          <a:xfrm>
            <a:off x="2620458" y="3429001"/>
            <a:ext cx="1648323" cy="1848742"/>
            <a:chOff x="3193957" y="3429000"/>
            <a:chExt cx="1648323" cy="1848742"/>
          </a:xfrm>
        </p:grpSpPr>
        <p:pic>
          <p:nvPicPr>
            <p:cNvPr id="39" name="Bildobjekt 38">
              <a:extLst>
                <a:ext uri="{FF2B5EF4-FFF2-40B4-BE49-F238E27FC236}">
                  <a16:creationId xmlns:a16="http://schemas.microsoft.com/office/drawing/2014/main" id="{3786BA2E-96C0-6E4F-B7F6-9130AC153D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93957" y="3429000"/>
              <a:ext cx="1648323" cy="1848742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759AE7B-7A2D-D141-A3C6-F563627A3AA1}"/>
                </a:ext>
              </a:extLst>
            </p:cNvPr>
            <p:cNvSpPr txBox="1"/>
            <p:nvPr/>
          </p:nvSpPr>
          <p:spPr bwMode="gray">
            <a:xfrm>
              <a:off x="3214241" y="4047945"/>
              <a:ext cx="1545825" cy="6186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 b="1">
                  <a:solidFill>
                    <a:srgbClr val="425563"/>
                  </a:solidFill>
                  <a:latin typeface="Arial"/>
                </a:rPr>
                <a:t>Strategic fit </a:t>
              </a:r>
              <a:br>
                <a:rPr lang="en-US" sz="1200" b="1">
                  <a:solidFill>
                    <a:srgbClr val="425563"/>
                  </a:solidFill>
                  <a:latin typeface="Arial"/>
                </a:rPr>
              </a:br>
              <a:r>
                <a:rPr lang="en-US" sz="1200">
                  <a:solidFill>
                    <a:srgbClr val="425563"/>
                  </a:solidFill>
                  <a:latin typeface="Arial"/>
                </a:rPr>
                <a:t>with the </a:t>
              </a:r>
              <a:br>
                <a:rPr lang="en-US" sz="1200">
                  <a:solidFill>
                    <a:srgbClr val="425563"/>
                  </a:solidFill>
                  <a:latin typeface="Arial"/>
                </a:rPr>
              </a:br>
              <a:r>
                <a:rPr lang="en-US" sz="1200">
                  <a:solidFill>
                    <a:srgbClr val="425563"/>
                  </a:solidFill>
                  <a:latin typeface="Arial"/>
                </a:rPr>
                <a:t>Epiroc brand?</a:t>
              </a:r>
              <a:endParaRPr lang="en-US" sz="1200" b="1">
                <a:solidFill>
                  <a:srgbClr val="425563"/>
                </a:solidFill>
                <a:latin typeface="Arial"/>
              </a:endParaRPr>
            </a:p>
          </p:txBody>
        </p:sp>
      </p:grpSp>
      <p:grpSp>
        <p:nvGrpSpPr>
          <p:cNvPr id="14" name="Grupp 13">
            <a:extLst>
              <a:ext uri="{FF2B5EF4-FFF2-40B4-BE49-F238E27FC236}">
                <a16:creationId xmlns:a16="http://schemas.microsoft.com/office/drawing/2014/main" id="{2FD929DE-3139-0C46-896E-3C963315C458}"/>
              </a:ext>
            </a:extLst>
          </p:cNvPr>
          <p:cNvGrpSpPr/>
          <p:nvPr/>
        </p:nvGrpSpPr>
        <p:grpSpPr>
          <a:xfrm>
            <a:off x="2923091" y="1754396"/>
            <a:ext cx="2926695" cy="1842617"/>
            <a:chOff x="3496589" y="1754394"/>
            <a:chExt cx="2926695" cy="1842617"/>
          </a:xfrm>
        </p:grpSpPr>
        <p:pic>
          <p:nvPicPr>
            <p:cNvPr id="42" name="Bildobjekt 41">
              <a:extLst>
                <a:ext uri="{FF2B5EF4-FFF2-40B4-BE49-F238E27FC236}">
                  <a16:creationId xmlns:a16="http://schemas.microsoft.com/office/drawing/2014/main" id="{F9A1FC39-5E03-514B-8098-BBA8BEC0F4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058"/>
            <a:stretch/>
          </p:blipFill>
          <p:spPr>
            <a:xfrm>
              <a:off x="4734309" y="1754394"/>
              <a:ext cx="1688975" cy="1842617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3882001-1E31-2E45-9779-4AB55FAD8A7F}"/>
                </a:ext>
              </a:extLst>
            </p:cNvPr>
            <p:cNvSpPr txBox="1"/>
            <p:nvPr/>
          </p:nvSpPr>
          <p:spPr bwMode="gray">
            <a:xfrm>
              <a:off x="4842280" y="2393529"/>
              <a:ext cx="1505057" cy="6186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200" b="1">
                  <a:solidFill>
                    <a:srgbClr val="425563"/>
                  </a:solidFill>
                  <a:latin typeface="Arial"/>
                </a:rPr>
                <a:t>Brand ready </a:t>
              </a:r>
              <a:br>
                <a:rPr lang="en-US" sz="1200" b="1">
                  <a:solidFill>
                    <a:srgbClr val="425563"/>
                  </a:solidFill>
                  <a:latin typeface="Arial"/>
                </a:rPr>
              </a:br>
              <a:r>
                <a:rPr lang="en-US" sz="1200">
                  <a:solidFill>
                    <a:srgbClr val="425563"/>
                  </a:solidFill>
                  <a:latin typeface="Arial"/>
                </a:rPr>
                <a:t>to become </a:t>
              </a:r>
              <a:br>
                <a:rPr lang="en-US" sz="1200">
                  <a:solidFill>
                    <a:srgbClr val="425563"/>
                  </a:solidFill>
                  <a:latin typeface="Arial"/>
                </a:rPr>
              </a:br>
              <a:r>
                <a:rPr lang="en-US" sz="1200">
                  <a:solidFill>
                    <a:srgbClr val="425563"/>
                  </a:solidFill>
                  <a:latin typeface="Arial"/>
                </a:rPr>
                <a:t>Epiroc?</a:t>
              </a:r>
              <a:endParaRPr lang="en-US" sz="1200" b="1">
                <a:solidFill>
                  <a:srgbClr val="425563"/>
                </a:solidFill>
                <a:latin typeface="Arial"/>
              </a:endParaRPr>
            </a:p>
          </p:txBody>
        </p:sp>
        <p:grpSp>
          <p:nvGrpSpPr>
            <p:cNvPr id="13" name="Grupp 12">
              <a:extLst>
                <a:ext uri="{FF2B5EF4-FFF2-40B4-BE49-F238E27FC236}">
                  <a16:creationId xmlns:a16="http://schemas.microsoft.com/office/drawing/2014/main" id="{95EB4882-0677-CD44-BD89-F5DCB8DB929D}"/>
                </a:ext>
              </a:extLst>
            </p:cNvPr>
            <p:cNvGrpSpPr/>
            <p:nvPr/>
          </p:nvGrpSpPr>
          <p:grpSpPr>
            <a:xfrm>
              <a:off x="3496589" y="2546636"/>
              <a:ext cx="1237721" cy="842785"/>
              <a:chOff x="3496589" y="2546636"/>
              <a:chExt cx="1237721" cy="842785"/>
            </a:xfrm>
          </p:grpSpPr>
          <p:pic>
            <p:nvPicPr>
              <p:cNvPr id="41" name="Bildobjekt 40">
                <a:extLst>
                  <a:ext uri="{FF2B5EF4-FFF2-40B4-BE49-F238E27FC236}">
                    <a16:creationId xmlns:a16="http://schemas.microsoft.com/office/drawing/2014/main" id="{8096FF70-F713-9141-801C-0DBF5566E08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96589" y="2546636"/>
                <a:ext cx="1237721" cy="842785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A2A6B82-A0F9-0C48-B3F7-79E0676CAD6B}"/>
                  </a:ext>
                </a:extLst>
              </p:cNvPr>
              <p:cNvSpPr txBox="1"/>
              <p:nvPr/>
            </p:nvSpPr>
            <p:spPr bwMode="gray">
              <a:xfrm>
                <a:off x="3698955" y="2893524"/>
                <a:ext cx="545342" cy="29700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892272">
                  <a:lnSpc>
                    <a:spcPct val="95000"/>
                  </a:lnSpc>
                  <a:spcBef>
                    <a:spcPts val="400"/>
                  </a:spcBef>
                </a:pPr>
                <a:r>
                  <a:rPr lang="sv-SE" sz="1400">
                    <a:solidFill>
                      <a:srgbClr val="425563"/>
                    </a:solidFill>
                    <a:latin typeface="Arial"/>
                  </a:rPr>
                  <a:t>YES</a:t>
                </a:r>
                <a:endParaRPr lang="sv-SE" sz="1600">
                  <a:solidFill>
                    <a:srgbClr val="425563"/>
                  </a:solidFill>
                  <a:latin typeface="Arial"/>
                </a:endParaRPr>
              </a:p>
            </p:txBody>
          </p:sp>
        </p:grpSp>
      </p:grpSp>
      <p:grpSp>
        <p:nvGrpSpPr>
          <p:cNvPr id="16" name="Grupp 15">
            <a:extLst>
              <a:ext uri="{FF2B5EF4-FFF2-40B4-BE49-F238E27FC236}">
                <a16:creationId xmlns:a16="http://schemas.microsoft.com/office/drawing/2014/main" id="{F0E36982-87A1-8446-9A77-2CD5ACA9AB38}"/>
              </a:ext>
            </a:extLst>
          </p:cNvPr>
          <p:cNvGrpSpPr/>
          <p:nvPr/>
        </p:nvGrpSpPr>
        <p:grpSpPr>
          <a:xfrm>
            <a:off x="4545641" y="3597008"/>
            <a:ext cx="3608962" cy="923370"/>
            <a:chOff x="5119141" y="3597011"/>
            <a:chExt cx="3608962" cy="923370"/>
          </a:xfrm>
        </p:grpSpPr>
        <p:pic>
          <p:nvPicPr>
            <p:cNvPr id="45" name="Bildobjekt 44">
              <a:extLst>
                <a:ext uri="{FF2B5EF4-FFF2-40B4-BE49-F238E27FC236}">
                  <a16:creationId xmlns:a16="http://schemas.microsoft.com/office/drawing/2014/main" id="{529E0976-4007-A242-91AC-B0102AAB57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19141" y="3597011"/>
              <a:ext cx="3573096" cy="923370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04F88B8-6D5B-C648-8569-98A00ACCA923}"/>
                </a:ext>
              </a:extLst>
            </p:cNvPr>
            <p:cNvSpPr txBox="1"/>
            <p:nvPr/>
          </p:nvSpPr>
          <p:spPr bwMode="gray">
            <a:xfrm>
              <a:off x="5359703" y="3803002"/>
              <a:ext cx="453970" cy="2970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sv-SE" sz="1400">
                  <a:solidFill>
                    <a:srgbClr val="425563"/>
                  </a:solidFill>
                  <a:latin typeface="Arial"/>
                </a:rPr>
                <a:t>NO</a:t>
              </a:r>
              <a:endParaRPr lang="sv-SE" sz="1600">
                <a:solidFill>
                  <a:srgbClr val="425563"/>
                </a:solidFill>
                <a:latin typeface="Arial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BA9868F-9287-2B4A-BCA9-DBFF8B084176}"/>
                </a:ext>
              </a:extLst>
            </p:cNvPr>
            <p:cNvSpPr txBox="1"/>
            <p:nvPr/>
          </p:nvSpPr>
          <p:spPr bwMode="gray">
            <a:xfrm>
              <a:off x="6491593" y="4194138"/>
              <a:ext cx="2236510" cy="3262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“Powered by Epiroc”</a:t>
              </a:r>
              <a:endParaRPr lang="sv-SE" sz="1600" err="1">
                <a:solidFill>
                  <a:srgbClr val="425563"/>
                </a:solidFill>
                <a:latin typeface="Arial"/>
              </a:endParaRPr>
            </a:p>
          </p:txBody>
        </p:sp>
      </p:grpSp>
      <p:grpSp>
        <p:nvGrpSpPr>
          <p:cNvPr id="12" name="Grupp 11">
            <a:extLst>
              <a:ext uri="{FF2B5EF4-FFF2-40B4-BE49-F238E27FC236}">
                <a16:creationId xmlns:a16="http://schemas.microsoft.com/office/drawing/2014/main" id="{BD0D2630-3782-9E40-86A1-88AADA9AEAF1}"/>
              </a:ext>
            </a:extLst>
          </p:cNvPr>
          <p:cNvGrpSpPr/>
          <p:nvPr/>
        </p:nvGrpSpPr>
        <p:grpSpPr>
          <a:xfrm>
            <a:off x="2797364" y="5277740"/>
            <a:ext cx="4467290" cy="842229"/>
            <a:chOff x="3370863" y="5277742"/>
            <a:chExt cx="4467289" cy="842230"/>
          </a:xfrm>
        </p:grpSpPr>
        <p:pic>
          <p:nvPicPr>
            <p:cNvPr id="40" name="Bildobjekt 39">
              <a:extLst>
                <a:ext uri="{FF2B5EF4-FFF2-40B4-BE49-F238E27FC236}">
                  <a16:creationId xmlns:a16="http://schemas.microsoft.com/office/drawing/2014/main" id="{601B7F2D-EA43-D846-B5F8-F63F54F628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6787"/>
            <a:stretch/>
          </p:blipFill>
          <p:spPr>
            <a:xfrm>
              <a:off x="3370863" y="5277742"/>
              <a:ext cx="1363447" cy="84223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2103C6A-D835-4446-9245-663B145A7D77}"/>
                </a:ext>
              </a:extLst>
            </p:cNvPr>
            <p:cNvSpPr txBox="1"/>
            <p:nvPr/>
          </p:nvSpPr>
          <p:spPr bwMode="gray">
            <a:xfrm>
              <a:off x="3745428" y="5476238"/>
              <a:ext cx="453970" cy="2970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sv-SE" sz="1400">
                  <a:solidFill>
                    <a:srgbClr val="425563"/>
                  </a:solidFill>
                  <a:latin typeface="Arial"/>
                </a:rPr>
                <a:t>NO</a:t>
              </a:r>
              <a:endParaRPr lang="sv-SE" sz="1600">
                <a:solidFill>
                  <a:srgbClr val="425563"/>
                </a:solidFill>
                <a:latin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365BCD4-BC97-A541-B9F0-78410E2C1DF8}"/>
                </a:ext>
              </a:extLst>
            </p:cNvPr>
            <p:cNvSpPr txBox="1"/>
            <p:nvPr/>
          </p:nvSpPr>
          <p:spPr bwMode="gray">
            <a:xfrm>
              <a:off x="4760066" y="5793729"/>
              <a:ext cx="3078086" cy="3262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2272">
                <a:lnSpc>
                  <a:spcPct val="95000"/>
                </a:lnSpc>
                <a:spcBef>
                  <a:spcPts val="400"/>
                </a:spcBef>
              </a:pPr>
              <a:r>
                <a:rPr lang="en-US" sz="1600" b="1">
                  <a:solidFill>
                    <a:srgbClr val="425563"/>
                  </a:solidFill>
                  <a:latin typeface="Arial"/>
                </a:rPr>
                <a:t>Keep as unassociated brands</a:t>
              </a:r>
              <a:endParaRPr lang="sv-SE" sz="1600" b="1" err="1">
                <a:solidFill>
                  <a:srgbClr val="425563"/>
                </a:solidFill>
                <a:latin typeface="Arial"/>
              </a:endParaRPr>
            </a:p>
          </p:txBody>
        </p:sp>
      </p:grpSp>
      <p:grpSp>
        <p:nvGrpSpPr>
          <p:cNvPr id="20" name="Grupp 19">
            <a:extLst>
              <a:ext uri="{FF2B5EF4-FFF2-40B4-BE49-F238E27FC236}">
                <a16:creationId xmlns:a16="http://schemas.microsoft.com/office/drawing/2014/main" id="{1F95DF60-64B9-704F-A37C-26C7831217D3}"/>
              </a:ext>
            </a:extLst>
          </p:cNvPr>
          <p:cNvGrpSpPr/>
          <p:nvPr/>
        </p:nvGrpSpPr>
        <p:grpSpPr>
          <a:xfrm>
            <a:off x="5954940" y="1770454"/>
            <a:ext cx="5703940" cy="2728589"/>
            <a:chOff x="5940108" y="1791792"/>
            <a:chExt cx="5703940" cy="2728589"/>
          </a:xfrm>
        </p:grpSpPr>
        <p:grpSp>
          <p:nvGrpSpPr>
            <p:cNvPr id="19" name="Grupp 18">
              <a:extLst>
                <a:ext uri="{FF2B5EF4-FFF2-40B4-BE49-F238E27FC236}">
                  <a16:creationId xmlns:a16="http://schemas.microsoft.com/office/drawing/2014/main" id="{984EF78B-4BDB-FF4D-9BDE-A276E234E455}"/>
                </a:ext>
              </a:extLst>
            </p:cNvPr>
            <p:cNvGrpSpPr/>
            <p:nvPr/>
          </p:nvGrpSpPr>
          <p:grpSpPr>
            <a:xfrm>
              <a:off x="8184630" y="1791792"/>
              <a:ext cx="3459418" cy="1733942"/>
              <a:chOff x="8184630" y="1791792"/>
              <a:chExt cx="3459418" cy="1733942"/>
            </a:xfrm>
          </p:grpSpPr>
          <p:pic>
            <p:nvPicPr>
              <p:cNvPr id="54" name="Bildobjekt 53">
                <a:extLst>
                  <a:ext uri="{FF2B5EF4-FFF2-40B4-BE49-F238E27FC236}">
                    <a16:creationId xmlns:a16="http://schemas.microsoft.com/office/drawing/2014/main" id="{9D920D8D-F6FC-8942-95D2-0A6F739FACD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184630" y="1791792"/>
                <a:ext cx="3459418" cy="1733942"/>
              </a:xfrm>
              <a:prstGeom prst="rect">
                <a:avLst/>
              </a:prstGeom>
            </p:spPr>
          </p:pic>
          <p:pic>
            <p:nvPicPr>
              <p:cNvPr id="56" name="Picture 5">
                <a:extLst>
                  <a:ext uri="{FF2B5EF4-FFF2-40B4-BE49-F238E27FC236}">
                    <a16:creationId xmlns:a16="http://schemas.microsoft.com/office/drawing/2014/main" id="{40796A9D-8029-964A-A1A4-4C04307EEE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45794" y="2372994"/>
                <a:ext cx="2418252" cy="655027"/>
              </a:xfrm>
              <a:prstGeom prst="rect">
                <a:avLst/>
              </a:prstGeom>
            </p:spPr>
          </p:pic>
        </p:grpSp>
        <p:grpSp>
          <p:nvGrpSpPr>
            <p:cNvPr id="18" name="Grupp 17">
              <a:extLst>
                <a:ext uri="{FF2B5EF4-FFF2-40B4-BE49-F238E27FC236}">
                  <a16:creationId xmlns:a16="http://schemas.microsoft.com/office/drawing/2014/main" id="{44F82EAA-C2C4-C94D-BDE5-83B9C9F4906C}"/>
                </a:ext>
              </a:extLst>
            </p:cNvPr>
            <p:cNvGrpSpPr/>
            <p:nvPr/>
          </p:nvGrpSpPr>
          <p:grpSpPr>
            <a:xfrm>
              <a:off x="5940108" y="2379403"/>
              <a:ext cx="4868840" cy="2140978"/>
              <a:chOff x="5940108" y="2379403"/>
              <a:chExt cx="4868840" cy="2140978"/>
            </a:xfrm>
          </p:grpSpPr>
          <p:grpSp>
            <p:nvGrpSpPr>
              <p:cNvPr id="17" name="Grupp 16">
                <a:extLst>
                  <a:ext uri="{FF2B5EF4-FFF2-40B4-BE49-F238E27FC236}">
                    <a16:creationId xmlns:a16="http://schemas.microsoft.com/office/drawing/2014/main" id="{7AA8975F-BEF0-2A43-997D-73B93CA87C65}"/>
                  </a:ext>
                </a:extLst>
              </p:cNvPr>
              <p:cNvGrpSpPr/>
              <p:nvPr/>
            </p:nvGrpSpPr>
            <p:grpSpPr>
              <a:xfrm>
                <a:off x="5940108" y="2379403"/>
                <a:ext cx="2418251" cy="632757"/>
                <a:chOff x="5940108" y="2379403"/>
                <a:chExt cx="2418251" cy="632757"/>
              </a:xfrm>
            </p:grpSpPr>
            <p:pic>
              <p:nvPicPr>
                <p:cNvPr id="7" name="Bildobjekt 6">
                  <a:extLst>
                    <a:ext uri="{FF2B5EF4-FFF2-40B4-BE49-F238E27FC236}">
                      <a16:creationId xmlns:a16="http://schemas.microsoft.com/office/drawing/2014/main" id="{5D898E8C-EC84-FA42-9418-3F759712C3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940108" y="2379403"/>
                  <a:ext cx="2418251" cy="632757"/>
                </a:xfrm>
                <a:prstGeom prst="rect">
                  <a:avLst/>
                </a:prstGeom>
              </p:spPr>
            </p:pic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2B90D0B2-7911-204C-8757-705E1EDE935C}"/>
                    </a:ext>
                  </a:extLst>
                </p:cNvPr>
                <p:cNvSpPr txBox="1"/>
                <p:nvPr/>
              </p:nvSpPr>
              <p:spPr bwMode="gray">
                <a:xfrm>
                  <a:off x="6696757" y="2577388"/>
                  <a:ext cx="545342" cy="29700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892272">
                    <a:lnSpc>
                      <a:spcPct val="95000"/>
                    </a:lnSpc>
                    <a:spcBef>
                      <a:spcPts val="400"/>
                    </a:spcBef>
                  </a:pPr>
                  <a:r>
                    <a:rPr lang="sv-SE" sz="1400">
                      <a:solidFill>
                        <a:srgbClr val="425563"/>
                      </a:solidFill>
                      <a:latin typeface="Arial"/>
                    </a:rPr>
                    <a:t>YES</a:t>
                  </a:r>
                  <a:endParaRPr lang="sv-SE" sz="1600">
                    <a:solidFill>
                      <a:srgbClr val="425563"/>
                    </a:solidFill>
                    <a:latin typeface="Arial"/>
                  </a:endParaRPr>
                </a:p>
              </p:txBody>
            </p:sp>
          </p:grpSp>
          <p:pic>
            <p:nvPicPr>
              <p:cNvPr id="53" name="Bildobjekt 52">
                <a:extLst>
                  <a:ext uri="{FF2B5EF4-FFF2-40B4-BE49-F238E27FC236}">
                    <a16:creationId xmlns:a16="http://schemas.microsoft.com/office/drawing/2014/main" id="{A617E057-1CA6-9746-8B47-EA21BE8D44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22616"/>
              <a:stretch/>
            </p:blipFill>
            <p:spPr>
              <a:xfrm>
                <a:off x="8001203" y="3525734"/>
                <a:ext cx="2807745" cy="994647"/>
              </a:xfrm>
              <a:prstGeom prst="rect">
                <a:avLst/>
              </a:prstGeom>
            </p:spPr>
          </p:pic>
        </p:grpSp>
      </p:grp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C130C3A-1F41-6146-8FEE-5C79EDD8FE42}"/>
              </a:ext>
            </a:extLst>
          </p:cNvPr>
          <p:cNvCxnSpPr>
            <a:cxnSpLocks/>
          </p:cNvCxnSpPr>
          <p:nvPr/>
        </p:nvCxnSpPr>
        <p:spPr bwMode="gray">
          <a:xfrm>
            <a:off x="1865883" y="4351360"/>
            <a:ext cx="616640" cy="2010"/>
          </a:xfrm>
          <a:prstGeom prst="straightConnector1">
            <a:avLst/>
          </a:prstGeom>
          <a:ln w="25400">
            <a:solidFill>
              <a:schemeClr val="accent2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03BA1C79-F1FD-4EF2-8360-1649171D4365}"/>
              </a:ext>
            </a:extLst>
          </p:cNvPr>
          <p:cNvSpPr/>
          <p:nvPr/>
        </p:nvSpPr>
        <p:spPr bwMode="gray">
          <a:xfrm>
            <a:off x="8409058" y="4135117"/>
            <a:ext cx="387435" cy="3874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r>
              <a:rPr lang="sv-SE" sz="1600">
                <a:solidFill>
                  <a:prstClr val="white"/>
                </a:solidFill>
                <a:latin typeface="Arial"/>
              </a:rPr>
              <a:t>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CE38A30-4DE1-4B70-8C6D-538C064F9408}"/>
              </a:ext>
            </a:extLst>
          </p:cNvPr>
          <p:cNvSpPr/>
          <p:nvPr/>
        </p:nvSpPr>
        <p:spPr bwMode="gray">
          <a:xfrm>
            <a:off x="8980160" y="4146752"/>
            <a:ext cx="387435" cy="3874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r>
              <a:rPr lang="sv-SE" sz="1600">
                <a:solidFill>
                  <a:prstClr val="white"/>
                </a:solidFill>
                <a:latin typeface="Arial"/>
              </a:rPr>
              <a:t>B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865A31D-F15A-4E61-A488-A0D6EC29D2D9}"/>
              </a:ext>
            </a:extLst>
          </p:cNvPr>
          <p:cNvSpPr/>
          <p:nvPr/>
        </p:nvSpPr>
        <p:spPr bwMode="gray">
          <a:xfrm>
            <a:off x="9551262" y="4135117"/>
            <a:ext cx="387435" cy="3874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r>
              <a:rPr lang="sv-SE" sz="1600">
                <a:solidFill>
                  <a:prstClr val="white"/>
                </a:solidFill>
                <a:latin typeface="Arial"/>
              </a:rPr>
              <a:t>C</a:t>
            </a:r>
          </a:p>
        </p:txBody>
      </p:sp>
      <p:sp>
        <p:nvSpPr>
          <p:cNvPr id="9" name="Diamond 8">
            <a:extLst>
              <a:ext uri="{FF2B5EF4-FFF2-40B4-BE49-F238E27FC236}">
                <a16:creationId xmlns:a16="http://schemas.microsoft.com/office/drawing/2014/main" id="{54D1E233-E189-4D7B-99EC-E1C1A7E426B7}"/>
              </a:ext>
            </a:extLst>
          </p:cNvPr>
          <p:cNvSpPr/>
          <p:nvPr/>
        </p:nvSpPr>
        <p:spPr bwMode="gray">
          <a:xfrm>
            <a:off x="8833398" y="4591307"/>
            <a:ext cx="149316" cy="149316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endParaRPr lang="sv-SE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38" name="Diamond 37">
            <a:extLst>
              <a:ext uri="{FF2B5EF4-FFF2-40B4-BE49-F238E27FC236}">
                <a16:creationId xmlns:a16="http://schemas.microsoft.com/office/drawing/2014/main" id="{CEB160B2-9BDB-414F-87AE-CF77631444C1}"/>
              </a:ext>
            </a:extLst>
          </p:cNvPr>
          <p:cNvSpPr/>
          <p:nvPr/>
        </p:nvSpPr>
        <p:spPr bwMode="gray">
          <a:xfrm>
            <a:off x="9419907" y="4591141"/>
            <a:ext cx="149316" cy="149316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endParaRPr lang="sv-SE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Diamond 43">
            <a:extLst>
              <a:ext uri="{FF2B5EF4-FFF2-40B4-BE49-F238E27FC236}">
                <a16:creationId xmlns:a16="http://schemas.microsoft.com/office/drawing/2014/main" id="{49403269-DDD9-436D-9637-B79BB1F415B2}"/>
              </a:ext>
            </a:extLst>
          </p:cNvPr>
          <p:cNvSpPr/>
          <p:nvPr/>
        </p:nvSpPr>
        <p:spPr bwMode="gray">
          <a:xfrm>
            <a:off x="10006416" y="4580218"/>
            <a:ext cx="149316" cy="149316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2272">
              <a:lnSpc>
                <a:spcPct val="95000"/>
              </a:lnSpc>
              <a:spcBef>
                <a:spcPts val="400"/>
              </a:spcBef>
            </a:pPr>
            <a:endParaRPr lang="sv-SE" sz="1600" err="1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AE8802-E191-4BE2-992C-FFAD495F848B}"/>
              </a:ext>
            </a:extLst>
          </p:cNvPr>
          <p:cNvSpPr txBox="1"/>
          <p:nvPr/>
        </p:nvSpPr>
        <p:spPr bwMode="gray">
          <a:xfrm>
            <a:off x="8847597" y="5191711"/>
            <a:ext cx="1648322" cy="413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sv-SE" sz="1100" i="1">
                <a:solidFill>
                  <a:srgbClr val="425563"/>
                </a:solidFill>
                <a:latin typeface="Arial"/>
              </a:rPr>
              <a:t>Measuring points for progress maturit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86D0516-45C0-4A94-B3B3-F62F6D751A7D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8980158" y="4740458"/>
            <a:ext cx="292256" cy="38260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94436480-596A-4F4F-9AF7-5A69D0D3F9B2}"/>
              </a:ext>
            </a:extLst>
          </p:cNvPr>
          <p:cNvCxnSpPr>
            <a:cxnSpLocks/>
          </p:cNvCxnSpPr>
          <p:nvPr/>
        </p:nvCxnSpPr>
        <p:spPr bwMode="gray">
          <a:xfrm flipV="1">
            <a:off x="9491430" y="4790368"/>
            <a:ext cx="0" cy="332690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65BDA5E-1739-497B-A808-B16E8BD6833B}"/>
              </a:ext>
            </a:extLst>
          </p:cNvPr>
          <p:cNvCxnSpPr>
            <a:cxnSpLocks/>
          </p:cNvCxnSpPr>
          <p:nvPr/>
        </p:nvCxnSpPr>
        <p:spPr bwMode="gray">
          <a:xfrm flipV="1">
            <a:off x="9719977" y="4751796"/>
            <a:ext cx="275451" cy="382899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D90BB161-17DD-4DCE-81D8-37E459A232AF}"/>
              </a:ext>
            </a:extLst>
          </p:cNvPr>
          <p:cNvSpPr txBox="1"/>
          <p:nvPr/>
        </p:nvSpPr>
        <p:spPr bwMode="gray">
          <a:xfrm>
            <a:off x="8154603" y="3846847"/>
            <a:ext cx="2267242" cy="26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2272">
              <a:lnSpc>
                <a:spcPct val="95000"/>
              </a:lnSpc>
              <a:spcBef>
                <a:spcPts val="400"/>
              </a:spcBef>
            </a:pPr>
            <a:r>
              <a:rPr lang="sv-SE" sz="1200" b="1">
                <a:solidFill>
                  <a:srgbClr val="425563"/>
                </a:solidFill>
                <a:latin typeface="Arial"/>
              </a:rPr>
              <a:t>Brand integration process</a:t>
            </a:r>
          </a:p>
        </p:txBody>
      </p:sp>
      <p:pic>
        <p:nvPicPr>
          <p:cNvPr id="15" name="Image 14" descr="Une image contenant texte, Police, Graphique, logo&#10;&#10;Description générée automatiquement">
            <a:extLst>
              <a:ext uri="{FF2B5EF4-FFF2-40B4-BE49-F238E27FC236}">
                <a16:creationId xmlns:a16="http://schemas.microsoft.com/office/drawing/2014/main" id="{A58F5390-3A11-A243-1A94-66745E8542B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78" y="3812851"/>
            <a:ext cx="1326550" cy="775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78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now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et’s have a look at our KPIs</a:t>
            </a:r>
          </a:p>
        </p:txBody>
      </p:sp>
    </p:spTree>
    <p:extLst>
      <p:ext uri="{BB962C8B-B14F-4D97-AF65-F5344CB8AC3E}">
        <p14:creationId xmlns:p14="http://schemas.microsoft.com/office/powerpoint/2010/main" val="116425067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33B65-3743-7DF2-83B2-095952B67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>
                <a:solidFill>
                  <a:schemeClr val="bg1"/>
                </a:solidFill>
              </a:rPr>
              <a:t>Key Performance </a:t>
            </a:r>
            <a:r>
              <a:rPr lang="fr-CA" err="1">
                <a:solidFill>
                  <a:schemeClr val="bg1"/>
                </a:solidFill>
              </a:rPr>
              <a:t>Indicators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5BC00E-0121-F1D5-729F-136C303B28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b="1" err="1">
                <a:solidFill>
                  <a:schemeClr val="bg1"/>
                </a:solidFill>
                <a:latin typeface="Aptos" panose="020B0004020202020204" pitchFamily="34" charset="0"/>
              </a:rPr>
              <a:t>MyVoice</a:t>
            </a:r>
            <a:r>
              <a:rPr lang="fr-CA" b="1">
                <a:solidFill>
                  <a:schemeClr val="bg1"/>
                </a:solidFill>
                <a:latin typeface="Aptos" panose="020B0004020202020204" pitchFamily="34" charset="0"/>
              </a:rPr>
              <a:t> Survey</a:t>
            </a:r>
          </a:p>
          <a:p>
            <a:pPr marL="0" indent="0">
              <a:buNone/>
            </a:pP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The REX team ha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uccessfull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maintain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 high engagement scor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ithi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our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employe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base over the last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year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</a:p>
          <a:p>
            <a:pPr marL="0" indent="0">
              <a:buNone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7030F6E-B7DA-517D-84F5-E353DB99B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err="1"/>
              <a:t>Internal</a:t>
            </a:r>
            <a:endParaRPr lang="fr-CA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9B2BD43-2AE5-41AD-AA21-A22F2FEDF59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b="1" err="1">
                <a:solidFill>
                  <a:schemeClr val="bg1"/>
                </a:solidFill>
              </a:rPr>
              <a:t>Targeted</a:t>
            </a:r>
            <a:r>
              <a:rPr lang="fr-CA" b="1">
                <a:solidFill>
                  <a:schemeClr val="bg1"/>
                </a:solidFill>
              </a:rPr>
              <a:t> Interviews</a:t>
            </a:r>
          </a:p>
          <a:p>
            <a:pPr marL="0" indent="0">
              <a:buNone/>
            </a:pP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Our team ha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variou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oncern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–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both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pros and con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oward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he brand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itntegratio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. A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rais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feedback on th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upcoming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ransition,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her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r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om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of th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variou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position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aptur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amongt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h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differen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geographical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market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. </a:t>
            </a:r>
          </a:p>
          <a:p>
            <a:pPr marL="0" indent="0">
              <a:buNone/>
            </a:pPr>
            <a:endParaRPr lang="fr-CA" sz="160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</a:pP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There ar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oncern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bout not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being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full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part of the Epiroc brand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ye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,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hich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i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ausing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om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integratio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challenges all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hes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year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later</a:t>
            </a:r>
            <a:endParaRPr lang="fr-CA" sz="160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</a:pP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Ther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i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orr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ha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client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feel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ha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loose th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ens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of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dedicatio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nd expertis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oward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exploration</a:t>
            </a:r>
          </a:p>
          <a:p>
            <a:pPr>
              <a:buClr>
                <a:schemeClr val="bg1"/>
              </a:buClr>
            </a:pPr>
            <a:endParaRPr lang="fr-CA" sz="160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None/>
            </a:pPr>
            <a:endParaRPr lang="fr-CA" sz="160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None/>
            </a:pPr>
            <a:endParaRPr lang="fr-CA" sz="1800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None/>
            </a:pPr>
            <a:r>
              <a:rPr lang="fr-CA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endParaRPr lang="fr-CA">
              <a:solidFill>
                <a:schemeClr val="bg1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6A5CA01-D8C2-1B5A-C7BD-F417594FD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8CD8C97-9AF4-4DB6-B014-E488ABEEB47A}" type="slidenum">
              <a:rPr lang="fr-CA">
                <a:solidFill>
                  <a:srgbClr val="425563"/>
                </a:solidFill>
                <a:latin typeface="Arial"/>
              </a:rPr>
              <a:pPr>
                <a:defRPr/>
              </a:pPr>
              <a:t>7</a:t>
            </a:fld>
            <a:endParaRPr lang="fr-CA">
              <a:solidFill>
                <a:srgbClr val="425563"/>
              </a:solidFill>
              <a:latin typeface="Arial"/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7E46F788-4A40-1A54-827D-F64B5F54479D}"/>
              </a:ext>
            </a:extLst>
          </p:cNvPr>
          <p:cNvGrpSpPr/>
          <p:nvPr/>
        </p:nvGrpSpPr>
        <p:grpSpPr>
          <a:xfrm>
            <a:off x="4949131" y="5626402"/>
            <a:ext cx="914400" cy="914400"/>
            <a:chOff x="3105462" y="5619752"/>
            <a:chExt cx="914400" cy="914400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4E592755-719E-53AE-880B-258BB501814A}"/>
                </a:ext>
              </a:extLst>
            </p:cNvPr>
            <p:cNvSpPr/>
            <p:nvPr/>
          </p:nvSpPr>
          <p:spPr bwMode="gray">
            <a:xfrm>
              <a:off x="3442127" y="6181344"/>
              <a:ext cx="241069" cy="23275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</a:pPr>
              <a:endParaRPr lang="fr-CA" sz="1600" err="1"/>
            </a:p>
          </p:txBody>
        </p:sp>
        <p:pic>
          <p:nvPicPr>
            <p:cNvPr id="10" name="Graphique 9" descr="Feux de signalisation avec un remplissage uni">
              <a:extLst>
                <a:ext uri="{FF2B5EF4-FFF2-40B4-BE49-F238E27FC236}">
                  <a16:creationId xmlns:a16="http://schemas.microsoft.com/office/drawing/2014/main" id="{89657920-A61B-DDEC-278C-6EDF59248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05462" y="5619752"/>
              <a:ext cx="914400" cy="914400"/>
            </a:xfrm>
            <a:prstGeom prst="rect">
              <a:avLst/>
            </a:prstGeom>
          </p:spPr>
        </p:pic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DF49B36C-D98E-35F4-4FAE-6B7227C870BE}"/>
              </a:ext>
            </a:extLst>
          </p:cNvPr>
          <p:cNvGrpSpPr/>
          <p:nvPr/>
        </p:nvGrpSpPr>
        <p:grpSpPr>
          <a:xfrm>
            <a:off x="10829813" y="5619752"/>
            <a:ext cx="914400" cy="914400"/>
            <a:chOff x="10812978" y="5608238"/>
            <a:chExt cx="914400" cy="9144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30A55EDA-6666-380C-442B-7484F0C31B72}"/>
                </a:ext>
              </a:extLst>
            </p:cNvPr>
            <p:cNvSpPr/>
            <p:nvPr/>
          </p:nvSpPr>
          <p:spPr bwMode="gray">
            <a:xfrm>
              <a:off x="11149643" y="5960573"/>
              <a:ext cx="241069" cy="23275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</a:pPr>
              <a:endParaRPr lang="fr-CA" sz="1600" err="1"/>
            </a:p>
          </p:txBody>
        </p:sp>
        <p:pic>
          <p:nvPicPr>
            <p:cNvPr id="21" name="Graphique 20" descr="Feux de signalisation avec un remplissage uni">
              <a:extLst>
                <a:ext uri="{FF2B5EF4-FFF2-40B4-BE49-F238E27FC236}">
                  <a16:creationId xmlns:a16="http://schemas.microsoft.com/office/drawing/2014/main" id="{6ACC3B7D-06AA-2785-C158-2C911FE4EE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812978" y="5608238"/>
              <a:ext cx="914400" cy="914400"/>
            </a:xfrm>
            <a:prstGeom prst="rect">
              <a:avLst/>
            </a:prstGeom>
          </p:spPr>
        </p:pic>
      </p:grpSp>
      <p:pic>
        <p:nvPicPr>
          <p:cNvPr id="6146" name="Picture 2">
            <a:extLst>
              <a:ext uri="{FF2B5EF4-FFF2-40B4-BE49-F238E27FC236}">
                <a16:creationId xmlns:a16="http://schemas.microsoft.com/office/drawing/2014/main" id="{D4343F64-AEEE-6580-11C4-C2173ABBF5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88" y="2851771"/>
            <a:ext cx="5451244" cy="2698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83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33B65-3743-7DF2-83B2-095952B67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>
                <a:solidFill>
                  <a:schemeClr val="bg1"/>
                </a:solidFill>
              </a:rPr>
              <a:t>Key Performance </a:t>
            </a:r>
            <a:r>
              <a:rPr lang="fr-CA" err="1">
                <a:solidFill>
                  <a:schemeClr val="bg1"/>
                </a:solidFill>
              </a:rPr>
              <a:t>Indicators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5BC00E-0121-F1D5-729F-136C303B28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600" b="1">
                <a:solidFill>
                  <a:schemeClr val="bg1"/>
                </a:solidFill>
                <a:latin typeface="Aptos" panose="020B0004020202020204" pitchFamily="34" charset="0"/>
              </a:rPr>
              <a:t>Satisfaction rate</a:t>
            </a:r>
          </a:p>
          <a:p>
            <a:pPr marL="0" indent="0">
              <a:buNone/>
            </a:pP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uccessfull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maintain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 high satisfaction rat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ithi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our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ustomer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base over the last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year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.</a:t>
            </a:r>
          </a:p>
          <a:p>
            <a:pPr marL="0" indent="0">
              <a:buNone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C61061A-3BCD-B743-F7AF-0F131CD6CAC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600" b="1">
                <a:solidFill>
                  <a:schemeClr val="bg1"/>
                </a:solidFill>
                <a:latin typeface="Aptos" panose="020B0004020202020204" pitchFamily="34" charset="0"/>
              </a:rPr>
              <a:t>Net </a:t>
            </a:r>
            <a:r>
              <a:rPr lang="fr-CA" sz="1600" b="1" err="1">
                <a:solidFill>
                  <a:schemeClr val="bg1"/>
                </a:solidFill>
                <a:latin typeface="Aptos" panose="020B0004020202020204" pitchFamily="34" charset="0"/>
              </a:rPr>
              <a:t>Promoter</a:t>
            </a:r>
            <a:r>
              <a:rPr lang="fr-CA" sz="1600" b="1">
                <a:solidFill>
                  <a:schemeClr val="bg1"/>
                </a:solidFill>
                <a:latin typeface="Aptos" panose="020B0004020202020204" pitchFamily="34" charset="0"/>
              </a:rPr>
              <a:t> Score</a:t>
            </a:r>
          </a:p>
          <a:p>
            <a:pPr marL="0" indent="0">
              <a:buNone/>
            </a:pP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elevat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he Epiroc NPS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ithin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our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ustomer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bas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ignificantl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, but hav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reach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a plateau in progression.</a:t>
            </a:r>
          </a:p>
          <a:p>
            <a:pPr marL="0" indent="0">
              <a:buNone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 marL="0" indent="0">
              <a:buNone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  <a:buFontTx/>
              <a:buChar char="-"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  <a:p>
            <a:pPr>
              <a:buClr>
                <a:schemeClr val="bg1"/>
              </a:buClr>
              <a:buFontTx/>
              <a:buChar char="-"/>
            </a:pPr>
            <a:endParaRPr lang="fr-CA">
              <a:solidFill>
                <a:schemeClr val="bg1"/>
              </a:solidFill>
              <a:latin typeface="Aptos" panose="020B0004020202020204" pitchFamily="34" charset="0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7030F6E-B7DA-517D-84F5-E353DB99B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err="1"/>
              <a:t>External</a:t>
            </a:r>
            <a:endParaRPr lang="fr-CA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9B2BD43-2AE5-41AD-AA21-A22F2FEDF590}"/>
              </a:ext>
            </a:extLst>
          </p:cNvPr>
          <p:cNvSpPr>
            <a:spLocks noGrp="1"/>
          </p:cNvSpPr>
          <p:nvPr>
            <p:ph sz="half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fr-CA" sz="1600" b="1">
                <a:solidFill>
                  <a:schemeClr val="bg1"/>
                </a:solidFill>
              </a:rPr>
              <a:t>Brand </a:t>
            </a:r>
            <a:r>
              <a:rPr lang="fr-CA" sz="1600" b="1" err="1">
                <a:solidFill>
                  <a:schemeClr val="bg1"/>
                </a:solidFill>
              </a:rPr>
              <a:t>Awareness</a:t>
            </a:r>
            <a:r>
              <a:rPr lang="fr-CA" sz="1600" b="1">
                <a:solidFill>
                  <a:schemeClr val="bg1"/>
                </a:solidFill>
              </a:rPr>
              <a:t> and Perception </a:t>
            </a:r>
          </a:p>
          <a:p>
            <a:pPr marL="0" indent="0">
              <a:buNone/>
            </a:pP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Our Canadian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urve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show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tha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h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market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perceives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Fordia as more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focus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on exploration.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e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ne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to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proceed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cautiousl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with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</a:t>
            </a:r>
            <a:r>
              <a:rPr lang="fr-CA" sz="1600" err="1">
                <a:solidFill>
                  <a:schemeClr val="bg1"/>
                </a:solidFill>
                <a:latin typeface="Aptos" panose="020B0004020202020204" pitchFamily="34" charset="0"/>
              </a:rPr>
              <a:t>any</a:t>
            </a:r>
            <a:r>
              <a:rPr lang="fr-CA" sz="1600">
                <a:solidFill>
                  <a:schemeClr val="bg1"/>
                </a:solidFill>
                <a:latin typeface="Aptos" panose="020B0004020202020204" pitchFamily="34" charset="0"/>
              </a:rPr>
              <a:t> change.  </a:t>
            </a:r>
            <a:endParaRPr lang="fr-CA" sz="1600">
              <a:solidFill>
                <a:schemeClr val="bg1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6A5CA01-D8C2-1B5A-C7BD-F417594FD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8CD8C97-9AF4-4DB6-B014-E488ABEEB47A}" type="slidenum">
              <a:rPr lang="fr-CA">
                <a:solidFill>
                  <a:srgbClr val="425563"/>
                </a:solidFill>
                <a:latin typeface="Arial"/>
              </a:rPr>
              <a:pPr>
                <a:defRPr/>
              </a:pPr>
              <a:t>8</a:t>
            </a:fld>
            <a:endParaRPr lang="fr-CA">
              <a:solidFill>
                <a:srgbClr val="425563"/>
              </a:solidFill>
              <a:latin typeface="Arial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6DA2359-F7AE-BE28-01AE-313B4315C8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886" y="3721316"/>
            <a:ext cx="3325741" cy="1746796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6C1374E-22E1-3343-49D3-F27670A15E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0379" y="3593852"/>
            <a:ext cx="3691242" cy="1874260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8A28CC30-EC1D-6B7A-6E03-742552CB561A}"/>
              </a:ext>
            </a:extLst>
          </p:cNvPr>
          <p:cNvGrpSpPr/>
          <p:nvPr/>
        </p:nvGrpSpPr>
        <p:grpSpPr>
          <a:xfrm>
            <a:off x="3105462" y="5619752"/>
            <a:ext cx="914400" cy="914400"/>
            <a:chOff x="3105462" y="5619752"/>
            <a:chExt cx="914400" cy="914400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E4B0F58-FE68-3911-C07C-1B851EC6E1D2}"/>
                </a:ext>
              </a:extLst>
            </p:cNvPr>
            <p:cNvSpPr/>
            <p:nvPr/>
          </p:nvSpPr>
          <p:spPr bwMode="gray">
            <a:xfrm>
              <a:off x="3442127" y="6181344"/>
              <a:ext cx="241069" cy="23275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</a:pPr>
              <a:endParaRPr lang="fr-CA" sz="1600" err="1"/>
            </a:p>
          </p:txBody>
        </p:sp>
        <p:pic>
          <p:nvPicPr>
            <p:cNvPr id="16" name="Graphique 15" descr="Feux de signalisation avec un remplissage uni">
              <a:extLst>
                <a:ext uri="{FF2B5EF4-FFF2-40B4-BE49-F238E27FC236}">
                  <a16:creationId xmlns:a16="http://schemas.microsoft.com/office/drawing/2014/main" id="{CE172962-F33B-8B1C-7107-F7624866C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05462" y="5619752"/>
              <a:ext cx="914400" cy="914400"/>
            </a:xfrm>
            <a:prstGeom prst="rect">
              <a:avLst/>
            </a:prstGeom>
          </p:spPr>
        </p:pic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33749618-0B71-C9F3-7542-B6879AADDD97}"/>
              </a:ext>
            </a:extLst>
          </p:cNvPr>
          <p:cNvGrpSpPr/>
          <p:nvPr/>
        </p:nvGrpSpPr>
        <p:grpSpPr>
          <a:xfrm>
            <a:off x="7235876" y="5619752"/>
            <a:ext cx="914400" cy="914400"/>
            <a:chOff x="3105462" y="5619752"/>
            <a:chExt cx="914400" cy="914400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D0B35A0A-797D-3E42-2B5D-66D456A272D7}"/>
                </a:ext>
              </a:extLst>
            </p:cNvPr>
            <p:cNvSpPr/>
            <p:nvPr/>
          </p:nvSpPr>
          <p:spPr bwMode="gray">
            <a:xfrm>
              <a:off x="3442127" y="6181344"/>
              <a:ext cx="241069" cy="232757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</a:pPr>
              <a:endParaRPr lang="fr-CA" sz="1600" err="1"/>
            </a:p>
          </p:txBody>
        </p:sp>
        <p:pic>
          <p:nvPicPr>
            <p:cNvPr id="19" name="Graphique 18" descr="Feux de signalisation avec un remplissage uni">
              <a:extLst>
                <a:ext uri="{FF2B5EF4-FFF2-40B4-BE49-F238E27FC236}">
                  <a16:creationId xmlns:a16="http://schemas.microsoft.com/office/drawing/2014/main" id="{4B91D1EF-C54F-898E-134F-A71744A05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105462" y="5619752"/>
              <a:ext cx="914400" cy="914400"/>
            </a:xfrm>
            <a:prstGeom prst="rect">
              <a:avLst/>
            </a:prstGeom>
          </p:spPr>
        </p:pic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771E3640-DBE1-B99F-1FC0-D2D674224B3F}"/>
              </a:ext>
            </a:extLst>
          </p:cNvPr>
          <p:cNvGrpSpPr/>
          <p:nvPr/>
        </p:nvGrpSpPr>
        <p:grpSpPr>
          <a:xfrm>
            <a:off x="10812978" y="5608238"/>
            <a:ext cx="914400" cy="914400"/>
            <a:chOff x="10812978" y="5608238"/>
            <a:chExt cx="914400" cy="914400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D262A80-A870-09FA-05BE-41B951BB24F7}"/>
                </a:ext>
              </a:extLst>
            </p:cNvPr>
            <p:cNvSpPr/>
            <p:nvPr/>
          </p:nvSpPr>
          <p:spPr bwMode="gray">
            <a:xfrm>
              <a:off x="11149643" y="5960573"/>
              <a:ext cx="241069" cy="23275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5000"/>
                </a:lnSpc>
                <a:spcBef>
                  <a:spcPts val="400"/>
                </a:spcBef>
              </a:pPr>
              <a:endParaRPr lang="fr-CA" sz="1600" err="1"/>
            </a:p>
          </p:txBody>
        </p:sp>
        <p:pic>
          <p:nvPicPr>
            <p:cNvPr id="13" name="Graphique 12" descr="Feux de signalisation avec un remplissage uni">
              <a:extLst>
                <a:ext uri="{FF2B5EF4-FFF2-40B4-BE49-F238E27FC236}">
                  <a16:creationId xmlns:a16="http://schemas.microsoft.com/office/drawing/2014/main" id="{94439DFB-7E74-5212-76DC-A86BF10B3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812978" y="5608238"/>
              <a:ext cx="914400" cy="914400"/>
            </a:xfrm>
            <a:prstGeom prst="rect">
              <a:avLst/>
            </a:prstGeom>
          </p:spPr>
        </p:pic>
      </p:grpSp>
      <p:pic>
        <p:nvPicPr>
          <p:cNvPr id="23" name="Image 22">
            <a:extLst>
              <a:ext uri="{FF2B5EF4-FFF2-40B4-BE49-F238E27FC236}">
                <a16:creationId xmlns:a16="http://schemas.microsoft.com/office/drawing/2014/main" id="{88C0A20E-BFCB-D334-6BF8-D4A59B13D7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50647" y="3570919"/>
            <a:ext cx="3208676" cy="1897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9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933B65-3743-7DF2-83B2-095952B67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>
                <a:solidFill>
                  <a:schemeClr val="bg1"/>
                </a:solidFill>
              </a:rPr>
              <a:t>Our recommandation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25BC00E-0121-F1D5-729F-136C303B28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589" y="1517905"/>
            <a:ext cx="10206369" cy="4487609"/>
          </a:xfrm>
        </p:spPr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800" b="1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fr-CA" sz="1800" kern="100">
              <a:solidFill>
                <a:schemeClr val="bg1"/>
              </a:solidFill>
              <a:effectLst/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CA" b="1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ur recommendation is to proceed with a comprehensive brand transition in 2024. </a:t>
            </a:r>
            <a:b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 are the key steps:</a:t>
            </a:r>
            <a:endParaRPr lang="fr-CA" kern="100">
              <a:solidFill>
                <a:schemeClr val="bg1"/>
              </a:solidFill>
              <a:effectLst/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brace the Epiroc brand as the primary and overarching brand.</a:t>
            </a:r>
            <a:endParaRPr lang="fr-CA" sz="1800" kern="100">
              <a:solidFill>
                <a:schemeClr val="bg1"/>
              </a:solidFill>
              <a:effectLst/>
              <a:latin typeface="Aptos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tain the residual value of the Fordia brand by 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kern="100">
                <a:solidFill>
                  <a:schemeClr val="bg1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apting our messages to prevent perception shift, emphasizing  </a:t>
            </a:r>
            <a: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loration as a </a:t>
            </a:r>
            <a:r>
              <a:rPr lang="en-CA" kern="100">
                <a:solidFill>
                  <a:schemeClr val="bg1"/>
                </a:solidFill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focus area for Epiroc as well as the relevant expertise from our team.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Clr>
                <a:schemeClr val="bg1"/>
              </a:buClr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kern="100">
                <a:solidFill>
                  <a:schemeClr val="bg1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ing Fordia as a product trademark, to leverage knowledge for our diamond tools.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7030F6E-B7DA-517D-84F5-E353DB99BF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err="1"/>
              <a:t>Initiate</a:t>
            </a:r>
            <a:r>
              <a:rPr lang="fr-CA"/>
              <a:t> </a:t>
            </a:r>
            <a:r>
              <a:rPr lang="fr-CA" err="1"/>
              <a:t>branding</a:t>
            </a:r>
            <a:r>
              <a:rPr lang="fr-CA"/>
              <a:t> transition in 2024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6A5CA01-D8C2-1B5A-C7BD-F417594FD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A8CD8C97-9AF4-4DB6-B014-E488ABEEB47A}" type="slidenum">
              <a:rPr lang="fr-CA">
                <a:solidFill>
                  <a:srgbClr val="425563"/>
                </a:solidFill>
                <a:latin typeface="Arial"/>
              </a:rPr>
              <a:pPr>
                <a:defRPr/>
              </a:pPr>
              <a:t>9</a:t>
            </a:fld>
            <a:endParaRPr lang="fr-CA">
              <a:solidFill>
                <a:srgbClr val="42556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214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7zGBzoV.h8LyntQq76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296-Epiroc PPT Template">
  <a:themeElements>
    <a:clrScheme name="Epiroc Final Color Palette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FFC72C"/>
      </a:accent1>
      <a:accent2>
        <a:srgbClr val="425563"/>
      </a:accent2>
      <a:accent3>
        <a:srgbClr val="77746E"/>
      </a:accent3>
      <a:accent4>
        <a:srgbClr val="B4B4AA"/>
      </a:accent4>
      <a:accent5>
        <a:srgbClr val="86C8BC"/>
      </a:accent5>
      <a:accent6>
        <a:srgbClr val="612C51"/>
      </a:accent6>
      <a:hlink>
        <a:srgbClr val="FFC72C"/>
      </a:hlink>
      <a:folHlink>
        <a:srgbClr val="425563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Petrol">
      <a:srgbClr val="047A6C"/>
    </a:custClr>
    <a:custClr name="Violet">
      <a:srgbClr val="6A3771"/>
    </a:custClr>
    <a:custClr name="Dark Grey">
      <a:srgbClr val="6E6E78"/>
    </a:custClr>
    <a:custClr name="Yellow">
      <a:srgbClr val="FFC20E"/>
    </a:custClr>
  </a:custClrLst>
  <a:extLst>
    <a:ext uri="{05A4C25C-085E-4340-85A3-A5531E510DB2}">
      <thm15:themeFamily xmlns:thm15="http://schemas.microsoft.com/office/thememl/2012/main" name="Atlas Copco Aug 2014 Widescreen.potx" id="{07AC9A38-E7E9-4B55-8F02-9ACF2332C11F}" vid="{48B0FFD9-E030-477E-BCD2-75D32EB967C3}"/>
    </a:ext>
  </a:extLst>
</a:theme>
</file>

<file path=ppt/theme/theme10.xml><?xml version="1.0" encoding="utf-8"?>
<a:theme xmlns:a="http://schemas.openxmlformats.org/drawingml/2006/main" name="13_CONTENT AND PHOTOS">
  <a:themeElements>
    <a:clrScheme name="Epiroc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77746E"/>
      </a:accent3>
      <a:accent4>
        <a:srgbClr val="B4B4B4"/>
      </a:accent4>
      <a:accent5>
        <a:srgbClr val="001E3C"/>
      </a:accent5>
      <a:accent6>
        <a:srgbClr val="86C8BC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 11242017_Master.pptx" id="{A9563D6A-4863-4CCD-AD56-016F73D59E06}" vid="{3DCDB0D6-6C5E-4004-B89C-2D68DFF65177}"/>
    </a:ext>
  </a:extLst>
</a:theme>
</file>

<file path=ppt/theme/theme11.xml><?xml version="1.0" encoding="utf-8"?>
<a:theme xmlns:a="http://schemas.openxmlformats.org/drawingml/2006/main" name="5_CONTENT AND PHOTOS">
  <a:themeElements>
    <a:clrScheme name="Epiroc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77746E"/>
      </a:accent3>
      <a:accent4>
        <a:srgbClr val="B4B4B4"/>
      </a:accent4>
      <a:accent5>
        <a:srgbClr val="001E3C"/>
      </a:accent5>
      <a:accent6>
        <a:srgbClr val="86C8BC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 11242017_Master.pptx" id="{A9563D6A-4863-4CCD-AD56-016F73D59E06}" vid="{3DCDB0D6-6C5E-4004-B89C-2D68DFF65177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VER SLIDE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8.potx" id="{F288E101-A0BA-45B5-8336-084CA22702D2}" vid="{27596C15-B76D-43C9-8A68-D587732460B5}"/>
    </a:ext>
  </a:extLst>
</a:theme>
</file>

<file path=ppt/theme/theme3.xml><?xml version="1.0" encoding="utf-8"?>
<a:theme xmlns:a="http://schemas.openxmlformats.org/drawingml/2006/main" name="End slide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_feb.potx" id="{675556C2-D0F4-4547-B4FB-8F5386CCBA92}" vid="{F47C3899-3AC6-487E-9AA6-9D9953E7A1F9}"/>
    </a:ext>
  </a:extLst>
</a:theme>
</file>

<file path=ppt/theme/theme4.xml><?xml version="1.0" encoding="utf-8"?>
<a:theme xmlns:a="http://schemas.openxmlformats.org/drawingml/2006/main" name="COVER SLIDE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 standard_v1.3.potx" id="{FAFE49B4-FE26-44A8-A33B-1E15A647435D}" vid="{BF73168D-47D5-4221-A83D-01C7A96BDA95}"/>
    </a:ext>
  </a:extLst>
</a:theme>
</file>

<file path=ppt/theme/theme5.xml><?xml version="1.0" encoding="utf-8"?>
<a:theme xmlns:a="http://schemas.openxmlformats.org/drawingml/2006/main" name="2_FULL PAGE PHOTO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 standard_v1.4.potx" id="{92EF5505-5242-45C5-A093-E1E9EA01E8CC}" vid="{E9EA6DAF-A5DB-4DD2-BD0D-FABCACEE6D56}"/>
    </a:ext>
  </a:extLst>
</a:theme>
</file>

<file path=ppt/theme/theme6.xml><?xml version="1.0" encoding="utf-8"?>
<a:theme xmlns:a="http://schemas.openxmlformats.org/drawingml/2006/main" name="10_CONTENT AND PHOTO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 standard_v1.4.potx" id="{92EF5505-5242-45C5-A093-E1E9EA01E8CC}" vid="{157BC19F-5396-451D-95F9-93FEEEBDE57A}"/>
    </a:ext>
  </a:extLst>
</a:theme>
</file>

<file path=ppt/theme/theme7.xml><?xml version="1.0" encoding="utf-8"?>
<a:theme xmlns:a="http://schemas.openxmlformats.org/drawingml/2006/main" name="11_CONTENT AND PHOTO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 standard_v1.3.potx" id="{FAFE49B4-FE26-44A8-A33B-1E15A647435D}" vid="{D8305996-11BD-4A8F-90B5-20897E0FD4CA}"/>
    </a:ext>
  </a:extLst>
</a:theme>
</file>

<file path=ppt/theme/theme8.xml><?xml version="1.0" encoding="utf-8"?>
<a:theme xmlns:a="http://schemas.openxmlformats.org/drawingml/2006/main" name="1_COVER SLIDE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Green">
      <a:srgbClr val="4C8C2B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_2019 standard_v1.4.potx" id="{92EF5505-5242-45C5-A093-E1E9EA01E8CC}" vid="{A7758254-FA60-4FA7-AFCF-E946D13C4D26}"/>
    </a:ext>
  </a:extLst>
</a:theme>
</file>

<file path=ppt/theme/theme9.xml><?xml version="1.0" encoding="utf-8"?>
<a:theme xmlns:a="http://schemas.openxmlformats.org/drawingml/2006/main" name="12_CONTENT AND PHOTOS">
  <a:themeElements>
    <a:clrScheme name="Epiroc_Revised">
      <a:dk1>
        <a:srgbClr val="425563"/>
      </a:dk1>
      <a:lt1>
        <a:sysClr val="window" lastClr="FFFFFF"/>
      </a:lt1>
      <a:dk2>
        <a:srgbClr val="FFC72C"/>
      </a:dk2>
      <a:lt2>
        <a:srgbClr val="ECEBE4"/>
      </a:lt2>
      <a:accent1>
        <a:srgbClr val="425563"/>
      </a:accent1>
      <a:accent2>
        <a:srgbClr val="FFC72C"/>
      </a:accent2>
      <a:accent3>
        <a:srgbClr val="B4B4AA"/>
      </a:accent3>
      <a:accent4>
        <a:srgbClr val="612C51"/>
      </a:accent4>
      <a:accent5>
        <a:srgbClr val="B7312C"/>
      </a:accent5>
      <a:accent6>
        <a:srgbClr val="D86018"/>
      </a:accent6>
      <a:hlink>
        <a:srgbClr val="77746E"/>
      </a:hlink>
      <a:folHlink>
        <a:srgbClr val="001E32"/>
      </a:folHlink>
    </a:clrScheme>
    <a:fontScheme name="Atlascop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5000"/>
          </a:lnSpc>
          <a:spcBef>
            <a:spcPts val="4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rtlCol="0">
        <a:spAutoFit/>
      </a:bodyPr>
      <a:lstStyle>
        <a:defPPr>
          <a:lnSpc>
            <a:spcPct val="95000"/>
          </a:lnSpc>
          <a:spcBef>
            <a:spcPts val="400"/>
          </a:spcBef>
          <a:defRPr sz="1600" dirty="0" err="1" smtClean="0"/>
        </a:defPPr>
      </a:lstStyle>
    </a:txDef>
  </a:objectDefaults>
  <a:extraClrSchemeLst/>
  <a:custClrLst>
    <a:custClr name="Epiroc Dark Grey">
      <a:srgbClr val="796E65"/>
    </a:custClr>
    <a:custClr name="Epiroc Light Grey">
      <a:srgbClr val="EBE8E5"/>
    </a:custClr>
    <a:custClr name="Epiroc Dark Blue">
      <a:srgbClr val="001E32"/>
    </a:custClr>
    <a:custClr name="Epiroc Electric Green">
      <a:srgbClr val="86C8BC"/>
    </a:custClr>
    <a:custClr name="Epiroc Violet">
      <a:srgbClr val="612C51"/>
    </a:custClr>
    <a:custClr name="Epiroc Red">
      <a:srgbClr val="B7312C"/>
    </a:custClr>
    <a:custClr name="Epiroc Light Blue">
      <a:srgbClr val="48A9C5"/>
    </a:custClr>
    <a:custClr name="Epiroc Orange">
      <a:srgbClr val="D86018"/>
    </a:custClr>
  </a:custClrLst>
  <a:extLst>
    <a:ext uri="{05A4C25C-085E-4340-85A3-A5531E510DB2}">
      <thm15:themeFamily xmlns:thm15="http://schemas.microsoft.com/office/thememl/2012/main" name="Epiroc ppt template 11242017_Master.pptx" id="{A9563D6A-4863-4CCD-AD56-016F73D59E06}" vid="{3DCDB0D6-6C5E-4004-B89C-2D68DFF6517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E2CB303747D84C85E464456B746B41" ma:contentTypeVersion="20" ma:contentTypeDescription="Create a new document." ma:contentTypeScope="" ma:versionID="a7cf65515f7d66b0c7da1e4e3803f659">
  <xsd:schema xmlns:xsd="http://www.w3.org/2001/XMLSchema" xmlns:xs="http://www.w3.org/2001/XMLSchema" xmlns:p="http://schemas.microsoft.com/office/2006/metadata/properties" xmlns:ns2="77e80df5-8106-4a41-a8e4-c7be21ea6ee4" xmlns:ns3="fb9e5789-2b1d-497b-8f90-92e9a19d15da" targetNamespace="http://schemas.microsoft.com/office/2006/metadata/properties" ma:root="true" ma:fieldsID="b03130f8ad94281513c58bede0970a95" ns2:_="" ns3:_="">
    <xsd:import namespace="77e80df5-8106-4a41-a8e4-c7be21ea6ee4"/>
    <xsd:import namespace="fb9e5789-2b1d-497b-8f90-92e9a19d15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Aper_x00e7_u" minOccurs="0"/>
                <xsd:element ref="ns2:lcf76f155ced4ddcb4097134ff3c332f" minOccurs="0"/>
                <xsd:element ref="ns3:TaxCatchAll" minOccurs="0"/>
                <xsd:element ref="ns2:Imag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e80df5-8106-4a41-a8e4-c7be21ea6e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Aper_x00e7_u" ma:index="21" nillable="true" ma:displayName="Aperçu" ma:format="Thumbnail" ma:internalName="Aper_x00e7_u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6cf4968f-1119-4349-9fe4-6af93dee0d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Image" ma:index="25" nillable="true" ma:displayName="Image" ma:internalName="Image">
      <xsd:simpleType>
        <xsd:restriction base="dms:Unknown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9e5789-2b1d-497b-8f90-92e9a19d15d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964b4930-25f3-4be9-8497-3d7ebd8b2d99}" ma:internalName="TaxCatchAll" ma:showField="CatchAllData" ma:web="fb9e5789-2b1d-497b-8f90-92e9a19d15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b9e5789-2b1d-497b-8f90-92e9a19d15da" xsi:nil="true"/>
    <Aper_x00e7_u xmlns="77e80df5-8106-4a41-a8e4-c7be21ea6ee4" xsi:nil="true"/>
    <lcf76f155ced4ddcb4097134ff3c332f xmlns="77e80df5-8106-4a41-a8e4-c7be21ea6ee4">
      <Terms xmlns="http://schemas.microsoft.com/office/infopath/2007/PartnerControls"/>
    </lcf76f155ced4ddcb4097134ff3c332f>
    <Image xmlns="77e80df5-8106-4a41-a8e4-c7be21ea6ee4" xsi:nil="true"/>
    <SharedWithUsers xmlns="fb9e5789-2b1d-497b-8f90-92e9a19d15da">
      <UserInfo>
        <DisplayName>Alexandra Crossier</DisplayName>
        <AccountId>652</AccountId>
        <AccountType/>
      </UserInfo>
      <UserInfo>
        <DisplayName>Carmela Loseto</DisplayName>
        <AccountId>4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536D807-FA9A-4878-9551-E1F7CFBC01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7BD21D-384B-4DB2-9D98-B82CCF07B90A}">
  <ds:schemaRefs>
    <ds:schemaRef ds:uri="77e80df5-8106-4a41-a8e4-c7be21ea6ee4"/>
    <ds:schemaRef ds:uri="fb9e5789-2b1d-497b-8f90-92e9a19d15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EF4D5EA-7E54-493F-9910-D4BB17A7D0AF}">
  <ds:schemaRefs>
    <ds:schemaRef ds:uri="77e80df5-8106-4a41-a8e4-c7be21ea6ee4"/>
    <ds:schemaRef ds:uri="fb9e5789-2b1d-497b-8f90-92e9a19d15d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1260</Words>
  <Application>Microsoft Office PowerPoint</Application>
  <PresentationFormat>Grand écran</PresentationFormat>
  <Paragraphs>200</Paragraphs>
  <Slides>20</Slides>
  <Notes>6</Notes>
  <HiddenSlides>0</HiddenSlides>
  <MMClips>0</MMClips>
  <ScaleCrop>false</ScaleCrop>
  <HeadingPairs>
    <vt:vector size="4" baseType="variant">
      <vt:variant>
        <vt:lpstr>Thème</vt:lpstr>
      </vt:variant>
      <vt:variant>
        <vt:i4>11</vt:i4>
      </vt:variant>
      <vt:variant>
        <vt:lpstr>Titres des diapositives</vt:lpstr>
      </vt:variant>
      <vt:variant>
        <vt:i4>20</vt:i4>
      </vt:variant>
    </vt:vector>
  </HeadingPairs>
  <TitlesOfParts>
    <vt:vector size="31" baseType="lpstr">
      <vt:lpstr>3296-Epiroc PPT Template</vt:lpstr>
      <vt:lpstr>2_COVER SLIDES</vt:lpstr>
      <vt:lpstr>End slides</vt:lpstr>
      <vt:lpstr>COVER SLIDES</vt:lpstr>
      <vt:lpstr>2_FULL PAGE PHOTOS</vt:lpstr>
      <vt:lpstr>10_CONTENT AND PHOTOS</vt:lpstr>
      <vt:lpstr>11_CONTENT AND PHOTOS</vt:lpstr>
      <vt:lpstr>1_COVER SLIDES</vt:lpstr>
      <vt:lpstr>12_CONTENT AND PHOTOS</vt:lpstr>
      <vt:lpstr>13_CONTENT AND PHOTOS</vt:lpstr>
      <vt:lpstr>5_CONTENT AND PHOTOS</vt:lpstr>
      <vt:lpstr>Brand transition</vt:lpstr>
      <vt:lpstr>Brands within Epiroc</vt:lpstr>
      <vt:lpstr>Epiroc brand portfolio (owned brands)</vt:lpstr>
      <vt:lpstr>Epiroc brand strategy</vt:lpstr>
      <vt:lpstr>Brand integration process</vt:lpstr>
      <vt:lpstr>Why now?</vt:lpstr>
      <vt:lpstr>Key Performance Indicators</vt:lpstr>
      <vt:lpstr>Key Performance Indicators</vt:lpstr>
      <vt:lpstr>Our recommandation</vt:lpstr>
      <vt:lpstr>Brand transition stages</vt:lpstr>
      <vt:lpstr>OBK Brand Transition  </vt:lpstr>
      <vt:lpstr>Next steps</vt:lpstr>
      <vt:lpstr>Upcoming changes</vt:lpstr>
      <vt:lpstr>Internal Communications</vt:lpstr>
      <vt:lpstr>External Communications</vt:lpstr>
      <vt:lpstr>Where will the Fordia brand remain?</vt:lpstr>
      <vt:lpstr>Getting started!</vt:lpstr>
      <vt:lpstr>Présentation PowerPoint</vt:lpstr>
      <vt:lpstr>Présentation PowerPoint</vt:lpstr>
      <vt:lpstr>Présentation PowerPoint</vt:lpstr>
    </vt:vector>
  </TitlesOfParts>
  <Company>Epiro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lma</dc:title>
  <dc:creator>Dustin Penn</dc:creator>
  <cp:lastModifiedBy>Julie Masse</cp:lastModifiedBy>
  <cp:revision>5</cp:revision>
  <cp:lastPrinted>2021-02-23T20:17:21Z</cp:lastPrinted>
  <dcterms:created xsi:type="dcterms:W3CDTF">2020-04-08T22:16:08Z</dcterms:created>
  <dcterms:modified xsi:type="dcterms:W3CDTF">2024-02-06T12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E2CB303747D84C85E464456B746B41</vt:lpwstr>
  </property>
  <property fmtid="{D5CDD505-2E9C-101B-9397-08002B2CF9AE}" pid="3" name="_dlc_DocIdItemGuid">
    <vt:lpwstr>b0f94ded-7b56-47e1-a2c8-822b8e8772aa</vt:lpwstr>
  </property>
  <property fmtid="{D5CDD505-2E9C-101B-9397-08002B2CF9AE}" pid="4" name="TaxKeyword">
    <vt:lpwstr/>
  </property>
  <property fmtid="{D5CDD505-2E9C-101B-9397-08002B2CF9AE}" pid="5" name="BusinessArea">
    <vt:lpwstr>1;#Mining ＆ Rock Excavation|b2641645-0cfb-42b7-9380-7dee0e53ab34</vt:lpwstr>
  </property>
  <property fmtid="{D5CDD505-2E9C-101B-9397-08002B2CF9AE}" pid="6" name="DocumentClassification">
    <vt:lpwstr>2;#Internal Use only|3bc296f8-9656-4e28-a45f-9b4170feae90</vt:lpwstr>
  </property>
  <property fmtid="{D5CDD505-2E9C-101B-9397-08002B2CF9AE}" pid="7" name="DocumentType">
    <vt:lpwstr/>
  </property>
  <property fmtid="{D5CDD505-2E9C-101B-9397-08002B2CF9AE}" pid="8" name="Division">
    <vt:lpwstr>346;#Mining ＆ Rock Excavation Service|fc066f8d-ecf1-44c3-bb8d-a99b899516e3</vt:lpwstr>
  </property>
  <property fmtid="{D5CDD505-2E9C-101B-9397-08002B2CF9AE}" pid="9" name="EpirocLocations">
    <vt:lpwstr/>
  </property>
  <property fmtid="{D5CDD505-2E9C-101B-9397-08002B2CF9AE}" pid="10" name="EpirocFunctions">
    <vt:lpwstr/>
  </property>
  <property fmtid="{D5CDD505-2E9C-101B-9397-08002B2CF9AE}" pid="11" name="MediaServiceImageTags">
    <vt:lpwstr/>
  </property>
</Properties>
</file>